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5"/>
  </p:sldMasterIdLst>
  <p:notesMasterIdLst>
    <p:notesMasterId r:id="rId16"/>
  </p:notesMasterIdLst>
  <p:handoutMasterIdLst>
    <p:handoutMasterId r:id="rId17"/>
  </p:handoutMasterIdLst>
  <p:sldIdLst>
    <p:sldId id="297" r:id="rId6"/>
    <p:sldId id="788" r:id="rId7"/>
    <p:sldId id="804" r:id="rId8"/>
    <p:sldId id="897" r:id="rId9"/>
    <p:sldId id="898" r:id="rId10"/>
    <p:sldId id="899" r:id="rId11"/>
    <p:sldId id="900" r:id="rId12"/>
    <p:sldId id="379" r:id="rId13"/>
    <p:sldId id="789" r:id="rId14"/>
    <p:sldId id="901" r:id="rId1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9683FF-F90C-45D3-BC8C-ED87B6E4A475}">
          <p14:sldIdLst>
            <p14:sldId id="297"/>
            <p14:sldId id="788"/>
            <p14:sldId id="804"/>
            <p14:sldId id="897"/>
            <p14:sldId id="898"/>
            <p14:sldId id="899"/>
            <p14:sldId id="900"/>
            <p14:sldId id="379"/>
            <p14:sldId id="789"/>
            <p14:sldId id="901"/>
          </p14:sldIdLst>
        </p14:section>
      </p14:sectionLst>
    </p:ex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OURRASSET, CEDRIC" initials="BC"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DAF13"/>
    <a:srgbClr val="00CC00"/>
    <a:srgbClr val="0066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41" autoAdjust="0"/>
    <p:restoredTop sz="90824" autoAdjust="0"/>
  </p:normalViewPr>
  <p:slideViewPr>
    <p:cSldViewPr>
      <p:cViewPr varScale="1">
        <p:scale>
          <a:sx n="91" d="100"/>
          <a:sy n="91" d="100"/>
        </p:scale>
        <p:origin x="-1152" y="-96"/>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p:scale>
          <a:sx n="200" d="100"/>
          <a:sy n="200" d="100"/>
        </p:scale>
        <p:origin x="-139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4"/>
          <p:cNvSpPr>
            <a:spLocks noGrp="1"/>
          </p:cNvSpPr>
          <p:nvPr>
            <p:ph type="sldNum" sz="quarter" idx="3"/>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N°›</a:t>
            </a:fld>
            <a:endParaRPr lang="nl-NL" sz="1000" dirty="0">
              <a:latin typeface="Verdana" pitchFamily="34" charset="0"/>
              <a:ea typeface="Verdana" pitchFamily="34" charset="0"/>
              <a:cs typeface="Verdana" pitchFamily="34" charset="0"/>
            </a:endParaRPr>
          </a:p>
        </p:txBody>
      </p:sp>
      <p:sp>
        <p:nvSpPr>
          <p:cNvPr id="7" name="AddNotifier#2"/>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7. © 2017 Atos. Confidential information owned by Atos, to be used by the recipient only. This document, or any part of it, may not be reproduced, copied, circulated and/or distributed nor quoted without prior written approval from Atos.</a:t>
            </a:r>
            <a:endParaRPr lang="en-US" sz="500" dirty="0">
              <a:latin typeface="Verdana" pitchFamily="34" charset="0"/>
              <a:ea typeface="Verdana" pitchFamily="34" charset="0"/>
              <a:cs typeface="Verdana" pitchFamily="34" charset="0"/>
            </a:endParaRP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l="24861" t="29660" r="25486" b="21647"/>
          <a:stretch/>
        </p:blipFill>
        <p:spPr>
          <a:xfrm>
            <a:off x="5877271" y="101184"/>
            <a:ext cx="875701" cy="483779"/>
          </a:xfrm>
          <a:prstGeom prst="rect">
            <a:avLst/>
          </a:prstGeom>
        </p:spPr>
      </p:pic>
    </p:spTree>
    <p:extLst>
      <p:ext uri="{BB962C8B-B14F-4D97-AF65-F5344CB8AC3E}">
        <p14:creationId xmlns:p14="http://schemas.microsoft.com/office/powerpoint/2010/main" val="3035691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4"/>
          <p:cNvSpPr>
            <a:spLocks noGrp="1"/>
          </p:cNvSpPr>
          <p:nvPr>
            <p:ph type="sldNum" sz="quarter" idx="5"/>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en-US" sz="1000" smtClean="0">
                <a:latin typeface="Verdana" pitchFamily="34" charset="0"/>
                <a:ea typeface="Verdana" pitchFamily="34" charset="0"/>
                <a:cs typeface="Verdana" pitchFamily="34" charset="0"/>
              </a:rPr>
              <a:pPr/>
              <a:t>‹N°›</a:t>
            </a:fld>
            <a:endParaRPr lang="en-US" sz="1000" dirty="0">
              <a:latin typeface="Verdana" pitchFamily="34" charset="0"/>
              <a:ea typeface="Verdana" pitchFamily="34" charset="0"/>
              <a:cs typeface="Verdana" pitchFamily="34" charset="0"/>
            </a:endParaRPr>
          </a:p>
        </p:txBody>
      </p:sp>
      <p:sp>
        <p:nvSpPr>
          <p:cNvPr id="9" name="AddNotifier#3"/>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500" dirty="0">
                <a:latin typeface="Verdana" pitchFamily="34" charset="0"/>
                <a:ea typeface="Verdana" pitchFamily="34" charset="0"/>
                <a:cs typeface="Verdana" pitchFamily="34" charset="0"/>
              </a:rPr>
              <a:t>Atos, the Atos logo, Atos Codex, Atos Consulting, Atos </a:t>
            </a:r>
            <a:r>
              <a:rPr lang="en-US" sz="500" dirty="0" err="1">
                <a:latin typeface="Verdana" pitchFamily="34" charset="0"/>
                <a:ea typeface="Verdana" pitchFamily="34" charset="0"/>
                <a:cs typeface="Verdana" pitchFamily="34" charset="0"/>
              </a:rPr>
              <a:t>Worldgrid</a:t>
            </a:r>
            <a:r>
              <a:rPr lang="en-US" sz="500" dirty="0">
                <a:latin typeface="Verdana" pitchFamily="34" charset="0"/>
                <a:ea typeface="Verdana" pitchFamily="34" charset="0"/>
                <a:cs typeface="Verdana" pitchFamily="34" charset="0"/>
              </a:rPr>
              <a:t>, </a:t>
            </a:r>
            <a:r>
              <a:rPr lang="en-US" sz="500" dirty="0" err="1">
                <a:latin typeface="Verdana" pitchFamily="34" charset="0"/>
                <a:ea typeface="Verdana" pitchFamily="34" charset="0"/>
                <a:cs typeface="Verdana" pitchFamily="34" charset="0"/>
              </a:rPr>
              <a:t>Worldline</a:t>
            </a:r>
            <a:r>
              <a:rPr lang="en-US" sz="500" dirty="0">
                <a:latin typeface="Verdana" pitchFamily="34" charset="0"/>
                <a:ea typeface="Verdana" pitchFamily="34" charset="0"/>
                <a:cs typeface="Verdana" pitchFamily="34" charset="0"/>
              </a:rPr>
              <a:t>, </a:t>
            </a:r>
            <a:r>
              <a:rPr lang="en-US" sz="500" dirty="0" err="1">
                <a:latin typeface="Verdana" pitchFamily="34" charset="0"/>
                <a:ea typeface="Verdana" pitchFamily="34" charset="0"/>
                <a:cs typeface="Verdana" pitchFamily="34" charset="0"/>
              </a:rPr>
              <a:t>BlueKiwi</a:t>
            </a:r>
            <a:r>
              <a:rPr lang="en-US" sz="500" dirty="0">
                <a:latin typeface="Verdana" pitchFamily="34" charset="0"/>
                <a:ea typeface="Verdana" pitchFamily="34" charset="0"/>
                <a:cs typeface="Verdana" pitchFamily="34" charset="0"/>
              </a:rPr>
              <a:t>, Bull, Canopy the Open Cloud Company, Unify, </a:t>
            </a:r>
            <a:r>
              <a:rPr lang="en-US" sz="500" dirty="0" err="1">
                <a:latin typeface="Verdana" pitchFamily="34" charset="0"/>
                <a:ea typeface="Verdana" pitchFamily="34" charset="0"/>
                <a:cs typeface="Verdana" pitchFamily="34" charset="0"/>
              </a:rPr>
              <a:t>Yunano</a:t>
            </a:r>
            <a:r>
              <a:rPr lang="en-US" sz="500" dirty="0">
                <a:latin typeface="Verdana" pitchFamily="34" charset="0"/>
                <a:ea typeface="Verdana" pitchFamily="34" charset="0"/>
                <a:cs typeface="Verdana" pitchFamily="34" charset="0"/>
              </a:rPr>
              <a:t>, Zero Email, Zero Email Certified and The Zero Email Company are registered trademarks of the Atos group. April 2017. © 2017 Atos. Confidential information owned by Atos, to be used by the recipient only. This document, or any part of it, may not be reproduced, copied, circulated and/or distributed nor quoted without prior written approval from Atos.</a:t>
            </a:r>
          </a:p>
        </p:txBody>
      </p:sp>
      <p:pic>
        <p:nvPicPr>
          <p:cNvPr id="13" name="Picture 12"/>
          <p:cNvPicPr>
            <a:picLocks noChangeAspect="1"/>
          </p:cNvPicPr>
          <p:nvPr/>
        </p:nvPicPr>
        <p:blipFill rotWithShape="1">
          <a:blip r:embed="rId2" cstate="print">
            <a:extLst>
              <a:ext uri="{28A0092B-C50C-407E-A947-70E740481C1C}">
                <a14:useLocalDpi xmlns:a14="http://schemas.microsoft.com/office/drawing/2010/main" val="0"/>
              </a:ext>
            </a:extLst>
          </a:blip>
          <a:srcRect l="24861" t="29660" r="25486" b="21647"/>
          <a:stretch/>
        </p:blipFill>
        <p:spPr>
          <a:xfrm>
            <a:off x="5877271" y="101184"/>
            <a:ext cx="875701" cy="483779"/>
          </a:xfrm>
          <a:prstGeom prst="rect">
            <a:avLst/>
          </a:prstGeom>
        </p:spPr>
      </p:pic>
    </p:spTree>
    <p:extLst>
      <p:ext uri="{BB962C8B-B14F-4D97-AF65-F5344CB8AC3E}">
        <p14:creationId xmlns:p14="http://schemas.microsoft.com/office/powerpoint/2010/main" val="4242528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269BF997-9B5F-4A82-AF31-6E87F25749B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465634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latin typeface="Verdana"/>
            </a:endParaRPr>
          </a:p>
        </p:txBody>
      </p:sp>
      <p:sp>
        <p:nvSpPr>
          <p:cNvPr id="4" name="Espace réservé du numéro de diapositive 3"/>
          <p:cNvSpPr>
            <a:spLocks noGrp="1"/>
          </p:cNvSpPr>
          <p:nvPr>
            <p:ph type="sldNum" sz="quarter" idx="10"/>
          </p:nvPr>
        </p:nvSpPr>
        <p:spPr/>
        <p:txBody>
          <a:bodyPr/>
          <a:lstStyle/>
          <a:p>
            <a:fld id="{AD910B12-E528-4D59-95AD-82AFC587F8BD}" type="slidenum">
              <a:rPr lang="en-US" sz="1000" smtClean="0">
                <a:latin typeface="Verdana" pitchFamily="34" charset="0"/>
                <a:ea typeface="Verdana" pitchFamily="34" charset="0"/>
                <a:cs typeface="Verdana" pitchFamily="34" charset="0"/>
              </a:rPr>
              <a:pPr/>
              <a:t>2</a:t>
            </a:fld>
            <a:endParaRPr lang="en-US"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530397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Espace réservé du numéro de diapositive 3"/>
          <p:cNvSpPr>
            <a:spLocks noGrp="1"/>
          </p:cNvSpPr>
          <p:nvPr>
            <p:ph type="sldNum" sz="quarter" idx="10"/>
          </p:nvPr>
        </p:nvSpPr>
        <p:spPr/>
        <p:txBody>
          <a:bodyPr/>
          <a:lstStyle/>
          <a:p>
            <a:pPr>
              <a:defRPr/>
            </a:pPr>
            <a:fld id="{9DEBC3AD-2311-4F64-A6D3-0CE0D33739AC}" type="slidenum">
              <a:rPr lang="en-US" smtClean="0"/>
              <a:pPr>
                <a:defRPr/>
              </a:pPr>
              <a:t>8</a:t>
            </a:fld>
            <a:endParaRPr lang="en-US" dirty="0"/>
          </a:p>
        </p:txBody>
      </p:sp>
    </p:spTree>
    <p:extLst>
      <p:ext uri="{BB962C8B-B14F-4D97-AF65-F5344CB8AC3E}">
        <p14:creationId xmlns:p14="http://schemas.microsoft.com/office/powerpoint/2010/main" val="27288656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latin typeface="Verdana"/>
            </a:endParaRPr>
          </a:p>
        </p:txBody>
      </p:sp>
      <p:sp>
        <p:nvSpPr>
          <p:cNvPr id="4" name="Espace réservé du numéro de diapositive 3"/>
          <p:cNvSpPr>
            <a:spLocks noGrp="1"/>
          </p:cNvSpPr>
          <p:nvPr>
            <p:ph type="sldNum" sz="quarter" idx="10"/>
          </p:nvPr>
        </p:nvSpPr>
        <p:spPr/>
        <p:txBody>
          <a:bodyPr/>
          <a:lstStyle/>
          <a:p>
            <a:fld id="{AD910B12-E528-4D59-95AD-82AFC587F8BD}" type="slidenum">
              <a:rPr lang="en-US" sz="1000" smtClean="0">
                <a:latin typeface="Verdana" pitchFamily="34" charset="0"/>
                <a:ea typeface="Verdana" pitchFamily="34" charset="0"/>
                <a:cs typeface="Verdana" pitchFamily="34" charset="0"/>
              </a:rPr>
              <a:pPr/>
              <a:t>9</a:t>
            </a:fld>
            <a:endParaRPr lang="en-US"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21520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17612" y="4708984"/>
            <a:ext cx="3120894" cy="323061"/>
          </a:xfrm>
          <a:prstGeom prst="rect">
            <a:avLst/>
          </a:prstGeom>
        </p:spPr>
      </p:pic>
      <p:pic>
        <p:nvPicPr>
          <p:cNvPr id="7" name="Picture 6" descr="https://media.licdn.com/mpr/mpr/AAEAAQAAAAAAAAWBAAAAJGE2ZmRlYWMzLTkzZGUtNGY3MC1hZGYyLTI4ZmM0NGYzNzMzMg.jpg"/>
          <p:cNvPicPr>
            <a:picLocks noChangeAspect="1" noChangeArrowheads="1"/>
          </p:cNvPicPr>
          <p:nvPr userDrawn="1"/>
        </p:nvPicPr>
        <p:blipFill>
          <a:blip r:embed="rId5" cstate="print">
            <a:clrChange>
              <a:clrFrom>
                <a:srgbClr val="03619E"/>
              </a:clrFrom>
              <a:clrTo>
                <a:srgbClr val="03619E">
                  <a:alpha val="0"/>
                </a:srgbClr>
              </a:clrTo>
            </a:clrChange>
            <a:extLst>
              <a:ext uri="{28A0092B-C50C-407E-A947-70E740481C1C}">
                <a14:useLocalDpi xmlns:a14="http://schemas.microsoft.com/office/drawing/2010/main" val="0"/>
              </a:ext>
            </a:extLst>
          </a:blip>
          <a:srcRect/>
          <a:stretch>
            <a:fillRect/>
          </a:stretch>
        </p:blipFill>
        <p:spPr bwMode="auto">
          <a:xfrm>
            <a:off x="7740352" y="4343276"/>
            <a:ext cx="1203623" cy="688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9958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21106" y="0"/>
            <a:ext cx="9165105" cy="5143500"/>
            <a:chOff x="-21106" y="0"/>
            <a:chExt cx="9165105" cy="514350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7" name="Rectangle 6"/>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274810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grpSp>
        <p:nvGrpSpPr>
          <p:cNvPr id="9" name="Group 3"/>
          <p:cNvGrpSpPr/>
          <p:nvPr userDrawn="1"/>
        </p:nvGrpSpPr>
        <p:grpSpPr>
          <a:xfrm>
            <a:off x="-21106" y="0"/>
            <a:ext cx="9165105" cy="5143500"/>
            <a:chOff x="-21106" y="0"/>
            <a:chExt cx="9165105" cy="5143500"/>
          </a:xfrm>
        </p:grpSpPr>
        <p:pic>
          <p:nvPicPr>
            <p:cNvPr id="10" name="Picture 5"/>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11" name="Rectangle 10"/>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
        <p:nvSpPr>
          <p:cNvPr id="3" name="ZoneTexte 2"/>
          <p:cNvSpPr txBox="1"/>
          <p:nvPr userDrawn="1"/>
        </p:nvSpPr>
        <p:spPr>
          <a:xfrm>
            <a:off x="-762000" y="5740400"/>
            <a:ext cx="184731" cy="369332"/>
          </a:xfrm>
          <a:prstGeom prst="rect">
            <a:avLst/>
          </a:prstGeom>
          <a:noFill/>
        </p:spPr>
        <p:txBody>
          <a:bodyPr wrap="none" rtlCol="0">
            <a:spAutoFit/>
          </a:bodyPr>
          <a:lstStyle/>
          <a:p>
            <a:endParaRPr lang="fr-FR" dirty="0"/>
          </a:p>
        </p:txBody>
      </p:sp>
    </p:spTree>
    <p:extLst>
      <p:ext uri="{BB962C8B-B14F-4D97-AF65-F5344CB8AC3E}">
        <p14:creationId xmlns:p14="http://schemas.microsoft.com/office/powerpoint/2010/main" val="534631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21106" y="0"/>
            <a:ext cx="9165105" cy="5143500"/>
            <a:chOff x="-21106" y="0"/>
            <a:chExt cx="9165105" cy="514350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7" name="Rectangle 6"/>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5831762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21106" y="0"/>
            <a:ext cx="9165105" cy="5143500"/>
            <a:chOff x="-21106" y="0"/>
            <a:chExt cx="9165105" cy="514350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7" name="Rectangle 6"/>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1435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21106" y="0"/>
            <a:ext cx="9165105" cy="5143500"/>
            <a:chOff x="-21106" y="0"/>
            <a:chExt cx="9165105" cy="514350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7" name="Rectangle 6"/>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31709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xmlns="" id="{1BCB0C6B-F7FA-E040-9AB6-4D233BE2DCA9}"/>
              </a:ext>
            </a:extLst>
          </p:cNvPr>
          <p:cNvGrpSpPr/>
          <p:nvPr userDrawn="1"/>
        </p:nvGrpSpPr>
        <p:grpSpPr>
          <a:xfrm>
            <a:off x="1354" y="-13648"/>
            <a:ext cx="9165105" cy="5143500"/>
            <a:chOff x="-21106" y="0"/>
            <a:chExt cx="9165105" cy="5143500"/>
          </a:xfrm>
        </p:grpSpPr>
        <p:pic>
          <p:nvPicPr>
            <p:cNvPr id="9" name="Picture 5">
              <a:extLst>
                <a:ext uri="{FF2B5EF4-FFF2-40B4-BE49-F238E27FC236}">
                  <a16:creationId xmlns:a16="http://schemas.microsoft.com/office/drawing/2014/main" xmlns="" id="{31CD89BE-1630-024A-88BE-518148A2831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10" name="Rectangle 9">
              <a:extLst>
                <a:ext uri="{FF2B5EF4-FFF2-40B4-BE49-F238E27FC236}">
                  <a16:creationId xmlns:a16="http://schemas.microsoft.com/office/drawing/2014/main" xmlns="" id="{1B946165-CE75-8B46-ABE8-0F52789E1B94}"/>
                </a:ext>
              </a:extLst>
            </p:cNvPr>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3131709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xmlns="" id="{B1C8B9F3-B8E1-604A-93FF-08406E2FF2D5}"/>
              </a:ext>
            </a:extLst>
          </p:cNvPr>
          <p:cNvGrpSpPr/>
          <p:nvPr userDrawn="1"/>
        </p:nvGrpSpPr>
        <p:grpSpPr>
          <a:xfrm>
            <a:off x="1354" y="-13648"/>
            <a:ext cx="9165105" cy="5143500"/>
            <a:chOff x="-21106" y="0"/>
            <a:chExt cx="9165105" cy="5143500"/>
          </a:xfrm>
        </p:grpSpPr>
        <p:pic>
          <p:nvPicPr>
            <p:cNvPr id="5" name="Picture 5">
              <a:extLst>
                <a:ext uri="{FF2B5EF4-FFF2-40B4-BE49-F238E27FC236}">
                  <a16:creationId xmlns:a16="http://schemas.microsoft.com/office/drawing/2014/main" xmlns="" id="{70153950-7761-E144-9AF4-2ECBE94DBBB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6" name="Rectangle 5">
              <a:extLst>
                <a:ext uri="{FF2B5EF4-FFF2-40B4-BE49-F238E27FC236}">
                  <a16:creationId xmlns:a16="http://schemas.microsoft.com/office/drawing/2014/main" xmlns="" id="{59675FE7-35C8-D843-9BDB-FF0E72893995}"/>
                </a:ext>
              </a:extLst>
            </p:cNvPr>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3" name="Picture 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7806259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84731" cy="276999"/>
          </a:xfrm>
          <a:prstGeom prst="rect">
            <a:avLst/>
          </a:prstGeom>
          <a:noFill/>
        </p:spPr>
        <p:txBody>
          <a:bodyPr wrap="none" rtlCol="0">
            <a:spAutoFit/>
          </a:bodyPr>
          <a:lstStyle/>
          <a:p>
            <a:endParaRPr lang="nl-NL" sz="1200" b="0" dirty="0">
              <a:solidFill>
                <a:schemeClr val="bg1"/>
              </a:solidFill>
              <a:latin typeface="Verdana" pitchFamily="34" charset="0"/>
              <a:ea typeface="Verdana" pitchFamily="34" charset="0"/>
              <a:cs typeface="Verdana" pitchFamily="34" charset="0"/>
            </a:endParaRPr>
          </a:p>
        </p:txBody>
      </p:sp>
      <p:sp>
        <p:nvSpPr>
          <p:cNvPr id="10" name="AddClassification"/>
          <p:cNvSpPr txBox="1">
            <a:spLocks noChangeArrowheads="1"/>
          </p:cNvSpPr>
          <p:nvPr userDrawn="1"/>
        </p:nvSpPr>
        <p:spPr bwMode="auto">
          <a:xfrm>
            <a:off x="3929035" y="4646845"/>
            <a:ext cx="128592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Confidential</a:t>
            </a:r>
            <a:endParaRPr lang="en-US" sz="800" b="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7420033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177908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April 2017. © 2017 Atos. Confidential information owned by Atos, to be used by the recipient only. This document, or any part of it, may not be reproduced, copied, circulated and/or distributed nor quoted without prior written approval from Atos.</a:t>
            </a:r>
            <a:endParaRPr lang="en-US" sz="70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6292013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3203848" y="1995686"/>
            <a:ext cx="5472608" cy="1080120"/>
          </a:xfrm>
          <a:ln w="15874">
            <a:noFill/>
          </a:ln>
        </p:spPr>
        <p:txBody>
          <a:bodyPr lIns="0" tIns="0" rIns="0" bIns="0" anchor="b" anchorCtr="0"/>
          <a:lstStyle>
            <a:lvl1pPr>
              <a:defRPr sz="3000" b="0">
                <a:solidFill>
                  <a:schemeClr val="bg1"/>
                </a:solidFill>
                <a:latin typeface="Verdana" panose="020B0604030504040204" pitchFamily="34" charset="0"/>
              </a:defRPr>
            </a:lvl1pPr>
          </a:lstStyle>
          <a:p>
            <a:r>
              <a:rPr lang="en-US" dirty="0"/>
              <a:t>Click to add chapter title </a:t>
            </a:r>
          </a:p>
        </p:txBody>
      </p:sp>
      <p:grpSp>
        <p:nvGrpSpPr>
          <p:cNvPr id="7" name="Group 6"/>
          <p:cNvGrpSpPr/>
          <p:nvPr userDrawn="1"/>
        </p:nvGrpSpPr>
        <p:grpSpPr>
          <a:xfrm>
            <a:off x="-21106" y="0"/>
            <a:ext cx="9165105" cy="5143500"/>
            <a:chOff x="-21106" y="0"/>
            <a:chExt cx="9165105" cy="514350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3" name="Rectangle 2"/>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27" name="Picture 2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1106" y="0"/>
            <a:ext cx="9141291" cy="5143500"/>
          </a:xfrm>
          <a:prstGeom prst="rect">
            <a:avLst/>
          </a:prstGeom>
        </p:spPr>
      </p:pic>
    </p:spTree>
    <p:extLst>
      <p:ext uri="{BB962C8B-B14F-4D97-AF65-F5344CB8AC3E}">
        <p14:creationId xmlns:p14="http://schemas.microsoft.com/office/powerpoint/2010/main" val="9335939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7_Title and Content Basic">
    <p:bg bwMode="gray">
      <p:bgPr>
        <a:solidFill>
          <a:schemeClr val="accent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94400" y="4738500"/>
            <a:ext cx="637200" cy="273844"/>
          </a:xfrm>
        </p:spPr>
        <p:txBody>
          <a:bodyPr/>
          <a:lstStyle/>
          <a:p>
            <a:fld id="{DAF489CC-3B7A-4DA5-A8C0-4984788D0EC5}" type="slidenum">
              <a:rPr lang="nl-NL" smtClean="0"/>
              <a:pPr/>
              <a:t>‹N°›</a:t>
            </a:fld>
            <a:endParaRPr lang="nl-NL"/>
          </a:p>
        </p:txBody>
      </p:sp>
    </p:spTree>
    <p:extLst>
      <p:ext uri="{BB962C8B-B14F-4D97-AF65-F5344CB8AC3E}">
        <p14:creationId xmlns:p14="http://schemas.microsoft.com/office/powerpoint/2010/main" val="3817812503"/>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GB"/>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35" indent="0">
              <a:buNone/>
              <a:defRPr sz="2800"/>
            </a:lvl2pPr>
            <a:lvl3pPr marL="914269" indent="0">
              <a:buNone/>
              <a:defRPr sz="2400"/>
            </a:lvl3pPr>
            <a:lvl4pPr marL="1371404" indent="0">
              <a:buNone/>
              <a:defRPr sz="2000"/>
            </a:lvl4pPr>
            <a:lvl5pPr marL="1828539" indent="0">
              <a:buNone/>
              <a:defRPr sz="2000"/>
            </a:lvl5pPr>
            <a:lvl6pPr marL="2285674" indent="0">
              <a:buNone/>
              <a:defRPr sz="2000"/>
            </a:lvl6pPr>
            <a:lvl7pPr marL="2742809" indent="0">
              <a:buNone/>
              <a:defRPr sz="2000"/>
            </a:lvl7pPr>
            <a:lvl8pPr marL="3199944" indent="0">
              <a:buNone/>
              <a:defRPr sz="2000"/>
            </a:lvl8pPr>
            <a:lvl9pPr marL="3657078" indent="0">
              <a:buNone/>
              <a:defRPr sz="2000"/>
            </a:lvl9pPr>
          </a:lstStyle>
          <a:p>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135" indent="0">
              <a:buNone/>
              <a:defRPr sz="1200"/>
            </a:lvl2pPr>
            <a:lvl3pPr marL="914269" indent="0">
              <a:buNone/>
              <a:defRPr sz="1000"/>
            </a:lvl3pPr>
            <a:lvl4pPr marL="1371404" indent="0">
              <a:buNone/>
              <a:defRPr sz="900"/>
            </a:lvl4pPr>
            <a:lvl5pPr marL="1828539" indent="0">
              <a:buNone/>
              <a:defRPr sz="900"/>
            </a:lvl5pPr>
            <a:lvl6pPr marL="2285674" indent="0">
              <a:buNone/>
              <a:defRPr sz="900"/>
            </a:lvl6pPr>
            <a:lvl7pPr marL="2742809" indent="0">
              <a:buNone/>
              <a:defRPr sz="900"/>
            </a:lvl7pPr>
            <a:lvl8pPr marL="3199944" indent="0">
              <a:buNone/>
              <a:defRPr sz="900"/>
            </a:lvl8pPr>
            <a:lvl9pPr marL="3657078" indent="0">
              <a:buNone/>
              <a:defRPr sz="900"/>
            </a:lvl9pPr>
          </a:lstStyle>
          <a:p>
            <a:pPr lvl="0"/>
            <a:r>
              <a:rPr lang="en-GB"/>
              <a:t>Click to edit Master text styles</a:t>
            </a:r>
          </a:p>
        </p:txBody>
      </p:sp>
      <p:sp>
        <p:nvSpPr>
          <p:cNvPr id="5" name="Date Placeholder 4"/>
          <p:cNvSpPr>
            <a:spLocks noGrp="1"/>
          </p:cNvSpPr>
          <p:nvPr>
            <p:ph type="dt" sz="half" idx="10"/>
          </p:nvPr>
        </p:nvSpPr>
        <p:spPr>
          <a:xfrm>
            <a:off x="457201" y="4767264"/>
            <a:ext cx="2133600" cy="273844"/>
          </a:xfrm>
          <a:prstGeom prst="rect">
            <a:avLst/>
          </a:prstGeom>
        </p:spPr>
        <p:txBody>
          <a:bodyPr/>
          <a:lstStyle/>
          <a:p>
            <a:fld id="{5F8989C4-41C0-B94E-B488-25DFE1F1D59B}" type="datetime1">
              <a:rPr lang="en-GB" smtClean="0"/>
              <a:t>06/06/2018</a:t>
            </a:fld>
            <a:endParaRPr lang="en-GB"/>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p>
        </p:txBody>
      </p:sp>
      <p:sp>
        <p:nvSpPr>
          <p:cNvPr id="7" name="Slide Number Placeholder 6"/>
          <p:cNvSpPr>
            <a:spLocks noGrp="1"/>
          </p:cNvSpPr>
          <p:nvPr>
            <p:ph type="sldNum" sz="quarter" idx="12"/>
          </p:nvPr>
        </p:nvSpPr>
        <p:spPr>
          <a:xfrm>
            <a:off x="146621" y="4623978"/>
            <a:ext cx="2057400" cy="243506"/>
          </a:xfrm>
          <a:prstGeom prst="rect">
            <a:avLst/>
          </a:prstGeom>
        </p:spPr>
        <p:txBody>
          <a:bodyPr/>
          <a:lstStyle/>
          <a:p>
            <a:fld id="{8DBA14F0-861E-9844-8495-69ECE683B6AD}" type="slidenum">
              <a:rPr lang="en-GB" smtClean="0"/>
              <a:t>‹N°›</a:t>
            </a:fld>
            <a:endParaRPr lang="en-GB"/>
          </a:p>
        </p:txBody>
      </p:sp>
      <p:pic>
        <p:nvPicPr>
          <p:cNvPr id="8" name="Image 2" descr="Background-01.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476728040"/>
      </p:ext>
    </p:extLst>
  </p:cSld>
  <p:clrMapOvr>
    <a:masterClrMapping/>
  </p:clrMapOvr>
  <p:transition spd="slow">
    <p:cove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3203848" y="1995686"/>
            <a:ext cx="5472608" cy="1080120"/>
          </a:xfrm>
          <a:ln w="15874">
            <a:noFill/>
          </a:ln>
        </p:spPr>
        <p:txBody>
          <a:bodyPr lIns="0" tIns="0" rIns="0" bIns="0" anchor="b" anchorCtr="0"/>
          <a:lstStyle>
            <a:lvl1pPr>
              <a:defRPr sz="3000" b="0">
                <a:solidFill>
                  <a:schemeClr val="bg1"/>
                </a:solidFill>
                <a:latin typeface="Verdana" panose="020B0604030504040204" pitchFamily="34" charset="0"/>
              </a:defRPr>
            </a:lvl1pPr>
          </a:lstStyle>
          <a:p>
            <a:r>
              <a:rPr lang="en-US" dirty="0"/>
              <a:t>Click to add chapter title </a:t>
            </a:r>
          </a:p>
        </p:txBody>
      </p:sp>
      <p:grpSp>
        <p:nvGrpSpPr>
          <p:cNvPr id="7" name="Group 6"/>
          <p:cNvGrpSpPr/>
          <p:nvPr userDrawn="1"/>
        </p:nvGrpSpPr>
        <p:grpSpPr>
          <a:xfrm>
            <a:off x="-21106" y="0"/>
            <a:ext cx="9165105" cy="5143500"/>
            <a:chOff x="-21106" y="0"/>
            <a:chExt cx="9165105" cy="514350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3" name="Rectangle 2"/>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27" name="Picture 2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1106" y="0"/>
            <a:ext cx="9141291" cy="5143500"/>
          </a:xfrm>
          <a:prstGeom prst="rect">
            <a:avLst/>
          </a:prstGeom>
        </p:spPr>
      </p:pic>
    </p:spTree>
    <p:extLst>
      <p:ext uri="{BB962C8B-B14F-4D97-AF65-F5344CB8AC3E}">
        <p14:creationId xmlns:p14="http://schemas.microsoft.com/office/powerpoint/2010/main" val="31410178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162006" y="739380"/>
            <a:ext cx="8747125" cy="3474244"/>
          </a:xfrm>
        </p:spPr>
        <p:txBody>
          <a:bodyPr/>
          <a:lstStyle>
            <a:lvl1pPr>
              <a:defRPr>
                <a:latin typeface="Verdana" panose="020B0604030504040204" pitchFamily="34" charset="0"/>
                <a:cs typeface="Verdana" panose="020B0604030504040204" pitchFamily="34" charset="0"/>
              </a:defRPr>
            </a:lvl1pPr>
            <a:lvl2pPr>
              <a:defRPr>
                <a:latin typeface="Verdana" panose="020B0604030504040204" pitchFamily="34" charset="0"/>
                <a:cs typeface="Verdana" panose="020B0604030504040204" pitchFamily="34" charset="0"/>
              </a:defRPr>
            </a:lvl2pPr>
            <a:lvl3pPr>
              <a:defRPr>
                <a:latin typeface="Verdana" panose="020B0604030504040204" pitchFamily="34" charset="0"/>
                <a:cs typeface="Verdana" panose="020B0604030504040204" pitchFamily="34" charset="0"/>
              </a:defRPr>
            </a:lvl3pPr>
            <a:lvl4pPr>
              <a:defRPr>
                <a:latin typeface="Verdana" panose="020B0604030504040204" pitchFamily="34" charset="0"/>
                <a:cs typeface="Verdana" panose="020B0604030504040204" pitchFamily="34" charset="0"/>
              </a:defRPr>
            </a:lvl4pPr>
            <a:lvl5pPr>
              <a:defRPr>
                <a:latin typeface="Verdana" panose="020B0604030504040204" pitchFamily="34" charset="0"/>
                <a:cs typeface="Verdana" panose="020B060403050404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re 3"/>
          <p:cNvSpPr>
            <a:spLocks noGrp="1"/>
          </p:cNvSpPr>
          <p:nvPr>
            <p:ph type="title" hasCustomPrompt="1"/>
          </p:nvPr>
        </p:nvSpPr>
        <p:spPr>
          <a:xfrm>
            <a:off x="162000" y="180975"/>
            <a:ext cx="6426224" cy="609600"/>
          </a:xfrm>
        </p:spPr>
        <p:txBody>
          <a:bodyPr/>
          <a:lstStyle>
            <a:lvl1pPr>
              <a:defRPr sz="2000" baseline="0">
                <a:latin typeface="Verdana" panose="020B0604030504040204" pitchFamily="34" charset="0"/>
                <a:cs typeface="Verdana" panose="020B0604030504040204" pitchFamily="34" charset="0"/>
              </a:defRPr>
            </a:lvl1pPr>
          </a:lstStyle>
          <a:p>
            <a:r>
              <a:rPr lang="fr-FR" dirty="0"/>
              <a:t>Click </a:t>
            </a:r>
            <a:r>
              <a:rPr lang="fr-FR" dirty="0" err="1"/>
              <a:t>here</a:t>
            </a:r>
            <a:r>
              <a:rPr lang="fr-FR" dirty="0"/>
              <a:t> to change the </a:t>
            </a:r>
            <a:r>
              <a:rPr lang="fr-FR" dirty="0" err="1"/>
              <a:t>title</a:t>
            </a:r>
            <a:r>
              <a:rPr lang="fr-FR" dirty="0"/>
              <a:t/>
            </a:r>
            <a:br>
              <a:rPr lang="fr-FR" dirty="0"/>
            </a:br>
            <a:endParaRPr lang="fr-FR" dirty="0"/>
          </a:p>
        </p:txBody>
      </p:sp>
      <p:cxnSp>
        <p:nvCxnSpPr>
          <p:cNvPr id="6" name="Connecteur droit 2"/>
          <p:cNvCxnSpPr/>
          <p:nvPr userDrawn="1"/>
        </p:nvCxnSpPr>
        <p:spPr>
          <a:xfrm>
            <a:off x="265813" y="4603857"/>
            <a:ext cx="8856921" cy="0"/>
          </a:xfrm>
          <a:prstGeom prst="line">
            <a:avLst/>
          </a:prstGeom>
          <a:ln w="12700">
            <a:solidFill>
              <a:srgbClr val="0066A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167476444"/>
      </p:ext>
    </p:extLst>
  </p:cSld>
  <p:clrMapOvr>
    <a:masterClrMapping/>
  </p:clrMapOvr>
  <p:transition spd="slow">
    <p:cove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162006" y="1091805"/>
            <a:ext cx="8747125" cy="3405767"/>
          </a:xfrm>
        </p:spPr>
        <p:txBody>
          <a:bodyPr/>
          <a:lstStyle>
            <a:lvl1pPr>
              <a:defRPr>
                <a:latin typeface="Verdana" panose="020B0604030504040204" pitchFamily="34" charset="0"/>
                <a:cs typeface="Verdana" panose="020B0604030504040204" pitchFamily="34" charset="0"/>
              </a:defRPr>
            </a:lvl1pPr>
            <a:lvl2pPr>
              <a:defRPr>
                <a:latin typeface="Verdana" panose="020B0604030504040204" pitchFamily="34" charset="0"/>
                <a:cs typeface="Verdana" panose="020B0604030504040204" pitchFamily="34" charset="0"/>
              </a:defRPr>
            </a:lvl2pPr>
            <a:lvl3pPr>
              <a:defRPr>
                <a:latin typeface="Verdana" panose="020B0604030504040204" pitchFamily="34" charset="0"/>
                <a:cs typeface="Verdana" panose="020B0604030504040204" pitchFamily="34" charset="0"/>
              </a:defRPr>
            </a:lvl3pPr>
            <a:lvl4pPr>
              <a:defRPr>
                <a:latin typeface="Verdana" panose="020B0604030504040204" pitchFamily="34" charset="0"/>
                <a:cs typeface="Verdana" panose="020B0604030504040204" pitchFamily="34" charset="0"/>
              </a:defRPr>
            </a:lvl4pPr>
            <a:lvl5pPr>
              <a:defRPr>
                <a:latin typeface="Verdana" panose="020B0604030504040204" pitchFamily="34" charset="0"/>
                <a:cs typeface="Verdana" panose="020B060403050404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re 3"/>
          <p:cNvSpPr>
            <a:spLocks noGrp="1"/>
          </p:cNvSpPr>
          <p:nvPr>
            <p:ph type="title" hasCustomPrompt="1"/>
          </p:nvPr>
        </p:nvSpPr>
        <p:spPr/>
        <p:txBody>
          <a:bodyPr/>
          <a:lstStyle>
            <a:lvl1pPr>
              <a:defRPr baseline="0">
                <a:latin typeface="Verdana" panose="020B0604030504040204" pitchFamily="34" charset="0"/>
                <a:cs typeface="Verdana" panose="020B0604030504040204" pitchFamily="34" charset="0"/>
              </a:defRPr>
            </a:lvl1pPr>
          </a:lstStyle>
          <a:p>
            <a:r>
              <a:rPr lang="fr-FR" dirty="0"/>
              <a:t>Click </a:t>
            </a:r>
            <a:r>
              <a:rPr lang="fr-FR" dirty="0" err="1"/>
              <a:t>here</a:t>
            </a:r>
            <a:r>
              <a:rPr lang="fr-FR" dirty="0"/>
              <a:t> to change the </a:t>
            </a:r>
            <a:r>
              <a:rPr lang="fr-FR" dirty="0" err="1"/>
              <a:t>title</a:t>
            </a:r>
            <a:r>
              <a:rPr lang="fr-FR" dirty="0"/>
              <a:t/>
            </a:r>
            <a:br>
              <a:rPr lang="fr-FR" dirty="0"/>
            </a:br>
            <a:endParaRPr lang="fr-FR" dirty="0"/>
          </a:p>
        </p:txBody>
      </p:sp>
      <p:cxnSp>
        <p:nvCxnSpPr>
          <p:cNvPr id="6" name="Connecteur droit 2"/>
          <p:cNvCxnSpPr/>
          <p:nvPr userDrawn="1"/>
        </p:nvCxnSpPr>
        <p:spPr>
          <a:xfrm>
            <a:off x="287079" y="910816"/>
            <a:ext cx="8856921" cy="0"/>
          </a:xfrm>
          <a:prstGeom prst="line">
            <a:avLst/>
          </a:prstGeom>
          <a:ln w="12700">
            <a:solidFill>
              <a:srgbClr val="0066A1"/>
            </a:solidFill>
          </a:ln>
        </p:spPr>
        <p:style>
          <a:lnRef idx="1">
            <a:schemeClr val="accent6"/>
          </a:lnRef>
          <a:fillRef idx="0">
            <a:schemeClr val="accent6"/>
          </a:fillRef>
          <a:effectRef idx="0">
            <a:schemeClr val="accent6"/>
          </a:effectRef>
          <a:fontRef idx="minor">
            <a:schemeClr val="tx1"/>
          </a:fontRef>
        </p:style>
      </p:cxnSp>
      <p:cxnSp>
        <p:nvCxnSpPr>
          <p:cNvPr id="11" name="Connecteur droit 2"/>
          <p:cNvCxnSpPr/>
          <p:nvPr userDrawn="1"/>
        </p:nvCxnSpPr>
        <p:spPr>
          <a:xfrm>
            <a:off x="265813" y="4603857"/>
            <a:ext cx="8878187" cy="0"/>
          </a:xfrm>
          <a:prstGeom prst="line">
            <a:avLst/>
          </a:prstGeom>
          <a:ln w="12700">
            <a:solidFill>
              <a:srgbClr val="0066A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624054728"/>
      </p:ext>
    </p:extLst>
  </p:cSld>
  <p:clrMapOvr>
    <a:masterClrMapping/>
  </p:clrMapOvr>
  <p:transition spd="slow">
    <p:cove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Number slide #2">
    <p:bg>
      <p:bgPr>
        <a:solidFill>
          <a:srgbClr val="0066A1"/>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21106" y="0"/>
            <a:ext cx="9165105" cy="5143500"/>
            <a:chOff x="-21106" y="0"/>
            <a:chExt cx="9165105" cy="514350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10" name="Rectangle 9"/>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6" name="Picture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a:ln w="15874">
            <a:noFill/>
          </a:ln>
        </p:spPr>
        <p:txBody>
          <a:bodyPr vert="horz" lIns="0" tIns="0" rIns="0" bIns="0" rtlCol="0" anchor="b" anchorCtr="0">
            <a:noAutofit/>
          </a:bodyPr>
          <a:lstStyle>
            <a:lvl1pPr>
              <a:defRPr lang="en-US" sz="2800" b="0" dirty="0">
                <a:solidFill>
                  <a:schemeClr val="bg1"/>
                </a:solidFill>
                <a:latin typeface="Verdana" panose="020B0604030504040204" pitchFamily="34" charset="0"/>
              </a:defRPr>
            </a:lvl1pPr>
          </a:lstStyle>
          <a:p>
            <a:pPr lvl="0"/>
            <a:r>
              <a:rPr lang="en-US" dirty="0"/>
              <a:t>Click to add chapter title </a:t>
            </a:r>
          </a:p>
        </p:txBody>
      </p:sp>
    </p:spTree>
    <p:extLst>
      <p:ext uri="{BB962C8B-B14F-4D97-AF65-F5344CB8AC3E}">
        <p14:creationId xmlns:p14="http://schemas.microsoft.com/office/powerpoint/2010/main" val="2564331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dirty="0"/>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58607829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dirty="0"/>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38346279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Number slide #3">
    <p:bg>
      <p:bgPr>
        <a:solidFill>
          <a:srgbClr val="0066A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21106" y="0"/>
            <a:ext cx="9165105" cy="5143500"/>
            <a:chOff x="-21106" y="0"/>
            <a:chExt cx="9165105" cy="514350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7" name="Rectangle 6"/>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a:ln w="15874">
            <a:noFill/>
          </a:ln>
        </p:spPr>
        <p:txBody>
          <a:bodyPr vert="horz" lIns="0" tIns="0" rIns="0" bIns="0" rtlCol="0" anchor="b" anchorCtr="0">
            <a:noAutofit/>
          </a:bodyPr>
          <a:lstStyle>
            <a:lvl1pPr>
              <a:defRPr lang="en-US" sz="2800" b="0" dirty="0">
                <a:solidFill>
                  <a:schemeClr val="bg1"/>
                </a:solidFill>
              </a:defRPr>
            </a:lvl1pPr>
          </a:lstStyle>
          <a:p>
            <a:pPr lvl="0"/>
            <a:r>
              <a:rPr lang="en-US" dirty="0"/>
              <a:t>Click to add chapter title </a:t>
            </a:r>
          </a:p>
        </p:txBody>
      </p:sp>
    </p:spTree>
    <p:extLst>
      <p:ext uri="{BB962C8B-B14F-4D97-AF65-F5344CB8AC3E}">
        <p14:creationId xmlns:p14="http://schemas.microsoft.com/office/powerpoint/2010/main" val="3141963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Number slide #4">
    <p:bg>
      <p:bgPr>
        <a:solidFill>
          <a:srgbClr val="0066A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21106" y="0"/>
            <a:ext cx="9165105" cy="5143500"/>
            <a:chOff x="-21106" y="0"/>
            <a:chExt cx="9165105" cy="514350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7" name="Rectangle 6"/>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a:ln w="15874">
            <a:noFill/>
          </a:ln>
        </p:spPr>
        <p:txBody>
          <a:bodyPr vert="horz" lIns="0" tIns="0" rIns="0" bIns="0" rtlCol="0" anchor="b" anchorCtr="0">
            <a:noAutofit/>
          </a:bodyPr>
          <a:lstStyle>
            <a:lvl1pPr>
              <a:defRPr lang="en-US" sz="2800" b="0" dirty="0">
                <a:solidFill>
                  <a:schemeClr val="bg1"/>
                </a:solidFill>
              </a:defRPr>
            </a:lvl1pPr>
          </a:lstStyle>
          <a:p>
            <a:pPr lvl="0"/>
            <a:r>
              <a:rPr lang="en-US" dirty="0"/>
              <a:t>Click to add chapter title </a:t>
            </a:r>
          </a:p>
        </p:txBody>
      </p:sp>
    </p:spTree>
    <p:extLst>
      <p:ext uri="{BB962C8B-B14F-4D97-AF65-F5344CB8AC3E}">
        <p14:creationId xmlns:p14="http://schemas.microsoft.com/office/powerpoint/2010/main" val="37756641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Number slide #4">
    <p:bg>
      <p:bgPr>
        <a:solidFill>
          <a:srgbClr val="0066A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21106" y="0"/>
            <a:ext cx="9165105" cy="5143500"/>
            <a:chOff x="-21106" y="0"/>
            <a:chExt cx="9165105" cy="514350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b="3685"/>
            <a:stretch/>
          </p:blipFill>
          <p:spPr>
            <a:xfrm>
              <a:off x="-21106" y="0"/>
              <a:ext cx="9165105" cy="5143500"/>
            </a:xfrm>
            <a:prstGeom prst="rect">
              <a:avLst/>
            </a:prstGeom>
          </p:spPr>
        </p:pic>
        <p:sp>
          <p:nvSpPr>
            <p:cNvPr id="7" name="Rectangle 6"/>
            <p:cNvSpPr/>
            <p:nvPr userDrawn="1"/>
          </p:nvSpPr>
          <p:spPr>
            <a:xfrm>
              <a:off x="-21106" y="0"/>
              <a:ext cx="9163751" cy="51435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2" name="Title 1"/>
          <p:cNvSpPr>
            <a:spLocks noGrp="1"/>
          </p:cNvSpPr>
          <p:nvPr>
            <p:ph type="title" hasCustomPrompt="1"/>
          </p:nvPr>
        </p:nvSpPr>
        <p:spPr>
          <a:xfrm>
            <a:off x="3203848" y="1995686"/>
            <a:ext cx="5472608" cy="1080120"/>
          </a:xfrm>
          <a:ln w="15874">
            <a:noFill/>
          </a:ln>
        </p:spPr>
        <p:txBody>
          <a:bodyPr vert="horz" lIns="0" tIns="0" rIns="0" bIns="0" rtlCol="0" anchor="b" anchorCtr="0">
            <a:noAutofit/>
          </a:bodyPr>
          <a:lstStyle>
            <a:lvl1pPr>
              <a:defRPr lang="en-US" sz="2800" b="0" dirty="0">
                <a:solidFill>
                  <a:schemeClr val="bg1"/>
                </a:solidFill>
              </a:defRPr>
            </a:lvl1pPr>
          </a:lstStyle>
          <a:p>
            <a:pPr lvl="0"/>
            <a:r>
              <a:rPr lang="en-US" dirty="0"/>
              <a:t>Click to add chapter title </a:t>
            </a:r>
          </a:p>
        </p:txBody>
      </p:sp>
    </p:spTree>
    <p:extLst>
      <p:ext uri="{BB962C8B-B14F-4D97-AF65-F5344CB8AC3E}">
        <p14:creationId xmlns:p14="http://schemas.microsoft.com/office/powerpoint/2010/main" val="3051596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9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N°›</a:t>
            </a:fld>
            <a:endParaRPr lang="nl-NL" dirty="0"/>
          </a:p>
        </p:txBody>
      </p:sp>
      <p:sp>
        <p:nvSpPr>
          <p:cNvPr id="10" name="AddCustomFooter#1"/>
          <p:cNvSpPr txBox="1"/>
          <p:nvPr userDrawn="1"/>
        </p:nvSpPr>
        <p:spPr>
          <a:xfrm>
            <a:off x="236700" y="4729862"/>
            <a:ext cx="3159839" cy="246221"/>
          </a:xfrm>
          <a:prstGeom prst="rect">
            <a:avLst/>
          </a:prstGeom>
          <a:noFill/>
        </p:spPr>
        <p:txBody>
          <a:bodyPr wrap="none" rtlCol="0">
            <a:spAutoFit/>
          </a:bodyPr>
          <a:lstStyle/>
          <a:p>
            <a:r>
              <a:rPr lang="en-US" sz="1000" baseline="0" dirty="0">
                <a:latin typeface="Verdana" pitchFamily="34" charset="0"/>
                <a:ea typeface="Verdana" pitchFamily="34" charset="0"/>
                <a:cs typeface="Verdana" pitchFamily="34" charset="0"/>
              </a:rPr>
              <a:t>       | HPC &amp; Quantum | © Atos - Proprietary </a:t>
            </a:r>
            <a:endParaRPr lang="nl-NL" sz="1000" dirty="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1998182218"/>
      </p:ext>
    </p:extLst>
  </p:cSld>
  <p:clrMap bg1="lt1" tx1="dk1" bg2="lt2" tx2="dk2" accent1="accent1" accent2="accent2" accent3="accent3" accent4="accent4" accent5="accent5" accent6="accent6" hlink="hlink" folHlink="folHlink"/>
  <p:sldLayoutIdLst>
    <p:sldLayoutId id="2147483676" r:id="rId1"/>
    <p:sldLayoutId id="2147483652" r:id="rId2"/>
    <p:sldLayoutId id="2147483677" r:id="rId3"/>
    <p:sldLayoutId id="2147483678" r:id="rId4"/>
    <p:sldLayoutId id="2147483653" r:id="rId5"/>
    <p:sldLayoutId id="2147483654" r:id="rId6"/>
    <p:sldLayoutId id="2147483679" r:id="rId7"/>
    <p:sldLayoutId id="2147483680" r:id="rId8"/>
    <p:sldLayoutId id="2147483683"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 id="2147483671" r:id="rId21"/>
    <p:sldLayoutId id="2147483672" r:id="rId22"/>
    <p:sldLayoutId id="2147483673" r:id="rId23"/>
    <p:sldLayoutId id="2147483674" r:id="rId24"/>
    <p:sldLayoutId id="2147483675" r:id="rId25"/>
    <p:sldLayoutId id="2147483655" r:id="rId26"/>
    <p:sldLayoutId id="2147483681" r:id="rId27"/>
    <p:sldLayoutId id="2147483684" r:id="rId28"/>
    <p:sldLayoutId id="2147483685" r:id="rId29"/>
    <p:sldLayoutId id="2147483686" r:id="rId30"/>
    <p:sldLayoutId id="2147483687" r:id="rId31"/>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3.png"/><Relationship Id="rId4" Type="http://schemas.openxmlformats.org/officeDocument/2006/relationships/image" Target="../media/image3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36.jpg"/><Relationship Id="rId3" Type="http://schemas.openxmlformats.org/officeDocument/2006/relationships/slideLayout" Target="../slideLayouts/slideLayout5.xml"/><Relationship Id="rId7" Type="http://schemas.openxmlformats.org/officeDocument/2006/relationships/image" Target="../media/image3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slideLayout" Target="../slideLayouts/slideLayout5.xml"/><Relationship Id="rId7" Type="http://schemas.openxmlformats.org/officeDocument/2006/relationships/image" Target="../media/image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4.emf"/><Relationship Id="rId11" Type="http://schemas.openxmlformats.org/officeDocument/2006/relationships/image" Target="../media/image48.png"/><Relationship Id="rId5" Type="http://schemas.openxmlformats.org/officeDocument/2006/relationships/oleObject" Target="../embeddings/oleObject2.bin"/><Relationship Id="rId10" Type="http://schemas.openxmlformats.org/officeDocument/2006/relationships/image" Target="../media/image47.png"/><Relationship Id="rId4" Type="http://schemas.openxmlformats.org/officeDocument/2006/relationships/notesSlide" Target="../notesSlides/notesSlide4.xml"/><Relationship Id="rId9" Type="http://schemas.openxmlformats.org/officeDocument/2006/relationships/image" Target="../media/image4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64554"/>
            <a:ext cx="8309346" cy="1102519"/>
          </a:xfrm>
        </p:spPr>
        <p:txBody>
          <a:bodyPr/>
          <a:lstStyle/>
          <a:p>
            <a:r>
              <a:rPr lang="en-GB" sz="2800" dirty="0">
                <a:solidFill>
                  <a:prstClr val="white"/>
                </a:solidFill>
              </a:rPr>
              <a:t>Bull Atos HPC</a:t>
            </a:r>
            <a:endParaRPr lang="en-GB" sz="2400" dirty="0"/>
          </a:p>
        </p:txBody>
      </p:sp>
      <p:sp>
        <p:nvSpPr>
          <p:cNvPr id="3" name="Subtitle 2"/>
          <p:cNvSpPr>
            <a:spLocks noGrp="1"/>
          </p:cNvSpPr>
          <p:nvPr>
            <p:ph type="subTitle" idx="1"/>
          </p:nvPr>
        </p:nvSpPr>
        <p:spPr>
          <a:xfrm>
            <a:off x="212931" y="952594"/>
            <a:ext cx="8312194" cy="469311"/>
          </a:xfrm>
        </p:spPr>
        <p:txBody>
          <a:bodyPr/>
          <a:lstStyle/>
          <a:p>
            <a:r>
              <a:rPr lang="en-GB" sz="1600" dirty="0" err="1"/>
              <a:t>Journées</a:t>
            </a:r>
            <a:r>
              <a:rPr lang="en-GB" sz="1600" dirty="0"/>
              <a:t> </a:t>
            </a:r>
            <a:r>
              <a:rPr lang="en-GB" sz="1600" dirty="0" err="1"/>
              <a:t>Plateforme</a:t>
            </a:r>
            <a:r>
              <a:rPr lang="en-GB" sz="1600" dirty="0"/>
              <a:t>        </a:t>
            </a:r>
            <a:br>
              <a:rPr lang="en-GB" sz="1600" dirty="0"/>
            </a:br>
            <a:r>
              <a:rPr lang="en-GB" sz="1600" dirty="0"/>
              <a:t>7-8 </a:t>
            </a:r>
            <a:r>
              <a:rPr lang="en-GB" sz="1600" dirty="0" err="1"/>
              <a:t>juin</a:t>
            </a:r>
            <a:r>
              <a:rPr lang="en-GB" sz="1600" dirty="0"/>
              <a:t> 2018</a:t>
            </a:r>
          </a:p>
        </p:txBody>
      </p:sp>
      <p:cxnSp>
        <p:nvCxnSpPr>
          <p:cNvPr id="9" name="Straight Connector 8"/>
          <p:cNvCxnSpPr/>
          <p:nvPr/>
        </p:nvCxnSpPr>
        <p:spPr>
          <a:xfrm>
            <a:off x="339725" y="917848"/>
            <a:ext cx="88042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3" name="Groupe 12">
            <a:extLst>
              <a:ext uri="{FF2B5EF4-FFF2-40B4-BE49-F238E27FC236}">
                <a16:creationId xmlns:a16="http://schemas.microsoft.com/office/drawing/2014/main" xmlns="" id="{57C99E23-2925-D64E-936C-A3AF8FE0F98E}"/>
              </a:ext>
            </a:extLst>
          </p:cNvPr>
          <p:cNvGrpSpPr/>
          <p:nvPr/>
        </p:nvGrpSpPr>
        <p:grpSpPr>
          <a:xfrm>
            <a:off x="683568" y="1707654"/>
            <a:ext cx="2594893" cy="1633572"/>
            <a:chOff x="683568" y="1707654"/>
            <a:chExt cx="2594893" cy="1633572"/>
          </a:xfrm>
        </p:grpSpPr>
        <p:grpSp>
          <p:nvGrpSpPr>
            <p:cNvPr id="11" name="Groupe 10">
              <a:extLst>
                <a:ext uri="{FF2B5EF4-FFF2-40B4-BE49-F238E27FC236}">
                  <a16:creationId xmlns:a16="http://schemas.microsoft.com/office/drawing/2014/main" xmlns="" id="{E58FBFDF-A5E4-EF4D-B62C-C85F7C9BF56F}"/>
                </a:ext>
              </a:extLst>
            </p:cNvPr>
            <p:cNvGrpSpPr/>
            <p:nvPr/>
          </p:nvGrpSpPr>
          <p:grpSpPr>
            <a:xfrm>
              <a:off x="683568" y="1707654"/>
              <a:ext cx="2594893" cy="1633572"/>
              <a:chOff x="683568" y="1707654"/>
              <a:chExt cx="2594893" cy="1633572"/>
            </a:xfrm>
          </p:grpSpPr>
          <p:pic>
            <p:nvPicPr>
              <p:cNvPr id="7" name="Image 6">
                <a:extLst>
                  <a:ext uri="{FF2B5EF4-FFF2-40B4-BE49-F238E27FC236}">
                    <a16:creationId xmlns:a16="http://schemas.microsoft.com/office/drawing/2014/main" xmlns="" id="{AF1A3A99-43BF-6042-A8CC-846C64304C69}"/>
                  </a:ext>
                </a:extLst>
              </p:cNvPr>
              <p:cNvPicPr>
                <a:picLocks noChangeAspect="1"/>
              </p:cNvPicPr>
              <p:nvPr/>
            </p:nvPicPr>
            <p:blipFill>
              <a:blip r:embed="rId3"/>
              <a:stretch>
                <a:fillRect/>
              </a:stretch>
            </p:blipFill>
            <p:spPr>
              <a:xfrm>
                <a:off x="683568" y="1707654"/>
                <a:ext cx="2594893" cy="1633572"/>
              </a:xfrm>
              <a:prstGeom prst="rect">
                <a:avLst/>
              </a:prstGeom>
            </p:spPr>
          </p:pic>
          <p:pic>
            <p:nvPicPr>
              <p:cNvPr id="10" name="Image 9">
                <a:extLst>
                  <a:ext uri="{FF2B5EF4-FFF2-40B4-BE49-F238E27FC236}">
                    <a16:creationId xmlns:a16="http://schemas.microsoft.com/office/drawing/2014/main" xmlns="" id="{098BA0AA-87B7-444A-A3A7-2AD29729DEB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3728" y="2211710"/>
                <a:ext cx="677256" cy="359792"/>
              </a:xfrm>
              <a:prstGeom prst="rect">
                <a:avLst/>
              </a:prstGeom>
            </p:spPr>
          </p:pic>
        </p:grpSp>
        <p:pic>
          <p:nvPicPr>
            <p:cNvPr id="12" name="Image 11">
              <a:extLst>
                <a:ext uri="{FF2B5EF4-FFF2-40B4-BE49-F238E27FC236}">
                  <a16:creationId xmlns:a16="http://schemas.microsoft.com/office/drawing/2014/main" xmlns="" id="{B565B181-19AA-4F43-A18A-8C9493B9512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29928" y="1879102"/>
              <a:ext cx="351086" cy="332608"/>
            </a:xfrm>
            <a:prstGeom prst="rect">
              <a:avLst/>
            </a:prstGeom>
          </p:spPr>
        </p:pic>
      </p:grpSp>
      <p:sp>
        <p:nvSpPr>
          <p:cNvPr id="14" name="Subtitle 2">
            <a:extLst>
              <a:ext uri="{FF2B5EF4-FFF2-40B4-BE49-F238E27FC236}">
                <a16:creationId xmlns:a16="http://schemas.microsoft.com/office/drawing/2014/main" xmlns="" id="{6250DF70-BF2A-9E43-B72C-57AE4A0F2CF1}"/>
              </a:ext>
            </a:extLst>
          </p:cNvPr>
          <p:cNvSpPr txBox="1">
            <a:spLocks/>
          </p:cNvSpPr>
          <p:nvPr/>
        </p:nvSpPr>
        <p:spPr>
          <a:xfrm>
            <a:off x="3491880" y="1201878"/>
            <a:ext cx="4930423" cy="469311"/>
          </a:xfrm>
          <a:prstGeom prst="rect">
            <a:avLst/>
          </a:prstGeom>
        </p:spPr>
        <p:txBody>
          <a:bodyPr vert="horz" lIns="91440" tIns="45720" rIns="91440" bIns="45720" rtlCol="0">
            <a:noAutofit/>
          </a:bodyPr>
          <a:lstStyle>
            <a:lvl1pPr marL="0" indent="0" algn="l" defTabSz="914400" rtl="0" eaLnBrk="1" latinLnBrk="0" hangingPunct="1">
              <a:spcBef>
                <a:spcPct val="20000"/>
              </a:spcBef>
              <a:buClr>
                <a:schemeClr val="tx2"/>
              </a:buClr>
              <a:buFont typeface="Lucida Sans Unicode" pitchFamily="34" charset="0"/>
              <a:buNone/>
              <a:defRPr sz="2800" b="0" kern="1200" baseline="0">
                <a:solidFill>
                  <a:schemeClr val="bg1"/>
                </a:solidFill>
                <a:latin typeface="Verdana" pitchFamily="34" charset="0"/>
                <a:ea typeface="Verdana" pitchFamily="34" charset="0"/>
                <a:cs typeface="Verdana" pitchFamily="34" charset="0"/>
              </a:defRPr>
            </a:lvl1pPr>
            <a:lvl2pPr marL="457200" indent="0" algn="ctr" defTabSz="914400" rtl="0" eaLnBrk="1" latinLnBrk="0" hangingPunct="1">
              <a:spcBef>
                <a:spcPts val="384"/>
              </a:spcBef>
              <a:buClr>
                <a:schemeClr val="tx2"/>
              </a:buClr>
              <a:buFont typeface="Arial" pitchFamily="34" charset="0"/>
              <a:buNone/>
              <a:defRPr sz="1600" kern="1200" baseline="0">
                <a:solidFill>
                  <a:schemeClr val="tx1">
                    <a:tint val="75000"/>
                  </a:schemeClr>
                </a:solidFill>
                <a:latin typeface="Verdana" pitchFamily="34" charset="0"/>
                <a:ea typeface="Verdana" pitchFamily="34" charset="0"/>
                <a:cs typeface="Verdana" pitchFamily="34" charset="0"/>
              </a:defRPr>
            </a:lvl2pPr>
            <a:lvl3pPr marL="914400" indent="0" algn="ctr" defTabSz="914400" rtl="0" eaLnBrk="1" latinLnBrk="0" hangingPunct="1">
              <a:spcBef>
                <a:spcPct val="20000"/>
              </a:spcBef>
              <a:buClr>
                <a:schemeClr val="tx2"/>
              </a:buClr>
              <a:buFont typeface="Arial" pitchFamily="34" charset="0"/>
              <a:buNone/>
              <a:defRPr sz="1600" kern="1200">
                <a:solidFill>
                  <a:schemeClr val="tx1">
                    <a:tint val="75000"/>
                  </a:schemeClr>
                </a:solidFill>
                <a:latin typeface="Verdana" pitchFamily="34" charset="0"/>
                <a:ea typeface="Verdana" pitchFamily="34" charset="0"/>
                <a:cs typeface="Verdana" pitchFamily="34" charset="0"/>
              </a:defRPr>
            </a:lvl3pPr>
            <a:lvl4pPr marL="1371600" indent="0" algn="ctr" defTabSz="914400" rtl="0" eaLnBrk="1" latinLnBrk="0" hangingPunct="1">
              <a:spcBef>
                <a:spcPct val="20000"/>
              </a:spcBef>
              <a:buClr>
                <a:schemeClr val="tx2"/>
              </a:buClr>
              <a:buFont typeface="Arial" pitchFamily="34" charset="0"/>
              <a:buNone/>
              <a:defRPr sz="1600" kern="1200" baseline="0">
                <a:solidFill>
                  <a:schemeClr val="tx1">
                    <a:tint val="75000"/>
                  </a:schemeClr>
                </a:solidFill>
                <a:latin typeface="Verdana" pitchFamily="34" charset="0"/>
                <a:ea typeface="Verdana" pitchFamily="34" charset="0"/>
                <a:cs typeface="Verdana" pitchFamily="34" charset="0"/>
              </a:defRPr>
            </a:lvl4pPr>
            <a:lvl5pPr marL="1828800" indent="0" algn="ctr" defTabSz="914400" rtl="0" eaLnBrk="1" latinLnBrk="0" hangingPunct="1">
              <a:spcBef>
                <a:spcPct val="20000"/>
              </a:spcBef>
              <a:buClr>
                <a:schemeClr val="tx2"/>
              </a:buClr>
              <a:buFont typeface="Arial" pitchFamily="34" charset="0"/>
              <a:buNone/>
              <a:defRPr sz="1600" kern="1200">
                <a:solidFill>
                  <a:schemeClr val="tx1">
                    <a:tint val="75000"/>
                  </a:schemeClr>
                </a:solidFill>
                <a:latin typeface="Verdana" pitchFamily="34" charset="0"/>
                <a:ea typeface="Verdana" pitchFamily="34" charset="0"/>
                <a:cs typeface="Verdana"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GB" dirty="0"/>
              <a:t>Containers : cycle de vie</a:t>
            </a:r>
          </a:p>
        </p:txBody>
      </p:sp>
    </p:spTree>
    <p:extLst>
      <p:ext uri="{BB962C8B-B14F-4D97-AF65-F5344CB8AC3E}">
        <p14:creationId xmlns:p14="http://schemas.microsoft.com/office/powerpoint/2010/main" val="3859838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xmlns="" id="{14F4F1DE-629A-5B42-A3C3-DC6264F5124D}"/>
              </a:ext>
            </a:extLst>
          </p:cNvPr>
          <p:cNvSpPr>
            <a:spLocks noGrp="1"/>
          </p:cNvSpPr>
          <p:nvPr>
            <p:ph type="sldNum" sz="quarter" idx="4"/>
          </p:nvPr>
        </p:nvSpPr>
        <p:spPr/>
        <p:txBody>
          <a:bodyPr/>
          <a:lstStyle/>
          <a:p>
            <a:fld id="{DAF489CC-3B7A-4DA5-A8C0-4984788D0EC5}" type="slidenum">
              <a:rPr lang="nl-NL" smtClean="0"/>
              <a:pPr/>
              <a:t>10</a:t>
            </a:fld>
            <a:endParaRPr lang="nl-NL" dirty="0"/>
          </a:p>
        </p:txBody>
      </p:sp>
      <p:sp>
        <p:nvSpPr>
          <p:cNvPr id="4" name="Titre 3">
            <a:extLst>
              <a:ext uri="{FF2B5EF4-FFF2-40B4-BE49-F238E27FC236}">
                <a16:creationId xmlns:a16="http://schemas.microsoft.com/office/drawing/2014/main" xmlns="" id="{43D868F9-0044-B740-A1A8-84BF4C98CF83}"/>
              </a:ext>
            </a:extLst>
          </p:cNvPr>
          <p:cNvSpPr>
            <a:spLocks noGrp="1"/>
          </p:cNvSpPr>
          <p:nvPr>
            <p:ph type="title"/>
          </p:nvPr>
        </p:nvSpPr>
        <p:spPr/>
        <p:txBody>
          <a:bodyPr/>
          <a:lstStyle/>
          <a:p>
            <a:r>
              <a:rPr lang="en-GB" dirty="0" err="1" smtClean="0"/>
              <a:t>Dans</a:t>
            </a:r>
            <a:r>
              <a:rPr lang="en-GB" dirty="0" smtClean="0"/>
              <a:t> un </a:t>
            </a:r>
            <a:r>
              <a:rPr lang="en-GB" dirty="0" err="1" smtClean="0"/>
              <a:t>contexte</a:t>
            </a:r>
            <a:r>
              <a:rPr lang="en-GB" dirty="0" smtClean="0"/>
              <a:t> HPC</a:t>
            </a:r>
            <a:r>
              <a:rPr lang="en-GB" dirty="0"/>
              <a:t/>
            </a:r>
            <a:br>
              <a:rPr lang="en-GB" dirty="0"/>
            </a:br>
            <a:r>
              <a:rPr lang="en-GB" sz="1400" b="0" i="1" dirty="0" err="1" smtClean="0"/>
              <a:t>Problématique</a:t>
            </a:r>
            <a:endParaRPr lang="en-GB" sz="1400" b="0" i="1" dirty="0"/>
          </a:p>
        </p:txBody>
      </p:sp>
      <p:sp>
        <p:nvSpPr>
          <p:cNvPr id="9" name="Espace réservé du contenu 1">
            <a:extLst>
              <a:ext uri="{FF2B5EF4-FFF2-40B4-BE49-F238E27FC236}">
                <a16:creationId xmlns:a16="http://schemas.microsoft.com/office/drawing/2014/main" xmlns="" id="{E7A790E7-A77E-5748-8D06-6A91621D990B}"/>
              </a:ext>
            </a:extLst>
          </p:cNvPr>
          <p:cNvSpPr txBox="1">
            <a:spLocks/>
          </p:cNvSpPr>
          <p:nvPr/>
        </p:nvSpPr>
        <p:spPr>
          <a:xfrm>
            <a:off x="260484" y="872841"/>
            <a:ext cx="8487980" cy="3474900"/>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smtClean="0"/>
              <a:t>Création</a:t>
            </a:r>
          </a:p>
          <a:p>
            <a:pPr lvl="1"/>
            <a:r>
              <a:rPr lang="fr-FR" dirty="0" smtClean="0"/>
              <a:t>Qui crée les containers ? Comment ?</a:t>
            </a:r>
          </a:p>
          <a:p>
            <a:pPr lvl="1"/>
            <a:r>
              <a:rPr lang="fr-FR" dirty="0" smtClean="0"/>
              <a:t>Confiance: Vérifier que les containers font bien ce qu’ils disent faire ?</a:t>
            </a:r>
          </a:p>
          <a:p>
            <a:r>
              <a:rPr lang="fr-FR" dirty="0" err="1" smtClean="0"/>
              <a:t>Registry</a:t>
            </a:r>
            <a:endParaRPr lang="fr-FR" dirty="0" smtClean="0"/>
          </a:p>
          <a:p>
            <a:pPr lvl="1"/>
            <a:r>
              <a:rPr lang="fr-FR" dirty="0" smtClean="0"/>
              <a:t>Gestion des permissions</a:t>
            </a:r>
          </a:p>
          <a:p>
            <a:pPr lvl="1"/>
            <a:r>
              <a:rPr lang="fr-FR" dirty="0" smtClean="0"/>
              <a:t>Passage à l’échelle</a:t>
            </a:r>
          </a:p>
          <a:p>
            <a:r>
              <a:rPr lang="fr-FR" dirty="0" smtClean="0"/>
              <a:t>Articulation Utilisateur / </a:t>
            </a:r>
            <a:r>
              <a:rPr lang="fr-FR" dirty="0" err="1" smtClean="0"/>
              <a:t>Slurm</a:t>
            </a:r>
            <a:r>
              <a:rPr lang="fr-FR" dirty="0" smtClean="0"/>
              <a:t> / </a:t>
            </a:r>
            <a:r>
              <a:rPr lang="fr-FR" dirty="0" err="1" smtClean="0"/>
              <a:t>Registry</a:t>
            </a:r>
            <a:r>
              <a:rPr lang="fr-FR" dirty="0" smtClean="0"/>
              <a:t> / </a:t>
            </a:r>
            <a:r>
              <a:rPr lang="fr-FR" dirty="0" err="1" smtClean="0"/>
              <a:t>Computes</a:t>
            </a:r>
            <a:endParaRPr lang="fr-FR" dirty="0" smtClean="0"/>
          </a:p>
          <a:p>
            <a:endParaRPr lang="fr-FR" sz="1200" dirty="0" smtClean="0"/>
          </a:p>
          <a:p>
            <a:endParaRPr lang="fr-FR" sz="1200" dirty="0"/>
          </a:p>
        </p:txBody>
      </p:sp>
    </p:spTree>
    <p:extLst>
      <p:ext uri="{BB962C8B-B14F-4D97-AF65-F5344CB8AC3E}">
        <p14:creationId xmlns:p14="http://schemas.microsoft.com/office/powerpoint/2010/main" val="3288524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4"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Containers </a:t>
            </a:r>
            <a:r>
              <a:rPr lang="en-US" dirty="0" err="1"/>
              <a:t>en</a:t>
            </a:r>
            <a:r>
              <a:rPr lang="en-US" dirty="0"/>
              <a:t> HPC, </a:t>
            </a:r>
            <a:r>
              <a:rPr lang="en-US" dirty="0" err="1"/>
              <a:t>pourquoi</a:t>
            </a:r>
            <a:r>
              <a:rPr lang="en-US" dirty="0"/>
              <a:t> ? </a:t>
            </a:r>
          </a:p>
        </p:txBody>
      </p:sp>
      <p:sp>
        <p:nvSpPr>
          <p:cNvPr id="14" name="TextBox 13"/>
          <p:cNvSpPr txBox="1"/>
          <p:nvPr/>
        </p:nvSpPr>
        <p:spPr>
          <a:xfrm>
            <a:off x="3131839" y="1131590"/>
            <a:ext cx="5581145" cy="700858"/>
          </a:xfrm>
          <a:prstGeom prst="rect">
            <a:avLst/>
          </a:prstGeom>
          <a:noFill/>
        </p:spPr>
        <p:txBody>
          <a:bodyPr wrap="square" lIns="0" tIns="0" rIns="0" bIns="54000" rtlCol="0" anchor="b">
            <a:spAutoFit/>
          </a:bodyPr>
          <a:lstStyle/>
          <a:p>
            <a:r>
              <a:rPr lang="en-US" sz="1400" b="1" dirty="0" err="1"/>
              <a:t>Flexibilité</a:t>
            </a:r>
            <a:r>
              <a:rPr lang="en-US" sz="1400" b="1" dirty="0"/>
              <a:t> </a:t>
            </a:r>
            <a:r>
              <a:rPr lang="en-US" sz="1400" b="1" dirty="0" err="1"/>
              <a:t>d’exécution</a:t>
            </a:r>
            <a:endParaRPr lang="en-US" sz="1400" dirty="0"/>
          </a:p>
          <a:p>
            <a:r>
              <a:rPr lang="en-US" sz="1400" dirty="0" err="1"/>
              <a:t>Permet</a:t>
            </a:r>
            <a:r>
              <a:rPr lang="en-US" sz="1400" dirty="0"/>
              <a:t> </a:t>
            </a:r>
            <a:r>
              <a:rPr lang="en-US" sz="1400" dirty="0" err="1"/>
              <a:t>d’apporter</a:t>
            </a:r>
            <a:r>
              <a:rPr lang="en-US" sz="1400" dirty="0"/>
              <a:t> un </a:t>
            </a:r>
            <a:r>
              <a:rPr lang="en-US" sz="1400" dirty="0" err="1"/>
              <a:t>environnement</a:t>
            </a:r>
            <a:r>
              <a:rPr lang="en-US" sz="1400" dirty="0"/>
              <a:t> </a:t>
            </a:r>
            <a:r>
              <a:rPr lang="en-US" sz="1400" dirty="0" err="1"/>
              <a:t>d’exécution</a:t>
            </a:r>
            <a:r>
              <a:rPr lang="en-US" sz="1400" dirty="0"/>
              <a:t> </a:t>
            </a:r>
            <a:r>
              <a:rPr lang="en-US" sz="1400" dirty="0" err="1"/>
              <a:t>autonome</a:t>
            </a:r>
            <a:r>
              <a:rPr lang="en-US" sz="1400" dirty="0"/>
              <a:t> </a:t>
            </a:r>
            <a:br>
              <a:rPr lang="en-US" sz="1400" dirty="0"/>
            </a:br>
            <a:r>
              <a:rPr lang="en-US" sz="1400" dirty="0" err="1"/>
              <a:t>Géré</a:t>
            </a:r>
            <a:r>
              <a:rPr lang="en-US" sz="1400" dirty="0"/>
              <a:t> par </a:t>
            </a:r>
            <a:r>
              <a:rPr lang="en-US" sz="1400" dirty="0" err="1"/>
              <a:t>l’utilisateur</a:t>
            </a:r>
            <a:endParaRPr lang="en-US" sz="1400" dirty="0"/>
          </a:p>
        </p:txBody>
      </p:sp>
      <p:sp>
        <p:nvSpPr>
          <p:cNvPr id="23" name="object 3"/>
          <p:cNvSpPr>
            <a:spLocks noChangeAspect="1"/>
          </p:cNvSpPr>
          <p:nvPr/>
        </p:nvSpPr>
        <p:spPr>
          <a:xfrm>
            <a:off x="2138312" y="1131590"/>
            <a:ext cx="581905" cy="612000"/>
          </a:xfrm>
          <a:custGeom>
            <a:avLst/>
            <a:gdLst>
              <a:gd name="connsiteX0" fmla="*/ 0 w 3742377"/>
              <a:gd name="connsiteY0" fmla="*/ 663534 h 663534"/>
              <a:gd name="connsiteX1" fmla="*/ 124947 w 3742377"/>
              <a:gd name="connsiteY1" fmla="*/ 656856 h 663534"/>
              <a:gd name="connsiteX2" fmla="*/ 124947 w 3742377"/>
              <a:gd name="connsiteY2" fmla="*/ 644270 h 663534"/>
              <a:gd name="connsiteX3" fmla="*/ 124947 w 3742377"/>
              <a:gd name="connsiteY3" fmla="*/ 584238 h 663534"/>
              <a:gd name="connsiteX4" fmla="*/ 196905 w 3742377"/>
              <a:gd name="connsiteY4" fmla="*/ 584238 h 663534"/>
              <a:gd name="connsiteX5" fmla="*/ 206642 w 3742377"/>
              <a:gd name="connsiteY5" fmla="*/ 581382 h 663534"/>
              <a:gd name="connsiteX6" fmla="*/ 215136 w 3742377"/>
              <a:gd name="connsiteY6" fmla="*/ 574178 h 663534"/>
              <a:gd name="connsiteX7" fmla="*/ 221144 w 3742377"/>
              <a:gd name="connsiteY7" fmla="*/ 564666 h 663534"/>
              <a:gd name="connsiteX8" fmla="*/ 223423 w 3742377"/>
              <a:gd name="connsiteY8" fmla="*/ 554888 h 663534"/>
              <a:gd name="connsiteX9" fmla="*/ 223423 w 3742377"/>
              <a:gd name="connsiteY9" fmla="*/ 138252 h 663534"/>
              <a:gd name="connsiteX10" fmla="*/ 158081 w 3742377"/>
              <a:gd name="connsiteY10" fmla="*/ 167601 h 663534"/>
              <a:gd name="connsiteX11" fmla="*/ 124947 w 3742377"/>
              <a:gd name="connsiteY11" fmla="*/ 167601 h 663534"/>
              <a:gd name="connsiteX12" fmla="*/ 124947 w 3742377"/>
              <a:gd name="connsiteY12" fmla="*/ 89014 h 663534"/>
              <a:gd name="connsiteX13" fmla="*/ 272661 w 3742377"/>
              <a:gd name="connsiteY13" fmla="*/ 0 h 663534"/>
              <a:gd name="connsiteX14" fmla="*/ 372089 w 3742377"/>
              <a:gd name="connsiteY14" fmla="*/ 0 h 663534"/>
              <a:gd name="connsiteX15" fmla="*/ 372089 w 3742377"/>
              <a:gd name="connsiteY15" fmla="*/ 554888 h 663534"/>
              <a:gd name="connsiteX16" fmla="*/ 374234 w 3742377"/>
              <a:gd name="connsiteY16" fmla="*/ 564666 h 663534"/>
              <a:gd name="connsiteX17" fmla="*/ 380019 w 3742377"/>
              <a:gd name="connsiteY17" fmla="*/ 574178 h 663534"/>
              <a:gd name="connsiteX18" fmla="*/ 388468 w 3742377"/>
              <a:gd name="connsiteY18" fmla="*/ 581382 h 663534"/>
              <a:gd name="connsiteX19" fmla="*/ 398607 w 3742377"/>
              <a:gd name="connsiteY19" fmla="*/ 584238 h 663534"/>
              <a:gd name="connsiteX20" fmla="*/ 458259 w 3742377"/>
              <a:gd name="connsiteY20" fmla="*/ 584238 h 663534"/>
              <a:gd name="connsiteX21" fmla="*/ 458259 w 3742377"/>
              <a:gd name="connsiteY21" fmla="*/ 656856 h 663534"/>
              <a:gd name="connsiteX22" fmla="*/ 3742377 w 3742377"/>
              <a:gd name="connsiteY22" fmla="*/ 656869 h 663534"/>
              <a:gd name="connsiteX0" fmla="*/ 0 w 3732852"/>
              <a:gd name="connsiteY0" fmla="*/ 656390 h 656869"/>
              <a:gd name="connsiteX1" fmla="*/ 115422 w 3732852"/>
              <a:gd name="connsiteY1" fmla="*/ 656856 h 656869"/>
              <a:gd name="connsiteX2" fmla="*/ 115422 w 3732852"/>
              <a:gd name="connsiteY2" fmla="*/ 644270 h 656869"/>
              <a:gd name="connsiteX3" fmla="*/ 115422 w 3732852"/>
              <a:gd name="connsiteY3" fmla="*/ 584238 h 656869"/>
              <a:gd name="connsiteX4" fmla="*/ 187380 w 3732852"/>
              <a:gd name="connsiteY4" fmla="*/ 584238 h 656869"/>
              <a:gd name="connsiteX5" fmla="*/ 197117 w 3732852"/>
              <a:gd name="connsiteY5" fmla="*/ 581382 h 656869"/>
              <a:gd name="connsiteX6" fmla="*/ 205611 w 3732852"/>
              <a:gd name="connsiteY6" fmla="*/ 574178 h 656869"/>
              <a:gd name="connsiteX7" fmla="*/ 211619 w 3732852"/>
              <a:gd name="connsiteY7" fmla="*/ 564666 h 656869"/>
              <a:gd name="connsiteX8" fmla="*/ 213898 w 3732852"/>
              <a:gd name="connsiteY8" fmla="*/ 554888 h 656869"/>
              <a:gd name="connsiteX9" fmla="*/ 213898 w 3732852"/>
              <a:gd name="connsiteY9" fmla="*/ 138252 h 656869"/>
              <a:gd name="connsiteX10" fmla="*/ 148556 w 3732852"/>
              <a:gd name="connsiteY10" fmla="*/ 167601 h 656869"/>
              <a:gd name="connsiteX11" fmla="*/ 115422 w 3732852"/>
              <a:gd name="connsiteY11" fmla="*/ 167601 h 656869"/>
              <a:gd name="connsiteX12" fmla="*/ 115422 w 3732852"/>
              <a:gd name="connsiteY12" fmla="*/ 89014 h 656869"/>
              <a:gd name="connsiteX13" fmla="*/ 263136 w 3732852"/>
              <a:gd name="connsiteY13" fmla="*/ 0 h 656869"/>
              <a:gd name="connsiteX14" fmla="*/ 362564 w 3732852"/>
              <a:gd name="connsiteY14" fmla="*/ 0 h 656869"/>
              <a:gd name="connsiteX15" fmla="*/ 362564 w 3732852"/>
              <a:gd name="connsiteY15" fmla="*/ 554888 h 656869"/>
              <a:gd name="connsiteX16" fmla="*/ 364709 w 3732852"/>
              <a:gd name="connsiteY16" fmla="*/ 564666 h 656869"/>
              <a:gd name="connsiteX17" fmla="*/ 370494 w 3732852"/>
              <a:gd name="connsiteY17" fmla="*/ 574178 h 656869"/>
              <a:gd name="connsiteX18" fmla="*/ 378943 w 3732852"/>
              <a:gd name="connsiteY18" fmla="*/ 581382 h 656869"/>
              <a:gd name="connsiteX19" fmla="*/ 389082 w 3732852"/>
              <a:gd name="connsiteY19" fmla="*/ 584238 h 656869"/>
              <a:gd name="connsiteX20" fmla="*/ 448734 w 3732852"/>
              <a:gd name="connsiteY20" fmla="*/ 584238 h 656869"/>
              <a:gd name="connsiteX21" fmla="*/ 448734 w 3732852"/>
              <a:gd name="connsiteY21" fmla="*/ 656856 h 656869"/>
              <a:gd name="connsiteX22" fmla="*/ 3732852 w 3732852"/>
              <a:gd name="connsiteY22" fmla="*/ 656869 h 656869"/>
              <a:gd name="connsiteX0" fmla="*/ 0 w 3730471"/>
              <a:gd name="connsiteY0" fmla="*/ 658771 h 658771"/>
              <a:gd name="connsiteX1" fmla="*/ 113041 w 3730471"/>
              <a:gd name="connsiteY1" fmla="*/ 656856 h 658771"/>
              <a:gd name="connsiteX2" fmla="*/ 113041 w 3730471"/>
              <a:gd name="connsiteY2" fmla="*/ 644270 h 658771"/>
              <a:gd name="connsiteX3" fmla="*/ 113041 w 3730471"/>
              <a:gd name="connsiteY3" fmla="*/ 584238 h 658771"/>
              <a:gd name="connsiteX4" fmla="*/ 184999 w 3730471"/>
              <a:gd name="connsiteY4" fmla="*/ 584238 h 658771"/>
              <a:gd name="connsiteX5" fmla="*/ 194736 w 3730471"/>
              <a:gd name="connsiteY5" fmla="*/ 581382 h 658771"/>
              <a:gd name="connsiteX6" fmla="*/ 203230 w 3730471"/>
              <a:gd name="connsiteY6" fmla="*/ 574178 h 658771"/>
              <a:gd name="connsiteX7" fmla="*/ 209238 w 3730471"/>
              <a:gd name="connsiteY7" fmla="*/ 564666 h 658771"/>
              <a:gd name="connsiteX8" fmla="*/ 211517 w 3730471"/>
              <a:gd name="connsiteY8" fmla="*/ 554888 h 658771"/>
              <a:gd name="connsiteX9" fmla="*/ 211517 w 3730471"/>
              <a:gd name="connsiteY9" fmla="*/ 138252 h 658771"/>
              <a:gd name="connsiteX10" fmla="*/ 146175 w 3730471"/>
              <a:gd name="connsiteY10" fmla="*/ 167601 h 658771"/>
              <a:gd name="connsiteX11" fmla="*/ 113041 w 3730471"/>
              <a:gd name="connsiteY11" fmla="*/ 167601 h 658771"/>
              <a:gd name="connsiteX12" fmla="*/ 113041 w 3730471"/>
              <a:gd name="connsiteY12" fmla="*/ 89014 h 658771"/>
              <a:gd name="connsiteX13" fmla="*/ 260755 w 3730471"/>
              <a:gd name="connsiteY13" fmla="*/ 0 h 658771"/>
              <a:gd name="connsiteX14" fmla="*/ 360183 w 3730471"/>
              <a:gd name="connsiteY14" fmla="*/ 0 h 658771"/>
              <a:gd name="connsiteX15" fmla="*/ 360183 w 3730471"/>
              <a:gd name="connsiteY15" fmla="*/ 554888 h 658771"/>
              <a:gd name="connsiteX16" fmla="*/ 362328 w 3730471"/>
              <a:gd name="connsiteY16" fmla="*/ 564666 h 658771"/>
              <a:gd name="connsiteX17" fmla="*/ 368113 w 3730471"/>
              <a:gd name="connsiteY17" fmla="*/ 574178 h 658771"/>
              <a:gd name="connsiteX18" fmla="*/ 376562 w 3730471"/>
              <a:gd name="connsiteY18" fmla="*/ 581382 h 658771"/>
              <a:gd name="connsiteX19" fmla="*/ 386701 w 3730471"/>
              <a:gd name="connsiteY19" fmla="*/ 584238 h 658771"/>
              <a:gd name="connsiteX20" fmla="*/ 446353 w 3730471"/>
              <a:gd name="connsiteY20" fmla="*/ 584238 h 658771"/>
              <a:gd name="connsiteX21" fmla="*/ 446353 w 3730471"/>
              <a:gd name="connsiteY21" fmla="*/ 656856 h 658771"/>
              <a:gd name="connsiteX22" fmla="*/ 3730471 w 3730471"/>
              <a:gd name="connsiteY22" fmla="*/ 656869 h 658771"/>
              <a:gd name="connsiteX0" fmla="*/ 0 w 3728090"/>
              <a:gd name="connsiteY0" fmla="*/ 654009 h 656869"/>
              <a:gd name="connsiteX1" fmla="*/ 110660 w 3728090"/>
              <a:gd name="connsiteY1" fmla="*/ 656856 h 656869"/>
              <a:gd name="connsiteX2" fmla="*/ 110660 w 3728090"/>
              <a:gd name="connsiteY2" fmla="*/ 644270 h 656869"/>
              <a:gd name="connsiteX3" fmla="*/ 110660 w 3728090"/>
              <a:gd name="connsiteY3" fmla="*/ 584238 h 656869"/>
              <a:gd name="connsiteX4" fmla="*/ 182618 w 3728090"/>
              <a:gd name="connsiteY4" fmla="*/ 584238 h 656869"/>
              <a:gd name="connsiteX5" fmla="*/ 192355 w 3728090"/>
              <a:gd name="connsiteY5" fmla="*/ 581382 h 656869"/>
              <a:gd name="connsiteX6" fmla="*/ 200849 w 3728090"/>
              <a:gd name="connsiteY6" fmla="*/ 574178 h 656869"/>
              <a:gd name="connsiteX7" fmla="*/ 206857 w 3728090"/>
              <a:gd name="connsiteY7" fmla="*/ 564666 h 656869"/>
              <a:gd name="connsiteX8" fmla="*/ 209136 w 3728090"/>
              <a:gd name="connsiteY8" fmla="*/ 554888 h 656869"/>
              <a:gd name="connsiteX9" fmla="*/ 209136 w 3728090"/>
              <a:gd name="connsiteY9" fmla="*/ 138252 h 656869"/>
              <a:gd name="connsiteX10" fmla="*/ 143794 w 3728090"/>
              <a:gd name="connsiteY10" fmla="*/ 167601 h 656869"/>
              <a:gd name="connsiteX11" fmla="*/ 110660 w 3728090"/>
              <a:gd name="connsiteY11" fmla="*/ 167601 h 656869"/>
              <a:gd name="connsiteX12" fmla="*/ 110660 w 3728090"/>
              <a:gd name="connsiteY12" fmla="*/ 89014 h 656869"/>
              <a:gd name="connsiteX13" fmla="*/ 258374 w 3728090"/>
              <a:gd name="connsiteY13" fmla="*/ 0 h 656869"/>
              <a:gd name="connsiteX14" fmla="*/ 357802 w 3728090"/>
              <a:gd name="connsiteY14" fmla="*/ 0 h 656869"/>
              <a:gd name="connsiteX15" fmla="*/ 357802 w 3728090"/>
              <a:gd name="connsiteY15" fmla="*/ 554888 h 656869"/>
              <a:gd name="connsiteX16" fmla="*/ 359947 w 3728090"/>
              <a:gd name="connsiteY16" fmla="*/ 564666 h 656869"/>
              <a:gd name="connsiteX17" fmla="*/ 365732 w 3728090"/>
              <a:gd name="connsiteY17" fmla="*/ 574178 h 656869"/>
              <a:gd name="connsiteX18" fmla="*/ 374181 w 3728090"/>
              <a:gd name="connsiteY18" fmla="*/ 581382 h 656869"/>
              <a:gd name="connsiteX19" fmla="*/ 384320 w 3728090"/>
              <a:gd name="connsiteY19" fmla="*/ 584238 h 656869"/>
              <a:gd name="connsiteX20" fmla="*/ 443972 w 3728090"/>
              <a:gd name="connsiteY20" fmla="*/ 584238 h 656869"/>
              <a:gd name="connsiteX21" fmla="*/ 443972 w 3728090"/>
              <a:gd name="connsiteY21" fmla="*/ 656856 h 656869"/>
              <a:gd name="connsiteX22" fmla="*/ 3728090 w 3728090"/>
              <a:gd name="connsiteY22" fmla="*/ 656869 h 656869"/>
              <a:gd name="connsiteX0" fmla="*/ 0 w 3725709"/>
              <a:gd name="connsiteY0" fmla="*/ 658771 h 658771"/>
              <a:gd name="connsiteX1" fmla="*/ 108279 w 3725709"/>
              <a:gd name="connsiteY1" fmla="*/ 656856 h 658771"/>
              <a:gd name="connsiteX2" fmla="*/ 108279 w 3725709"/>
              <a:gd name="connsiteY2" fmla="*/ 644270 h 658771"/>
              <a:gd name="connsiteX3" fmla="*/ 108279 w 3725709"/>
              <a:gd name="connsiteY3" fmla="*/ 584238 h 658771"/>
              <a:gd name="connsiteX4" fmla="*/ 180237 w 3725709"/>
              <a:gd name="connsiteY4" fmla="*/ 584238 h 658771"/>
              <a:gd name="connsiteX5" fmla="*/ 189974 w 3725709"/>
              <a:gd name="connsiteY5" fmla="*/ 581382 h 658771"/>
              <a:gd name="connsiteX6" fmla="*/ 198468 w 3725709"/>
              <a:gd name="connsiteY6" fmla="*/ 574178 h 658771"/>
              <a:gd name="connsiteX7" fmla="*/ 204476 w 3725709"/>
              <a:gd name="connsiteY7" fmla="*/ 564666 h 658771"/>
              <a:gd name="connsiteX8" fmla="*/ 206755 w 3725709"/>
              <a:gd name="connsiteY8" fmla="*/ 554888 h 658771"/>
              <a:gd name="connsiteX9" fmla="*/ 206755 w 3725709"/>
              <a:gd name="connsiteY9" fmla="*/ 138252 h 658771"/>
              <a:gd name="connsiteX10" fmla="*/ 141413 w 3725709"/>
              <a:gd name="connsiteY10" fmla="*/ 167601 h 658771"/>
              <a:gd name="connsiteX11" fmla="*/ 108279 w 3725709"/>
              <a:gd name="connsiteY11" fmla="*/ 167601 h 658771"/>
              <a:gd name="connsiteX12" fmla="*/ 108279 w 3725709"/>
              <a:gd name="connsiteY12" fmla="*/ 89014 h 658771"/>
              <a:gd name="connsiteX13" fmla="*/ 255993 w 3725709"/>
              <a:gd name="connsiteY13" fmla="*/ 0 h 658771"/>
              <a:gd name="connsiteX14" fmla="*/ 355421 w 3725709"/>
              <a:gd name="connsiteY14" fmla="*/ 0 h 658771"/>
              <a:gd name="connsiteX15" fmla="*/ 355421 w 3725709"/>
              <a:gd name="connsiteY15" fmla="*/ 554888 h 658771"/>
              <a:gd name="connsiteX16" fmla="*/ 357566 w 3725709"/>
              <a:gd name="connsiteY16" fmla="*/ 564666 h 658771"/>
              <a:gd name="connsiteX17" fmla="*/ 363351 w 3725709"/>
              <a:gd name="connsiteY17" fmla="*/ 574178 h 658771"/>
              <a:gd name="connsiteX18" fmla="*/ 371800 w 3725709"/>
              <a:gd name="connsiteY18" fmla="*/ 581382 h 658771"/>
              <a:gd name="connsiteX19" fmla="*/ 381939 w 3725709"/>
              <a:gd name="connsiteY19" fmla="*/ 584238 h 658771"/>
              <a:gd name="connsiteX20" fmla="*/ 441591 w 3725709"/>
              <a:gd name="connsiteY20" fmla="*/ 584238 h 658771"/>
              <a:gd name="connsiteX21" fmla="*/ 441591 w 3725709"/>
              <a:gd name="connsiteY21" fmla="*/ 656856 h 658771"/>
              <a:gd name="connsiteX22" fmla="*/ 3725709 w 3725709"/>
              <a:gd name="connsiteY22" fmla="*/ 656869 h 658771"/>
              <a:gd name="connsiteX0" fmla="*/ 0 w 3723328"/>
              <a:gd name="connsiteY0" fmla="*/ 654008 h 656869"/>
              <a:gd name="connsiteX1" fmla="*/ 105898 w 3723328"/>
              <a:gd name="connsiteY1" fmla="*/ 656856 h 656869"/>
              <a:gd name="connsiteX2" fmla="*/ 105898 w 3723328"/>
              <a:gd name="connsiteY2" fmla="*/ 644270 h 656869"/>
              <a:gd name="connsiteX3" fmla="*/ 105898 w 3723328"/>
              <a:gd name="connsiteY3" fmla="*/ 584238 h 656869"/>
              <a:gd name="connsiteX4" fmla="*/ 177856 w 3723328"/>
              <a:gd name="connsiteY4" fmla="*/ 584238 h 656869"/>
              <a:gd name="connsiteX5" fmla="*/ 187593 w 3723328"/>
              <a:gd name="connsiteY5" fmla="*/ 581382 h 656869"/>
              <a:gd name="connsiteX6" fmla="*/ 196087 w 3723328"/>
              <a:gd name="connsiteY6" fmla="*/ 574178 h 656869"/>
              <a:gd name="connsiteX7" fmla="*/ 202095 w 3723328"/>
              <a:gd name="connsiteY7" fmla="*/ 564666 h 656869"/>
              <a:gd name="connsiteX8" fmla="*/ 204374 w 3723328"/>
              <a:gd name="connsiteY8" fmla="*/ 554888 h 656869"/>
              <a:gd name="connsiteX9" fmla="*/ 204374 w 3723328"/>
              <a:gd name="connsiteY9" fmla="*/ 138252 h 656869"/>
              <a:gd name="connsiteX10" fmla="*/ 139032 w 3723328"/>
              <a:gd name="connsiteY10" fmla="*/ 167601 h 656869"/>
              <a:gd name="connsiteX11" fmla="*/ 105898 w 3723328"/>
              <a:gd name="connsiteY11" fmla="*/ 167601 h 656869"/>
              <a:gd name="connsiteX12" fmla="*/ 105898 w 3723328"/>
              <a:gd name="connsiteY12" fmla="*/ 89014 h 656869"/>
              <a:gd name="connsiteX13" fmla="*/ 253612 w 3723328"/>
              <a:gd name="connsiteY13" fmla="*/ 0 h 656869"/>
              <a:gd name="connsiteX14" fmla="*/ 353040 w 3723328"/>
              <a:gd name="connsiteY14" fmla="*/ 0 h 656869"/>
              <a:gd name="connsiteX15" fmla="*/ 353040 w 3723328"/>
              <a:gd name="connsiteY15" fmla="*/ 554888 h 656869"/>
              <a:gd name="connsiteX16" fmla="*/ 355185 w 3723328"/>
              <a:gd name="connsiteY16" fmla="*/ 564666 h 656869"/>
              <a:gd name="connsiteX17" fmla="*/ 360970 w 3723328"/>
              <a:gd name="connsiteY17" fmla="*/ 574178 h 656869"/>
              <a:gd name="connsiteX18" fmla="*/ 369419 w 3723328"/>
              <a:gd name="connsiteY18" fmla="*/ 581382 h 656869"/>
              <a:gd name="connsiteX19" fmla="*/ 379558 w 3723328"/>
              <a:gd name="connsiteY19" fmla="*/ 584238 h 656869"/>
              <a:gd name="connsiteX20" fmla="*/ 439210 w 3723328"/>
              <a:gd name="connsiteY20" fmla="*/ 584238 h 656869"/>
              <a:gd name="connsiteX21" fmla="*/ 439210 w 3723328"/>
              <a:gd name="connsiteY21" fmla="*/ 656856 h 656869"/>
              <a:gd name="connsiteX22" fmla="*/ 3723328 w 3723328"/>
              <a:gd name="connsiteY22" fmla="*/ 656869 h 656869"/>
              <a:gd name="connsiteX0" fmla="*/ 0 w 3719829"/>
              <a:gd name="connsiteY0" fmla="*/ 657507 h 657507"/>
              <a:gd name="connsiteX1" fmla="*/ 102399 w 3719829"/>
              <a:gd name="connsiteY1" fmla="*/ 656856 h 657507"/>
              <a:gd name="connsiteX2" fmla="*/ 102399 w 3719829"/>
              <a:gd name="connsiteY2" fmla="*/ 644270 h 657507"/>
              <a:gd name="connsiteX3" fmla="*/ 102399 w 3719829"/>
              <a:gd name="connsiteY3" fmla="*/ 584238 h 657507"/>
              <a:gd name="connsiteX4" fmla="*/ 174357 w 3719829"/>
              <a:gd name="connsiteY4" fmla="*/ 584238 h 657507"/>
              <a:gd name="connsiteX5" fmla="*/ 184094 w 3719829"/>
              <a:gd name="connsiteY5" fmla="*/ 581382 h 657507"/>
              <a:gd name="connsiteX6" fmla="*/ 192588 w 3719829"/>
              <a:gd name="connsiteY6" fmla="*/ 574178 h 657507"/>
              <a:gd name="connsiteX7" fmla="*/ 198596 w 3719829"/>
              <a:gd name="connsiteY7" fmla="*/ 564666 h 657507"/>
              <a:gd name="connsiteX8" fmla="*/ 200875 w 3719829"/>
              <a:gd name="connsiteY8" fmla="*/ 554888 h 657507"/>
              <a:gd name="connsiteX9" fmla="*/ 200875 w 3719829"/>
              <a:gd name="connsiteY9" fmla="*/ 138252 h 657507"/>
              <a:gd name="connsiteX10" fmla="*/ 135533 w 3719829"/>
              <a:gd name="connsiteY10" fmla="*/ 167601 h 657507"/>
              <a:gd name="connsiteX11" fmla="*/ 102399 w 3719829"/>
              <a:gd name="connsiteY11" fmla="*/ 167601 h 657507"/>
              <a:gd name="connsiteX12" fmla="*/ 102399 w 3719829"/>
              <a:gd name="connsiteY12" fmla="*/ 89014 h 657507"/>
              <a:gd name="connsiteX13" fmla="*/ 250113 w 3719829"/>
              <a:gd name="connsiteY13" fmla="*/ 0 h 657507"/>
              <a:gd name="connsiteX14" fmla="*/ 349541 w 3719829"/>
              <a:gd name="connsiteY14" fmla="*/ 0 h 657507"/>
              <a:gd name="connsiteX15" fmla="*/ 349541 w 3719829"/>
              <a:gd name="connsiteY15" fmla="*/ 554888 h 657507"/>
              <a:gd name="connsiteX16" fmla="*/ 351686 w 3719829"/>
              <a:gd name="connsiteY16" fmla="*/ 564666 h 657507"/>
              <a:gd name="connsiteX17" fmla="*/ 357471 w 3719829"/>
              <a:gd name="connsiteY17" fmla="*/ 574178 h 657507"/>
              <a:gd name="connsiteX18" fmla="*/ 365920 w 3719829"/>
              <a:gd name="connsiteY18" fmla="*/ 581382 h 657507"/>
              <a:gd name="connsiteX19" fmla="*/ 376059 w 3719829"/>
              <a:gd name="connsiteY19" fmla="*/ 584238 h 657507"/>
              <a:gd name="connsiteX20" fmla="*/ 435711 w 3719829"/>
              <a:gd name="connsiteY20" fmla="*/ 584238 h 657507"/>
              <a:gd name="connsiteX21" fmla="*/ 435711 w 3719829"/>
              <a:gd name="connsiteY21" fmla="*/ 656856 h 657507"/>
              <a:gd name="connsiteX22" fmla="*/ 3719829 w 3719829"/>
              <a:gd name="connsiteY22" fmla="*/ 656869 h 657507"/>
              <a:gd name="connsiteX0" fmla="*/ 0 w 625000"/>
              <a:gd name="connsiteY0" fmla="*/ 657507 h 657507"/>
              <a:gd name="connsiteX1" fmla="*/ 102399 w 625000"/>
              <a:gd name="connsiteY1" fmla="*/ 656856 h 657507"/>
              <a:gd name="connsiteX2" fmla="*/ 102399 w 625000"/>
              <a:gd name="connsiteY2" fmla="*/ 644270 h 657507"/>
              <a:gd name="connsiteX3" fmla="*/ 102399 w 625000"/>
              <a:gd name="connsiteY3" fmla="*/ 584238 h 657507"/>
              <a:gd name="connsiteX4" fmla="*/ 174357 w 625000"/>
              <a:gd name="connsiteY4" fmla="*/ 584238 h 657507"/>
              <a:gd name="connsiteX5" fmla="*/ 184094 w 625000"/>
              <a:gd name="connsiteY5" fmla="*/ 581382 h 657507"/>
              <a:gd name="connsiteX6" fmla="*/ 192588 w 625000"/>
              <a:gd name="connsiteY6" fmla="*/ 574178 h 657507"/>
              <a:gd name="connsiteX7" fmla="*/ 198596 w 625000"/>
              <a:gd name="connsiteY7" fmla="*/ 564666 h 657507"/>
              <a:gd name="connsiteX8" fmla="*/ 200875 w 625000"/>
              <a:gd name="connsiteY8" fmla="*/ 554888 h 657507"/>
              <a:gd name="connsiteX9" fmla="*/ 200875 w 625000"/>
              <a:gd name="connsiteY9" fmla="*/ 138252 h 657507"/>
              <a:gd name="connsiteX10" fmla="*/ 135533 w 625000"/>
              <a:gd name="connsiteY10" fmla="*/ 167601 h 657507"/>
              <a:gd name="connsiteX11" fmla="*/ 102399 w 625000"/>
              <a:gd name="connsiteY11" fmla="*/ 167601 h 657507"/>
              <a:gd name="connsiteX12" fmla="*/ 102399 w 625000"/>
              <a:gd name="connsiteY12" fmla="*/ 89014 h 657507"/>
              <a:gd name="connsiteX13" fmla="*/ 250113 w 625000"/>
              <a:gd name="connsiteY13" fmla="*/ 0 h 657507"/>
              <a:gd name="connsiteX14" fmla="*/ 349541 w 625000"/>
              <a:gd name="connsiteY14" fmla="*/ 0 h 657507"/>
              <a:gd name="connsiteX15" fmla="*/ 349541 w 625000"/>
              <a:gd name="connsiteY15" fmla="*/ 554888 h 657507"/>
              <a:gd name="connsiteX16" fmla="*/ 351686 w 625000"/>
              <a:gd name="connsiteY16" fmla="*/ 564666 h 657507"/>
              <a:gd name="connsiteX17" fmla="*/ 357471 w 625000"/>
              <a:gd name="connsiteY17" fmla="*/ 574178 h 657507"/>
              <a:gd name="connsiteX18" fmla="*/ 365920 w 625000"/>
              <a:gd name="connsiteY18" fmla="*/ 581382 h 657507"/>
              <a:gd name="connsiteX19" fmla="*/ 376059 w 625000"/>
              <a:gd name="connsiteY19" fmla="*/ 584238 h 657507"/>
              <a:gd name="connsiteX20" fmla="*/ 435711 w 625000"/>
              <a:gd name="connsiteY20" fmla="*/ 584238 h 657507"/>
              <a:gd name="connsiteX21" fmla="*/ 435711 w 625000"/>
              <a:gd name="connsiteY21" fmla="*/ 656856 h 657507"/>
              <a:gd name="connsiteX22" fmla="*/ 625000 w 625000"/>
              <a:gd name="connsiteY22" fmla="*/ 652115 h 657507"/>
              <a:gd name="connsiteX0" fmla="*/ 0 w 613114"/>
              <a:gd name="connsiteY0" fmla="*/ 657507 h 657507"/>
              <a:gd name="connsiteX1" fmla="*/ 102399 w 613114"/>
              <a:gd name="connsiteY1" fmla="*/ 656856 h 657507"/>
              <a:gd name="connsiteX2" fmla="*/ 102399 w 613114"/>
              <a:gd name="connsiteY2" fmla="*/ 644270 h 657507"/>
              <a:gd name="connsiteX3" fmla="*/ 102399 w 613114"/>
              <a:gd name="connsiteY3" fmla="*/ 584238 h 657507"/>
              <a:gd name="connsiteX4" fmla="*/ 174357 w 613114"/>
              <a:gd name="connsiteY4" fmla="*/ 584238 h 657507"/>
              <a:gd name="connsiteX5" fmla="*/ 184094 w 613114"/>
              <a:gd name="connsiteY5" fmla="*/ 581382 h 657507"/>
              <a:gd name="connsiteX6" fmla="*/ 192588 w 613114"/>
              <a:gd name="connsiteY6" fmla="*/ 574178 h 657507"/>
              <a:gd name="connsiteX7" fmla="*/ 198596 w 613114"/>
              <a:gd name="connsiteY7" fmla="*/ 564666 h 657507"/>
              <a:gd name="connsiteX8" fmla="*/ 200875 w 613114"/>
              <a:gd name="connsiteY8" fmla="*/ 554888 h 657507"/>
              <a:gd name="connsiteX9" fmla="*/ 200875 w 613114"/>
              <a:gd name="connsiteY9" fmla="*/ 138252 h 657507"/>
              <a:gd name="connsiteX10" fmla="*/ 135533 w 613114"/>
              <a:gd name="connsiteY10" fmla="*/ 167601 h 657507"/>
              <a:gd name="connsiteX11" fmla="*/ 102399 w 613114"/>
              <a:gd name="connsiteY11" fmla="*/ 167601 h 657507"/>
              <a:gd name="connsiteX12" fmla="*/ 102399 w 613114"/>
              <a:gd name="connsiteY12" fmla="*/ 89014 h 657507"/>
              <a:gd name="connsiteX13" fmla="*/ 250113 w 613114"/>
              <a:gd name="connsiteY13" fmla="*/ 0 h 657507"/>
              <a:gd name="connsiteX14" fmla="*/ 349541 w 613114"/>
              <a:gd name="connsiteY14" fmla="*/ 0 h 657507"/>
              <a:gd name="connsiteX15" fmla="*/ 349541 w 613114"/>
              <a:gd name="connsiteY15" fmla="*/ 554888 h 657507"/>
              <a:gd name="connsiteX16" fmla="*/ 351686 w 613114"/>
              <a:gd name="connsiteY16" fmla="*/ 564666 h 657507"/>
              <a:gd name="connsiteX17" fmla="*/ 357471 w 613114"/>
              <a:gd name="connsiteY17" fmla="*/ 574178 h 657507"/>
              <a:gd name="connsiteX18" fmla="*/ 365920 w 613114"/>
              <a:gd name="connsiteY18" fmla="*/ 581382 h 657507"/>
              <a:gd name="connsiteX19" fmla="*/ 376059 w 613114"/>
              <a:gd name="connsiteY19" fmla="*/ 584238 h 657507"/>
              <a:gd name="connsiteX20" fmla="*/ 435711 w 613114"/>
              <a:gd name="connsiteY20" fmla="*/ 584238 h 657507"/>
              <a:gd name="connsiteX21" fmla="*/ 435711 w 613114"/>
              <a:gd name="connsiteY21" fmla="*/ 656856 h 657507"/>
              <a:gd name="connsiteX22" fmla="*/ 613114 w 613114"/>
              <a:gd name="connsiteY22" fmla="*/ 656868 h 657507"/>
              <a:gd name="connsiteX0" fmla="*/ 0 w 435711"/>
              <a:gd name="connsiteY0" fmla="*/ 657507 h 657507"/>
              <a:gd name="connsiteX1" fmla="*/ 102399 w 435711"/>
              <a:gd name="connsiteY1" fmla="*/ 656856 h 657507"/>
              <a:gd name="connsiteX2" fmla="*/ 102399 w 435711"/>
              <a:gd name="connsiteY2" fmla="*/ 644270 h 657507"/>
              <a:gd name="connsiteX3" fmla="*/ 102399 w 435711"/>
              <a:gd name="connsiteY3" fmla="*/ 584238 h 657507"/>
              <a:gd name="connsiteX4" fmla="*/ 174357 w 435711"/>
              <a:gd name="connsiteY4" fmla="*/ 584238 h 657507"/>
              <a:gd name="connsiteX5" fmla="*/ 184094 w 435711"/>
              <a:gd name="connsiteY5" fmla="*/ 581382 h 657507"/>
              <a:gd name="connsiteX6" fmla="*/ 192588 w 435711"/>
              <a:gd name="connsiteY6" fmla="*/ 574178 h 657507"/>
              <a:gd name="connsiteX7" fmla="*/ 198596 w 435711"/>
              <a:gd name="connsiteY7" fmla="*/ 564666 h 657507"/>
              <a:gd name="connsiteX8" fmla="*/ 200875 w 435711"/>
              <a:gd name="connsiteY8" fmla="*/ 554888 h 657507"/>
              <a:gd name="connsiteX9" fmla="*/ 200875 w 435711"/>
              <a:gd name="connsiteY9" fmla="*/ 138252 h 657507"/>
              <a:gd name="connsiteX10" fmla="*/ 135533 w 435711"/>
              <a:gd name="connsiteY10" fmla="*/ 167601 h 657507"/>
              <a:gd name="connsiteX11" fmla="*/ 102399 w 435711"/>
              <a:gd name="connsiteY11" fmla="*/ 167601 h 657507"/>
              <a:gd name="connsiteX12" fmla="*/ 102399 w 435711"/>
              <a:gd name="connsiteY12" fmla="*/ 89014 h 657507"/>
              <a:gd name="connsiteX13" fmla="*/ 250113 w 435711"/>
              <a:gd name="connsiteY13" fmla="*/ 0 h 657507"/>
              <a:gd name="connsiteX14" fmla="*/ 349541 w 435711"/>
              <a:gd name="connsiteY14" fmla="*/ 0 h 657507"/>
              <a:gd name="connsiteX15" fmla="*/ 349541 w 435711"/>
              <a:gd name="connsiteY15" fmla="*/ 554888 h 657507"/>
              <a:gd name="connsiteX16" fmla="*/ 351686 w 435711"/>
              <a:gd name="connsiteY16" fmla="*/ 564666 h 657507"/>
              <a:gd name="connsiteX17" fmla="*/ 357471 w 435711"/>
              <a:gd name="connsiteY17" fmla="*/ 574178 h 657507"/>
              <a:gd name="connsiteX18" fmla="*/ 365920 w 435711"/>
              <a:gd name="connsiteY18" fmla="*/ 581382 h 657507"/>
              <a:gd name="connsiteX19" fmla="*/ 376059 w 435711"/>
              <a:gd name="connsiteY19" fmla="*/ 584238 h 657507"/>
              <a:gd name="connsiteX20" fmla="*/ 435711 w 435711"/>
              <a:gd name="connsiteY20" fmla="*/ 584238 h 657507"/>
              <a:gd name="connsiteX21" fmla="*/ 435711 w 435711"/>
              <a:gd name="connsiteY21" fmla="*/ 656856 h 657507"/>
              <a:gd name="connsiteX0" fmla="*/ 0 w 574509"/>
              <a:gd name="connsiteY0" fmla="*/ 659408 h 659408"/>
              <a:gd name="connsiteX1" fmla="*/ 241197 w 574509"/>
              <a:gd name="connsiteY1" fmla="*/ 656856 h 659408"/>
              <a:gd name="connsiteX2" fmla="*/ 241197 w 574509"/>
              <a:gd name="connsiteY2" fmla="*/ 644270 h 659408"/>
              <a:gd name="connsiteX3" fmla="*/ 241197 w 574509"/>
              <a:gd name="connsiteY3" fmla="*/ 584238 h 659408"/>
              <a:gd name="connsiteX4" fmla="*/ 313155 w 574509"/>
              <a:gd name="connsiteY4" fmla="*/ 584238 h 659408"/>
              <a:gd name="connsiteX5" fmla="*/ 322892 w 574509"/>
              <a:gd name="connsiteY5" fmla="*/ 581382 h 659408"/>
              <a:gd name="connsiteX6" fmla="*/ 331386 w 574509"/>
              <a:gd name="connsiteY6" fmla="*/ 574178 h 659408"/>
              <a:gd name="connsiteX7" fmla="*/ 337394 w 574509"/>
              <a:gd name="connsiteY7" fmla="*/ 564666 h 659408"/>
              <a:gd name="connsiteX8" fmla="*/ 339673 w 574509"/>
              <a:gd name="connsiteY8" fmla="*/ 554888 h 659408"/>
              <a:gd name="connsiteX9" fmla="*/ 339673 w 574509"/>
              <a:gd name="connsiteY9" fmla="*/ 138252 h 659408"/>
              <a:gd name="connsiteX10" fmla="*/ 274331 w 574509"/>
              <a:gd name="connsiteY10" fmla="*/ 167601 h 659408"/>
              <a:gd name="connsiteX11" fmla="*/ 241197 w 574509"/>
              <a:gd name="connsiteY11" fmla="*/ 167601 h 659408"/>
              <a:gd name="connsiteX12" fmla="*/ 241197 w 574509"/>
              <a:gd name="connsiteY12" fmla="*/ 89014 h 659408"/>
              <a:gd name="connsiteX13" fmla="*/ 388911 w 574509"/>
              <a:gd name="connsiteY13" fmla="*/ 0 h 659408"/>
              <a:gd name="connsiteX14" fmla="*/ 488339 w 574509"/>
              <a:gd name="connsiteY14" fmla="*/ 0 h 659408"/>
              <a:gd name="connsiteX15" fmla="*/ 488339 w 574509"/>
              <a:gd name="connsiteY15" fmla="*/ 554888 h 659408"/>
              <a:gd name="connsiteX16" fmla="*/ 490484 w 574509"/>
              <a:gd name="connsiteY16" fmla="*/ 564666 h 659408"/>
              <a:gd name="connsiteX17" fmla="*/ 496269 w 574509"/>
              <a:gd name="connsiteY17" fmla="*/ 574178 h 659408"/>
              <a:gd name="connsiteX18" fmla="*/ 504718 w 574509"/>
              <a:gd name="connsiteY18" fmla="*/ 581382 h 659408"/>
              <a:gd name="connsiteX19" fmla="*/ 514857 w 574509"/>
              <a:gd name="connsiteY19" fmla="*/ 584238 h 659408"/>
              <a:gd name="connsiteX20" fmla="*/ 574509 w 574509"/>
              <a:gd name="connsiteY20" fmla="*/ 584238 h 659408"/>
              <a:gd name="connsiteX21" fmla="*/ 574509 w 574509"/>
              <a:gd name="connsiteY21" fmla="*/ 656856 h 659408"/>
              <a:gd name="connsiteX0" fmla="*/ 0 w 572608"/>
              <a:gd name="connsiteY0" fmla="*/ 657506 h 657506"/>
              <a:gd name="connsiteX1" fmla="*/ 239296 w 572608"/>
              <a:gd name="connsiteY1" fmla="*/ 656856 h 657506"/>
              <a:gd name="connsiteX2" fmla="*/ 239296 w 572608"/>
              <a:gd name="connsiteY2" fmla="*/ 644270 h 657506"/>
              <a:gd name="connsiteX3" fmla="*/ 239296 w 572608"/>
              <a:gd name="connsiteY3" fmla="*/ 584238 h 657506"/>
              <a:gd name="connsiteX4" fmla="*/ 311254 w 572608"/>
              <a:gd name="connsiteY4" fmla="*/ 584238 h 657506"/>
              <a:gd name="connsiteX5" fmla="*/ 320991 w 572608"/>
              <a:gd name="connsiteY5" fmla="*/ 581382 h 657506"/>
              <a:gd name="connsiteX6" fmla="*/ 329485 w 572608"/>
              <a:gd name="connsiteY6" fmla="*/ 574178 h 657506"/>
              <a:gd name="connsiteX7" fmla="*/ 335493 w 572608"/>
              <a:gd name="connsiteY7" fmla="*/ 564666 h 657506"/>
              <a:gd name="connsiteX8" fmla="*/ 337772 w 572608"/>
              <a:gd name="connsiteY8" fmla="*/ 554888 h 657506"/>
              <a:gd name="connsiteX9" fmla="*/ 337772 w 572608"/>
              <a:gd name="connsiteY9" fmla="*/ 138252 h 657506"/>
              <a:gd name="connsiteX10" fmla="*/ 272430 w 572608"/>
              <a:gd name="connsiteY10" fmla="*/ 167601 h 657506"/>
              <a:gd name="connsiteX11" fmla="*/ 239296 w 572608"/>
              <a:gd name="connsiteY11" fmla="*/ 167601 h 657506"/>
              <a:gd name="connsiteX12" fmla="*/ 239296 w 572608"/>
              <a:gd name="connsiteY12" fmla="*/ 89014 h 657506"/>
              <a:gd name="connsiteX13" fmla="*/ 387010 w 572608"/>
              <a:gd name="connsiteY13" fmla="*/ 0 h 657506"/>
              <a:gd name="connsiteX14" fmla="*/ 486438 w 572608"/>
              <a:gd name="connsiteY14" fmla="*/ 0 h 657506"/>
              <a:gd name="connsiteX15" fmla="*/ 486438 w 572608"/>
              <a:gd name="connsiteY15" fmla="*/ 554888 h 657506"/>
              <a:gd name="connsiteX16" fmla="*/ 488583 w 572608"/>
              <a:gd name="connsiteY16" fmla="*/ 564666 h 657506"/>
              <a:gd name="connsiteX17" fmla="*/ 494368 w 572608"/>
              <a:gd name="connsiteY17" fmla="*/ 574178 h 657506"/>
              <a:gd name="connsiteX18" fmla="*/ 502817 w 572608"/>
              <a:gd name="connsiteY18" fmla="*/ 581382 h 657506"/>
              <a:gd name="connsiteX19" fmla="*/ 512956 w 572608"/>
              <a:gd name="connsiteY19" fmla="*/ 584238 h 657506"/>
              <a:gd name="connsiteX20" fmla="*/ 572608 w 572608"/>
              <a:gd name="connsiteY20" fmla="*/ 584238 h 657506"/>
              <a:gd name="connsiteX21" fmla="*/ 572608 w 572608"/>
              <a:gd name="connsiteY21" fmla="*/ 656856 h 65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2608" h="657506">
                <a:moveTo>
                  <a:pt x="0" y="657506"/>
                </a:moveTo>
                <a:lnTo>
                  <a:pt x="239296" y="656856"/>
                </a:lnTo>
                <a:lnTo>
                  <a:pt x="239296" y="644270"/>
                </a:lnTo>
                <a:lnTo>
                  <a:pt x="239296" y="584238"/>
                </a:lnTo>
                <a:lnTo>
                  <a:pt x="311254" y="584238"/>
                </a:lnTo>
                <a:lnTo>
                  <a:pt x="320991" y="581382"/>
                </a:lnTo>
                <a:lnTo>
                  <a:pt x="329485" y="574178"/>
                </a:lnTo>
                <a:lnTo>
                  <a:pt x="335493" y="564666"/>
                </a:lnTo>
                <a:lnTo>
                  <a:pt x="337772" y="554888"/>
                </a:lnTo>
                <a:lnTo>
                  <a:pt x="337772" y="138252"/>
                </a:lnTo>
                <a:lnTo>
                  <a:pt x="272430" y="167601"/>
                </a:lnTo>
                <a:lnTo>
                  <a:pt x="239296" y="167601"/>
                </a:lnTo>
                <a:lnTo>
                  <a:pt x="239296" y="89014"/>
                </a:lnTo>
                <a:lnTo>
                  <a:pt x="387010" y="0"/>
                </a:lnTo>
                <a:lnTo>
                  <a:pt x="486438" y="0"/>
                </a:lnTo>
                <a:lnTo>
                  <a:pt x="486438" y="554888"/>
                </a:lnTo>
                <a:lnTo>
                  <a:pt x="488583" y="564666"/>
                </a:lnTo>
                <a:lnTo>
                  <a:pt x="494368" y="574178"/>
                </a:lnTo>
                <a:lnTo>
                  <a:pt x="502817" y="581382"/>
                </a:lnTo>
                <a:lnTo>
                  <a:pt x="512956" y="584238"/>
                </a:lnTo>
                <a:lnTo>
                  <a:pt x="572608" y="584238"/>
                </a:lnTo>
                <a:lnTo>
                  <a:pt x="572608" y="656856"/>
                </a:lnTo>
              </a:path>
            </a:pathLst>
          </a:custGeom>
          <a:ln w="19050">
            <a:solidFill>
              <a:schemeClr val="accent1"/>
            </a:solidFill>
          </a:ln>
        </p:spPr>
        <p:txBody>
          <a:bodyPr wrap="square" lIns="0" tIns="0" rIns="0" bIns="0" rtlCol="0"/>
          <a:lstStyle/>
          <a:p>
            <a:pPr>
              <a:lnSpc>
                <a:spcPct val="70000"/>
              </a:lnSpc>
            </a:pPr>
            <a:endParaRPr/>
          </a:p>
        </p:txBody>
      </p:sp>
      <p:cxnSp>
        <p:nvCxnSpPr>
          <p:cNvPr id="27" name="Straight Connector 26"/>
          <p:cNvCxnSpPr/>
          <p:nvPr/>
        </p:nvCxnSpPr>
        <p:spPr>
          <a:xfrm>
            <a:off x="2720217" y="1743590"/>
            <a:ext cx="226980" cy="0"/>
          </a:xfrm>
          <a:prstGeom prst="line">
            <a:avLst/>
          </a:prstGeom>
          <a:ln w="19050" cap="rnd"/>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131840" y="1967194"/>
            <a:ext cx="5400599" cy="700858"/>
          </a:xfrm>
          <a:prstGeom prst="rect">
            <a:avLst/>
          </a:prstGeom>
          <a:noFill/>
        </p:spPr>
        <p:txBody>
          <a:bodyPr wrap="square" lIns="0" tIns="0" rIns="0" bIns="54000" rtlCol="0" anchor="b">
            <a:spAutoFit/>
          </a:bodyPr>
          <a:lstStyle/>
          <a:p>
            <a:r>
              <a:rPr lang="en-US" sz="1400" b="1" dirty="0" err="1"/>
              <a:t>Offre</a:t>
            </a:r>
            <a:r>
              <a:rPr lang="en-US" sz="1400" b="1" dirty="0"/>
              <a:t> des </a:t>
            </a:r>
            <a:r>
              <a:rPr lang="en-US" sz="1400" b="1" dirty="0" err="1"/>
              <a:t>capacité</a:t>
            </a:r>
            <a:r>
              <a:rPr lang="en-US" sz="1400" b="1" dirty="0"/>
              <a:t> de ‘rollback’</a:t>
            </a:r>
          </a:p>
          <a:p>
            <a:r>
              <a:rPr lang="en-US" sz="1400" dirty="0"/>
              <a:t>Gestion des versions et du stockage </a:t>
            </a:r>
            <a:r>
              <a:rPr lang="en-US" sz="1400" dirty="0" err="1"/>
              <a:t>offrent</a:t>
            </a:r>
            <a:r>
              <a:rPr lang="en-US" sz="1400" dirty="0"/>
              <a:t> </a:t>
            </a:r>
            <a:r>
              <a:rPr lang="en-US" sz="1400" dirty="0" err="1"/>
              <a:t>une</a:t>
            </a:r>
            <a:r>
              <a:rPr lang="en-US" sz="1400" dirty="0"/>
              <a:t> </a:t>
            </a:r>
            <a:r>
              <a:rPr lang="en-US" sz="1400" dirty="0" err="1"/>
              <a:t>manière</a:t>
            </a:r>
            <a:r>
              <a:rPr lang="en-US" sz="1400" dirty="0"/>
              <a:t> simple de </a:t>
            </a:r>
            <a:r>
              <a:rPr lang="en-US" sz="1400" dirty="0" err="1"/>
              <a:t>revenir</a:t>
            </a:r>
            <a:r>
              <a:rPr lang="en-US" sz="1400" dirty="0"/>
              <a:t> sur des versions </a:t>
            </a:r>
            <a:r>
              <a:rPr lang="en-US" sz="1400" dirty="0" err="1"/>
              <a:t>précédentes</a:t>
            </a:r>
            <a:endParaRPr lang="en-US" sz="1400" dirty="0"/>
          </a:p>
        </p:txBody>
      </p:sp>
      <p:sp>
        <p:nvSpPr>
          <p:cNvPr id="22" name="object 16"/>
          <p:cNvSpPr>
            <a:spLocks noChangeAspect="1"/>
          </p:cNvSpPr>
          <p:nvPr/>
        </p:nvSpPr>
        <p:spPr>
          <a:xfrm>
            <a:off x="2138312" y="2013815"/>
            <a:ext cx="543392" cy="612000"/>
          </a:xfrm>
          <a:custGeom>
            <a:avLst/>
            <a:gdLst>
              <a:gd name="connsiteX0" fmla="*/ 67590 w 4520503"/>
              <a:gd name="connsiteY0" fmla="*/ 664197 h 664197"/>
              <a:gd name="connsiteX1" fmla="*/ 67590 w 4520503"/>
              <a:gd name="connsiteY1" fmla="*/ 607339 h 664197"/>
              <a:gd name="connsiteX2" fmla="*/ 352946 w 4520503"/>
              <a:gd name="connsiteY2" fmla="*/ 120154 h 664197"/>
              <a:gd name="connsiteX3" fmla="*/ 352946 w 4520503"/>
              <a:gd name="connsiteY3" fmla="*/ 116395 h 664197"/>
              <a:gd name="connsiteX4" fmla="*/ 103251 w 4520503"/>
              <a:gd name="connsiteY4" fmla="*/ 116395 h 664197"/>
              <a:gd name="connsiteX5" fmla="*/ 92926 w 4520503"/>
              <a:gd name="connsiteY5" fmla="*/ 201815 h 664197"/>
              <a:gd name="connsiteX6" fmla="*/ 0 w 4520503"/>
              <a:gd name="connsiteY6" fmla="*/ 201815 h 664197"/>
              <a:gd name="connsiteX7" fmla="*/ 0 w 4520503"/>
              <a:gd name="connsiteY7" fmla="*/ 7505 h 664197"/>
              <a:gd name="connsiteX8" fmla="*/ 449644 w 4520503"/>
              <a:gd name="connsiteY8" fmla="*/ 7505 h 664197"/>
              <a:gd name="connsiteX9" fmla="*/ 449644 w 4520503"/>
              <a:gd name="connsiteY9" fmla="*/ 126720 h 664197"/>
              <a:gd name="connsiteX10" fmla="*/ 215138 w 4520503"/>
              <a:gd name="connsiteY10" fmla="*/ 664197 h 664197"/>
              <a:gd name="connsiteX11" fmla="*/ 458089 w 4520503"/>
              <a:gd name="connsiteY11" fmla="*/ 664197 h 664197"/>
              <a:gd name="connsiteX12" fmla="*/ 458089 w 4520503"/>
              <a:gd name="connsiteY12" fmla="*/ 605459 h 664197"/>
              <a:gd name="connsiteX13" fmla="*/ 463275 w 4520503"/>
              <a:gd name="connsiteY13" fmla="*/ 555903 h 664197"/>
              <a:gd name="connsiteX14" fmla="*/ 477739 w 4520503"/>
              <a:gd name="connsiteY14" fmla="*/ 512092 h 664197"/>
              <a:gd name="connsiteX15" fmla="*/ 499839 w 4520503"/>
              <a:gd name="connsiteY15" fmla="*/ 473223 h 664197"/>
              <a:gd name="connsiteX16" fmla="*/ 527932 w 4520503"/>
              <a:gd name="connsiteY16" fmla="*/ 438491 h 664197"/>
              <a:gd name="connsiteX17" fmla="*/ 560376 w 4520503"/>
              <a:gd name="connsiteY17" fmla="*/ 407092 h 664197"/>
              <a:gd name="connsiteX18" fmla="*/ 595529 w 4520503"/>
              <a:gd name="connsiteY18" fmla="*/ 378223 h 664197"/>
              <a:gd name="connsiteX19" fmla="*/ 631749 w 4520503"/>
              <a:gd name="connsiteY19" fmla="*/ 351078 h 664197"/>
              <a:gd name="connsiteX20" fmla="*/ 672123 w 4520503"/>
              <a:gd name="connsiteY20" fmla="*/ 321213 h 664197"/>
              <a:gd name="connsiteX21" fmla="*/ 708936 w 4520503"/>
              <a:gd name="connsiteY21" fmla="*/ 291481 h 664197"/>
              <a:gd name="connsiteX22" fmla="*/ 739081 w 4520503"/>
              <a:gd name="connsiteY22" fmla="*/ 260442 h 664197"/>
              <a:gd name="connsiteX23" fmla="*/ 759448 w 4520503"/>
              <a:gd name="connsiteY23" fmla="*/ 226656 h 664197"/>
              <a:gd name="connsiteX24" fmla="*/ 766928 w 4520503"/>
              <a:gd name="connsiteY24" fmla="*/ 188683 h 664197"/>
              <a:gd name="connsiteX25" fmla="*/ 761646 w 4520503"/>
              <a:gd name="connsiteY25" fmla="*/ 150394 h 664197"/>
              <a:gd name="connsiteX26" fmla="*/ 745803 w 4520503"/>
              <a:gd name="connsiteY26" fmla="*/ 121088 h 664197"/>
              <a:gd name="connsiteX27" fmla="*/ 719399 w 4520503"/>
              <a:gd name="connsiteY27" fmla="*/ 102344 h 664197"/>
              <a:gd name="connsiteX28" fmla="*/ 682435 w 4520503"/>
              <a:gd name="connsiteY28" fmla="*/ 95745 h 664197"/>
              <a:gd name="connsiteX29" fmla="*/ 642132 w 4520503"/>
              <a:gd name="connsiteY29" fmla="*/ 101524 h 664197"/>
              <a:gd name="connsiteX30" fmla="*/ 610629 w 4520503"/>
              <a:gd name="connsiteY30" fmla="*/ 117335 h 664197"/>
              <a:gd name="connsiteX31" fmla="*/ 586869 w 4520503"/>
              <a:gd name="connsiteY31" fmla="*/ 140890 h 664197"/>
              <a:gd name="connsiteX32" fmla="*/ 569798 w 4520503"/>
              <a:gd name="connsiteY32" fmla="*/ 169900 h 664197"/>
              <a:gd name="connsiteX33" fmla="*/ 488125 w 4520503"/>
              <a:gd name="connsiteY33" fmla="*/ 169900 h 664197"/>
              <a:gd name="connsiteX34" fmla="*/ 488125 w 4520503"/>
              <a:gd name="connsiteY34" fmla="*/ 35674 h 664197"/>
              <a:gd name="connsiteX35" fmla="*/ 532950 w 4520503"/>
              <a:gd name="connsiteY35" fmla="*/ 21388 h 664197"/>
              <a:gd name="connsiteX36" fmla="*/ 581295 w 4520503"/>
              <a:gd name="connsiteY36" fmla="*/ 10093 h 664197"/>
              <a:gd name="connsiteX37" fmla="*/ 632807 w 4520503"/>
              <a:gd name="connsiteY37" fmla="*/ 2670 h 664197"/>
              <a:gd name="connsiteX38" fmla="*/ 687134 w 4520503"/>
              <a:gd name="connsiteY38" fmla="*/ 0 h 664197"/>
              <a:gd name="connsiteX39" fmla="*/ 744504 w 4520503"/>
              <a:gd name="connsiteY39" fmla="*/ 3601 h 664197"/>
              <a:gd name="connsiteX40" fmla="*/ 794716 w 4520503"/>
              <a:gd name="connsiteY40" fmla="*/ 14558 h 664197"/>
              <a:gd name="connsiteX41" fmla="*/ 837160 w 4520503"/>
              <a:gd name="connsiteY41" fmla="*/ 33101 h 664197"/>
              <a:gd name="connsiteX42" fmla="*/ 871230 w 4520503"/>
              <a:gd name="connsiteY42" fmla="*/ 59461 h 664197"/>
              <a:gd name="connsiteX43" fmla="*/ 896318 w 4520503"/>
              <a:gd name="connsiteY43" fmla="*/ 93867 h 664197"/>
              <a:gd name="connsiteX44" fmla="*/ 911817 w 4520503"/>
              <a:gd name="connsiteY44" fmla="*/ 136552 h 664197"/>
              <a:gd name="connsiteX45" fmla="*/ 917118 w 4520503"/>
              <a:gd name="connsiteY45" fmla="*/ 187744 h 664197"/>
              <a:gd name="connsiteX46" fmla="*/ 910919 w 4520503"/>
              <a:gd name="connsiteY46" fmla="*/ 235960 h 664197"/>
              <a:gd name="connsiteX47" fmla="*/ 893733 w 4520503"/>
              <a:gd name="connsiteY47" fmla="*/ 277492 h 664197"/>
              <a:gd name="connsiteX48" fmla="*/ 867680 w 4520503"/>
              <a:gd name="connsiteY48" fmla="*/ 313359 h 664197"/>
              <a:gd name="connsiteX49" fmla="*/ 834879 w 4520503"/>
              <a:gd name="connsiteY49" fmla="*/ 344580 h 664197"/>
              <a:gd name="connsiteX50" fmla="*/ 797447 w 4520503"/>
              <a:gd name="connsiteY50" fmla="*/ 372172 h 664197"/>
              <a:gd name="connsiteX51" fmla="*/ 757504 w 4520503"/>
              <a:gd name="connsiteY51" fmla="*/ 397155 h 664197"/>
              <a:gd name="connsiteX52" fmla="*/ 717169 w 4520503"/>
              <a:gd name="connsiteY52" fmla="*/ 420547 h 664197"/>
              <a:gd name="connsiteX53" fmla="*/ 667230 w 4520503"/>
              <a:gd name="connsiteY53" fmla="*/ 451574 h 664197"/>
              <a:gd name="connsiteX54" fmla="*/ 625297 w 4520503"/>
              <a:gd name="connsiteY54" fmla="*/ 484365 h 664197"/>
              <a:gd name="connsiteX55" fmla="*/ 594804 w 4520503"/>
              <a:gd name="connsiteY55" fmla="*/ 519270 h 664197"/>
              <a:gd name="connsiteX56" fmla="*/ 579184 w 4520503"/>
              <a:gd name="connsiteY56" fmla="*/ 556641 h 664197"/>
              <a:gd name="connsiteX57" fmla="*/ 801650 w 4520503"/>
              <a:gd name="connsiteY57" fmla="*/ 556641 h 664197"/>
              <a:gd name="connsiteX58" fmla="*/ 811975 w 4520503"/>
              <a:gd name="connsiteY58" fmla="*/ 485305 h 664197"/>
              <a:gd name="connsiteX59" fmla="*/ 904913 w 4520503"/>
              <a:gd name="connsiteY59" fmla="*/ 485305 h 664197"/>
              <a:gd name="connsiteX60" fmla="*/ 904901 w 4520503"/>
              <a:gd name="connsiteY60" fmla="*/ 664197 h 664197"/>
              <a:gd name="connsiteX61" fmla="*/ 4520502 w 4520503"/>
              <a:gd name="connsiteY61" fmla="*/ 664197 h 664197"/>
              <a:gd name="connsiteX0" fmla="*/ 67590 w 4520502"/>
              <a:gd name="connsiteY0" fmla="*/ 607339 h 664197"/>
              <a:gd name="connsiteX1" fmla="*/ 352946 w 4520502"/>
              <a:gd name="connsiteY1" fmla="*/ 120154 h 664197"/>
              <a:gd name="connsiteX2" fmla="*/ 352946 w 4520502"/>
              <a:gd name="connsiteY2" fmla="*/ 116395 h 664197"/>
              <a:gd name="connsiteX3" fmla="*/ 103251 w 4520502"/>
              <a:gd name="connsiteY3" fmla="*/ 116395 h 664197"/>
              <a:gd name="connsiteX4" fmla="*/ 92926 w 4520502"/>
              <a:gd name="connsiteY4" fmla="*/ 201815 h 664197"/>
              <a:gd name="connsiteX5" fmla="*/ 0 w 4520502"/>
              <a:gd name="connsiteY5" fmla="*/ 201815 h 664197"/>
              <a:gd name="connsiteX6" fmla="*/ 0 w 4520502"/>
              <a:gd name="connsiteY6" fmla="*/ 7505 h 664197"/>
              <a:gd name="connsiteX7" fmla="*/ 449644 w 4520502"/>
              <a:gd name="connsiteY7" fmla="*/ 7505 h 664197"/>
              <a:gd name="connsiteX8" fmla="*/ 449644 w 4520502"/>
              <a:gd name="connsiteY8" fmla="*/ 126720 h 664197"/>
              <a:gd name="connsiteX9" fmla="*/ 215138 w 4520502"/>
              <a:gd name="connsiteY9" fmla="*/ 664197 h 664197"/>
              <a:gd name="connsiteX10" fmla="*/ 458089 w 4520502"/>
              <a:gd name="connsiteY10" fmla="*/ 664197 h 664197"/>
              <a:gd name="connsiteX11" fmla="*/ 458089 w 4520502"/>
              <a:gd name="connsiteY11" fmla="*/ 605459 h 664197"/>
              <a:gd name="connsiteX12" fmla="*/ 463275 w 4520502"/>
              <a:gd name="connsiteY12" fmla="*/ 555903 h 664197"/>
              <a:gd name="connsiteX13" fmla="*/ 477739 w 4520502"/>
              <a:gd name="connsiteY13" fmla="*/ 512092 h 664197"/>
              <a:gd name="connsiteX14" fmla="*/ 499839 w 4520502"/>
              <a:gd name="connsiteY14" fmla="*/ 473223 h 664197"/>
              <a:gd name="connsiteX15" fmla="*/ 527932 w 4520502"/>
              <a:gd name="connsiteY15" fmla="*/ 438491 h 664197"/>
              <a:gd name="connsiteX16" fmla="*/ 560376 w 4520502"/>
              <a:gd name="connsiteY16" fmla="*/ 407092 h 664197"/>
              <a:gd name="connsiteX17" fmla="*/ 595529 w 4520502"/>
              <a:gd name="connsiteY17" fmla="*/ 378223 h 664197"/>
              <a:gd name="connsiteX18" fmla="*/ 631749 w 4520502"/>
              <a:gd name="connsiteY18" fmla="*/ 351078 h 664197"/>
              <a:gd name="connsiteX19" fmla="*/ 672123 w 4520502"/>
              <a:gd name="connsiteY19" fmla="*/ 321213 h 664197"/>
              <a:gd name="connsiteX20" fmla="*/ 708936 w 4520502"/>
              <a:gd name="connsiteY20" fmla="*/ 291481 h 664197"/>
              <a:gd name="connsiteX21" fmla="*/ 739081 w 4520502"/>
              <a:gd name="connsiteY21" fmla="*/ 260442 h 664197"/>
              <a:gd name="connsiteX22" fmla="*/ 759448 w 4520502"/>
              <a:gd name="connsiteY22" fmla="*/ 226656 h 664197"/>
              <a:gd name="connsiteX23" fmla="*/ 766928 w 4520502"/>
              <a:gd name="connsiteY23" fmla="*/ 188683 h 664197"/>
              <a:gd name="connsiteX24" fmla="*/ 761646 w 4520502"/>
              <a:gd name="connsiteY24" fmla="*/ 150394 h 664197"/>
              <a:gd name="connsiteX25" fmla="*/ 745803 w 4520502"/>
              <a:gd name="connsiteY25" fmla="*/ 121088 h 664197"/>
              <a:gd name="connsiteX26" fmla="*/ 719399 w 4520502"/>
              <a:gd name="connsiteY26" fmla="*/ 102344 h 664197"/>
              <a:gd name="connsiteX27" fmla="*/ 682435 w 4520502"/>
              <a:gd name="connsiteY27" fmla="*/ 95745 h 664197"/>
              <a:gd name="connsiteX28" fmla="*/ 642132 w 4520502"/>
              <a:gd name="connsiteY28" fmla="*/ 101524 h 664197"/>
              <a:gd name="connsiteX29" fmla="*/ 610629 w 4520502"/>
              <a:gd name="connsiteY29" fmla="*/ 117335 h 664197"/>
              <a:gd name="connsiteX30" fmla="*/ 586869 w 4520502"/>
              <a:gd name="connsiteY30" fmla="*/ 140890 h 664197"/>
              <a:gd name="connsiteX31" fmla="*/ 569798 w 4520502"/>
              <a:gd name="connsiteY31" fmla="*/ 169900 h 664197"/>
              <a:gd name="connsiteX32" fmla="*/ 488125 w 4520502"/>
              <a:gd name="connsiteY32" fmla="*/ 169900 h 664197"/>
              <a:gd name="connsiteX33" fmla="*/ 488125 w 4520502"/>
              <a:gd name="connsiteY33" fmla="*/ 35674 h 664197"/>
              <a:gd name="connsiteX34" fmla="*/ 532950 w 4520502"/>
              <a:gd name="connsiteY34" fmla="*/ 21388 h 664197"/>
              <a:gd name="connsiteX35" fmla="*/ 581295 w 4520502"/>
              <a:gd name="connsiteY35" fmla="*/ 10093 h 664197"/>
              <a:gd name="connsiteX36" fmla="*/ 632807 w 4520502"/>
              <a:gd name="connsiteY36" fmla="*/ 2670 h 664197"/>
              <a:gd name="connsiteX37" fmla="*/ 687134 w 4520502"/>
              <a:gd name="connsiteY37" fmla="*/ 0 h 664197"/>
              <a:gd name="connsiteX38" fmla="*/ 744504 w 4520502"/>
              <a:gd name="connsiteY38" fmla="*/ 3601 h 664197"/>
              <a:gd name="connsiteX39" fmla="*/ 794716 w 4520502"/>
              <a:gd name="connsiteY39" fmla="*/ 14558 h 664197"/>
              <a:gd name="connsiteX40" fmla="*/ 837160 w 4520502"/>
              <a:gd name="connsiteY40" fmla="*/ 33101 h 664197"/>
              <a:gd name="connsiteX41" fmla="*/ 871230 w 4520502"/>
              <a:gd name="connsiteY41" fmla="*/ 59461 h 664197"/>
              <a:gd name="connsiteX42" fmla="*/ 896318 w 4520502"/>
              <a:gd name="connsiteY42" fmla="*/ 93867 h 664197"/>
              <a:gd name="connsiteX43" fmla="*/ 911817 w 4520502"/>
              <a:gd name="connsiteY43" fmla="*/ 136552 h 664197"/>
              <a:gd name="connsiteX44" fmla="*/ 917118 w 4520502"/>
              <a:gd name="connsiteY44" fmla="*/ 187744 h 664197"/>
              <a:gd name="connsiteX45" fmla="*/ 910919 w 4520502"/>
              <a:gd name="connsiteY45" fmla="*/ 235960 h 664197"/>
              <a:gd name="connsiteX46" fmla="*/ 893733 w 4520502"/>
              <a:gd name="connsiteY46" fmla="*/ 277492 h 664197"/>
              <a:gd name="connsiteX47" fmla="*/ 867680 w 4520502"/>
              <a:gd name="connsiteY47" fmla="*/ 313359 h 664197"/>
              <a:gd name="connsiteX48" fmla="*/ 834879 w 4520502"/>
              <a:gd name="connsiteY48" fmla="*/ 344580 h 664197"/>
              <a:gd name="connsiteX49" fmla="*/ 797447 w 4520502"/>
              <a:gd name="connsiteY49" fmla="*/ 372172 h 664197"/>
              <a:gd name="connsiteX50" fmla="*/ 757504 w 4520502"/>
              <a:gd name="connsiteY50" fmla="*/ 397155 h 664197"/>
              <a:gd name="connsiteX51" fmla="*/ 717169 w 4520502"/>
              <a:gd name="connsiteY51" fmla="*/ 420547 h 664197"/>
              <a:gd name="connsiteX52" fmla="*/ 667230 w 4520502"/>
              <a:gd name="connsiteY52" fmla="*/ 451574 h 664197"/>
              <a:gd name="connsiteX53" fmla="*/ 625297 w 4520502"/>
              <a:gd name="connsiteY53" fmla="*/ 484365 h 664197"/>
              <a:gd name="connsiteX54" fmla="*/ 594804 w 4520502"/>
              <a:gd name="connsiteY54" fmla="*/ 519270 h 664197"/>
              <a:gd name="connsiteX55" fmla="*/ 579184 w 4520502"/>
              <a:gd name="connsiteY55" fmla="*/ 556641 h 664197"/>
              <a:gd name="connsiteX56" fmla="*/ 801650 w 4520502"/>
              <a:gd name="connsiteY56" fmla="*/ 556641 h 664197"/>
              <a:gd name="connsiteX57" fmla="*/ 811975 w 4520502"/>
              <a:gd name="connsiteY57" fmla="*/ 485305 h 664197"/>
              <a:gd name="connsiteX58" fmla="*/ 904913 w 4520502"/>
              <a:gd name="connsiteY58" fmla="*/ 485305 h 664197"/>
              <a:gd name="connsiteX59" fmla="*/ 904901 w 4520502"/>
              <a:gd name="connsiteY59" fmla="*/ 664197 h 664197"/>
              <a:gd name="connsiteX60" fmla="*/ 4520502 w 4520502"/>
              <a:gd name="connsiteY60" fmla="*/ 664197 h 664197"/>
              <a:gd name="connsiteX0" fmla="*/ 352946 w 4520502"/>
              <a:gd name="connsiteY0" fmla="*/ 120154 h 664197"/>
              <a:gd name="connsiteX1" fmla="*/ 352946 w 4520502"/>
              <a:gd name="connsiteY1" fmla="*/ 116395 h 664197"/>
              <a:gd name="connsiteX2" fmla="*/ 103251 w 4520502"/>
              <a:gd name="connsiteY2" fmla="*/ 116395 h 664197"/>
              <a:gd name="connsiteX3" fmla="*/ 92926 w 4520502"/>
              <a:gd name="connsiteY3" fmla="*/ 201815 h 664197"/>
              <a:gd name="connsiteX4" fmla="*/ 0 w 4520502"/>
              <a:gd name="connsiteY4" fmla="*/ 201815 h 664197"/>
              <a:gd name="connsiteX5" fmla="*/ 0 w 4520502"/>
              <a:gd name="connsiteY5" fmla="*/ 7505 h 664197"/>
              <a:gd name="connsiteX6" fmla="*/ 449644 w 4520502"/>
              <a:gd name="connsiteY6" fmla="*/ 7505 h 664197"/>
              <a:gd name="connsiteX7" fmla="*/ 449644 w 4520502"/>
              <a:gd name="connsiteY7" fmla="*/ 126720 h 664197"/>
              <a:gd name="connsiteX8" fmla="*/ 215138 w 4520502"/>
              <a:gd name="connsiteY8" fmla="*/ 664197 h 664197"/>
              <a:gd name="connsiteX9" fmla="*/ 458089 w 4520502"/>
              <a:gd name="connsiteY9" fmla="*/ 664197 h 664197"/>
              <a:gd name="connsiteX10" fmla="*/ 458089 w 4520502"/>
              <a:gd name="connsiteY10" fmla="*/ 605459 h 664197"/>
              <a:gd name="connsiteX11" fmla="*/ 463275 w 4520502"/>
              <a:gd name="connsiteY11" fmla="*/ 555903 h 664197"/>
              <a:gd name="connsiteX12" fmla="*/ 477739 w 4520502"/>
              <a:gd name="connsiteY12" fmla="*/ 512092 h 664197"/>
              <a:gd name="connsiteX13" fmla="*/ 499839 w 4520502"/>
              <a:gd name="connsiteY13" fmla="*/ 473223 h 664197"/>
              <a:gd name="connsiteX14" fmla="*/ 527932 w 4520502"/>
              <a:gd name="connsiteY14" fmla="*/ 438491 h 664197"/>
              <a:gd name="connsiteX15" fmla="*/ 560376 w 4520502"/>
              <a:gd name="connsiteY15" fmla="*/ 407092 h 664197"/>
              <a:gd name="connsiteX16" fmla="*/ 595529 w 4520502"/>
              <a:gd name="connsiteY16" fmla="*/ 378223 h 664197"/>
              <a:gd name="connsiteX17" fmla="*/ 631749 w 4520502"/>
              <a:gd name="connsiteY17" fmla="*/ 351078 h 664197"/>
              <a:gd name="connsiteX18" fmla="*/ 672123 w 4520502"/>
              <a:gd name="connsiteY18" fmla="*/ 321213 h 664197"/>
              <a:gd name="connsiteX19" fmla="*/ 708936 w 4520502"/>
              <a:gd name="connsiteY19" fmla="*/ 291481 h 664197"/>
              <a:gd name="connsiteX20" fmla="*/ 739081 w 4520502"/>
              <a:gd name="connsiteY20" fmla="*/ 260442 h 664197"/>
              <a:gd name="connsiteX21" fmla="*/ 759448 w 4520502"/>
              <a:gd name="connsiteY21" fmla="*/ 226656 h 664197"/>
              <a:gd name="connsiteX22" fmla="*/ 766928 w 4520502"/>
              <a:gd name="connsiteY22" fmla="*/ 188683 h 664197"/>
              <a:gd name="connsiteX23" fmla="*/ 761646 w 4520502"/>
              <a:gd name="connsiteY23" fmla="*/ 150394 h 664197"/>
              <a:gd name="connsiteX24" fmla="*/ 745803 w 4520502"/>
              <a:gd name="connsiteY24" fmla="*/ 121088 h 664197"/>
              <a:gd name="connsiteX25" fmla="*/ 719399 w 4520502"/>
              <a:gd name="connsiteY25" fmla="*/ 102344 h 664197"/>
              <a:gd name="connsiteX26" fmla="*/ 682435 w 4520502"/>
              <a:gd name="connsiteY26" fmla="*/ 95745 h 664197"/>
              <a:gd name="connsiteX27" fmla="*/ 642132 w 4520502"/>
              <a:gd name="connsiteY27" fmla="*/ 101524 h 664197"/>
              <a:gd name="connsiteX28" fmla="*/ 610629 w 4520502"/>
              <a:gd name="connsiteY28" fmla="*/ 117335 h 664197"/>
              <a:gd name="connsiteX29" fmla="*/ 586869 w 4520502"/>
              <a:gd name="connsiteY29" fmla="*/ 140890 h 664197"/>
              <a:gd name="connsiteX30" fmla="*/ 569798 w 4520502"/>
              <a:gd name="connsiteY30" fmla="*/ 169900 h 664197"/>
              <a:gd name="connsiteX31" fmla="*/ 488125 w 4520502"/>
              <a:gd name="connsiteY31" fmla="*/ 169900 h 664197"/>
              <a:gd name="connsiteX32" fmla="*/ 488125 w 4520502"/>
              <a:gd name="connsiteY32" fmla="*/ 35674 h 664197"/>
              <a:gd name="connsiteX33" fmla="*/ 532950 w 4520502"/>
              <a:gd name="connsiteY33" fmla="*/ 21388 h 664197"/>
              <a:gd name="connsiteX34" fmla="*/ 581295 w 4520502"/>
              <a:gd name="connsiteY34" fmla="*/ 10093 h 664197"/>
              <a:gd name="connsiteX35" fmla="*/ 632807 w 4520502"/>
              <a:gd name="connsiteY35" fmla="*/ 2670 h 664197"/>
              <a:gd name="connsiteX36" fmla="*/ 687134 w 4520502"/>
              <a:gd name="connsiteY36" fmla="*/ 0 h 664197"/>
              <a:gd name="connsiteX37" fmla="*/ 744504 w 4520502"/>
              <a:gd name="connsiteY37" fmla="*/ 3601 h 664197"/>
              <a:gd name="connsiteX38" fmla="*/ 794716 w 4520502"/>
              <a:gd name="connsiteY38" fmla="*/ 14558 h 664197"/>
              <a:gd name="connsiteX39" fmla="*/ 837160 w 4520502"/>
              <a:gd name="connsiteY39" fmla="*/ 33101 h 664197"/>
              <a:gd name="connsiteX40" fmla="*/ 871230 w 4520502"/>
              <a:gd name="connsiteY40" fmla="*/ 59461 h 664197"/>
              <a:gd name="connsiteX41" fmla="*/ 896318 w 4520502"/>
              <a:gd name="connsiteY41" fmla="*/ 93867 h 664197"/>
              <a:gd name="connsiteX42" fmla="*/ 911817 w 4520502"/>
              <a:gd name="connsiteY42" fmla="*/ 136552 h 664197"/>
              <a:gd name="connsiteX43" fmla="*/ 917118 w 4520502"/>
              <a:gd name="connsiteY43" fmla="*/ 187744 h 664197"/>
              <a:gd name="connsiteX44" fmla="*/ 910919 w 4520502"/>
              <a:gd name="connsiteY44" fmla="*/ 235960 h 664197"/>
              <a:gd name="connsiteX45" fmla="*/ 893733 w 4520502"/>
              <a:gd name="connsiteY45" fmla="*/ 277492 h 664197"/>
              <a:gd name="connsiteX46" fmla="*/ 867680 w 4520502"/>
              <a:gd name="connsiteY46" fmla="*/ 313359 h 664197"/>
              <a:gd name="connsiteX47" fmla="*/ 834879 w 4520502"/>
              <a:gd name="connsiteY47" fmla="*/ 344580 h 664197"/>
              <a:gd name="connsiteX48" fmla="*/ 797447 w 4520502"/>
              <a:gd name="connsiteY48" fmla="*/ 372172 h 664197"/>
              <a:gd name="connsiteX49" fmla="*/ 757504 w 4520502"/>
              <a:gd name="connsiteY49" fmla="*/ 397155 h 664197"/>
              <a:gd name="connsiteX50" fmla="*/ 717169 w 4520502"/>
              <a:gd name="connsiteY50" fmla="*/ 420547 h 664197"/>
              <a:gd name="connsiteX51" fmla="*/ 667230 w 4520502"/>
              <a:gd name="connsiteY51" fmla="*/ 451574 h 664197"/>
              <a:gd name="connsiteX52" fmla="*/ 625297 w 4520502"/>
              <a:gd name="connsiteY52" fmla="*/ 484365 h 664197"/>
              <a:gd name="connsiteX53" fmla="*/ 594804 w 4520502"/>
              <a:gd name="connsiteY53" fmla="*/ 519270 h 664197"/>
              <a:gd name="connsiteX54" fmla="*/ 579184 w 4520502"/>
              <a:gd name="connsiteY54" fmla="*/ 556641 h 664197"/>
              <a:gd name="connsiteX55" fmla="*/ 801650 w 4520502"/>
              <a:gd name="connsiteY55" fmla="*/ 556641 h 664197"/>
              <a:gd name="connsiteX56" fmla="*/ 811975 w 4520502"/>
              <a:gd name="connsiteY56" fmla="*/ 485305 h 664197"/>
              <a:gd name="connsiteX57" fmla="*/ 904913 w 4520502"/>
              <a:gd name="connsiteY57" fmla="*/ 485305 h 664197"/>
              <a:gd name="connsiteX58" fmla="*/ 904901 w 4520502"/>
              <a:gd name="connsiteY58" fmla="*/ 664197 h 664197"/>
              <a:gd name="connsiteX59" fmla="*/ 4520502 w 4520502"/>
              <a:gd name="connsiteY59" fmla="*/ 664197 h 664197"/>
              <a:gd name="connsiteX0" fmla="*/ 352946 w 4520502"/>
              <a:gd name="connsiteY0" fmla="*/ 120154 h 664197"/>
              <a:gd name="connsiteX1" fmla="*/ 103251 w 4520502"/>
              <a:gd name="connsiteY1" fmla="*/ 116395 h 664197"/>
              <a:gd name="connsiteX2" fmla="*/ 92926 w 4520502"/>
              <a:gd name="connsiteY2" fmla="*/ 201815 h 664197"/>
              <a:gd name="connsiteX3" fmla="*/ 0 w 4520502"/>
              <a:gd name="connsiteY3" fmla="*/ 201815 h 664197"/>
              <a:gd name="connsiteX4" fmla="*/ 0 w 4520502"/>
              <a:gd name="connsiteY4" fmla="*/ 7505 h 664197"/>
              <a:gd name="connsiteX5" fmla="*/ 449644 w 4520502"/>
              <a:gd name="connsiteY5" fmla="*/ 7505 h 664197"/>
              <a:gd name="connsiteX6" fmla="*/ 449644 w 4520502"/>
              <a:gd name="connsiteY6" fmla="*/ 126720 h 664197"/>
              <a:gd name="connsiteX7" fmla="*/ 215138 w 4520502"/>
              <a:gd name="connsiteY7" fmla="*/ 664197 h 664197"/>
              <a:gd name="connsiteX8" fmla="*/ 458089 w 4520502"/>
              <a:gd name="connsiteY8" fmla="*/ 664197 h 664197"/>
              <a:gd name="connsiteX9" fmla="*/ 458089 w 4520502"/>
              <a:gd name="connsiteY9" fmla="*/ 605459 h 664197"/>
              <a:gd name="connsiteX10" fmla="*/ 463275 w 4520502"/>
              <a:gd name="connsiteY10" fmla="*/ 555903 h 664197"/>
              <a:gd name="connsiteX11" fmla="*/ 477739 w 4520502"/>
              <a:gd name="connsiteY11" fmla="*/ 512092 h 664197"/>
              <a:gd name="connsiteX12" fmla="*/ 499839 w 4520502"/>
              <a:gd name="connsiteY12" fmla="*/ 473223 h 664197"/>
              <a:gd name="connsiteX13" fmla="*/ 527932 w 4520502"/>
              <a:gd name="connsiteY13" fmla="*/ 438491 h 664197"/>
              <a:gd name="connsiteX14" fmla="*/ 560376 w 4520502"/>
              <a:gd name="connsiteY14" fmla="*/ 407092 h 664197"/>
              <a:gd name="connsiteX15" fmla="*/ 595529 w 4520502"/>
              <a:gd name="connsiteY15" fmla="*/ 378223 h 664197"/>
              <a:gd name="connsiteX16" fmla="*/ 631749 w 4520502"/>
              <a:gd name="connsiteY16" fmla="*/ 351078 h 664197"/>
              <a:gd name="connsiteX17" fmla="*/ 672123 w 4520502"/>
              <a:gd name="connsiteY17" fmla="*/ 321213 h 664197"/>
              <a:gd name="connsiteX18" fmla="*/ 708936 w 4520502"/>
              <a:gd name="connsiteY18" fmla="*/ 291481 h 664197"/>
              <a:gd name="connsiteX19" fmla="*/ 739081 w 4520502"/>
              <a:gd name="connsiteY19" fmla="*/ 260442 h 664197"/>
              <a:gd name="connsiteX20" fmla="*/ 759448 w 4520502"/>
              <a:gd name="connsiteY20" fmla="*/ 226656 h 664197"/>
              <a:gd name="connsiteX21" fmla="*/ 766928 w 4520502"/>
              <a:gd name="connsiteY21" fmla="*/ 188683 h 664197"/>
              <a:gd name="connsiteX22" fmla="*/ 761646 w 4520502"/>
              <a:gd name="connsiteY22" fmla="*/ 150394 h 664197"/>
              <a:gd name="connsiteX23" fmla="*/ 745803 w 4520502"/>
              <a:gd name="connsiteY23" fmla="*/ 121088 h 664197"/>
              <a:gd name="connsiteX24" fmla="*/ 719399 w 4520502"/>
              <a:gd name="connsiteY24" fmla="*/ 102344 h 664197"/>
              <a:gd name="connsiteX25" fmla="*/ 682435 w 4520502"/>
              <a:gd name="connsiteY25" fmla="*/ 95745 h 664197"/>
              <a:gd name="connsiteX26" fmla="*/ 642132 w 4520502"/>
              <a:gd name="connsiteY26" fmla="*/ 101524 h 664197"/>
              <a:gd name="connsiteX27" fmla="*/ 610629 w 4520502"/>
              <a:gd name="connsiteY27" fmla="*/ 117335 h 664197"/>
              <a:gd name="connsiteX28" fmla="*/ 586869 w 4520502"/>
              <a:gd name="connsiteY28" fmla="*/ 140890 h 664197"/>
              <a:gd name="connsiteX29" fmla="*/ 569798 w 4520502"/>
              <a:gd name="connsiteY29" fmla="*/ 169900 h 664197"/>
              <a:gd name="connsiteX30" fmla="*/ 488125 w 4520502"/>
              <a:gd name="connsiteY30" fmla="*/ 169900 h 664197"/>
              <a:gd name="connsiteX31" fmla="*/ 488125 w 4520502"/>
              <a:gd name="connsiteY31" fmla="*/ 35674 h 664197"/>
              <a:gd name="connsiteX32" fmla="*/ 532950 w 4520502"/>
              <a:gd name="connsiteY32" fmla="*/ 21388 h 664197"/>
              <a:gd name="connsiteX33" fmla="*/ 581295 w 4520502"/>
              <a:gd name="connsiteY33" fmla="*/ 10093 h 664197"/>
              <a:gd name="connsiteX34" fmla="*/ 632807 w 4520502"/>
              <a:gd name="connsiteY34" fmla="*/ 2670 h 664197"/>
              <a:gd name="connsiteX35" fmla="*/ 687134 w 4520502"/>
              <a:gd name="connsiteY35" fmla="*/ 0 h 664197"/>
              <a:gd name="connsiteX36" fmla="*/ 744504 w 4520502"/>
              <a:gd name="connsiteY36" fmla="*/ 3601 h 664197"/>
              <a:gd name="connsiteX37" fmla="*/ 794716 w 4520502"/>
              <a:gd name="connsiteY37" fmla="*/ 14558 h 664197"/>
              <a:gd name="connsiteX38" fmla="*/ 837160 w 4520502"/>
              <a:gd name="connsiteY38" fmla="*/ 33101 h 664197"/>
              <a:gd name="connsiteX39" fmla="*/ 871230 w 4520502"/>
              <a:gd name="connsiteY39" fmla="*/ 59461 h 664197"/>
              <a:gd name="connsiteX40" fmla="*/ 896318 w 4520502"/>
              <a:gd name="connsiteY40" fmla="*/ 93867 h 664197"/>
              <a:gd name="connsiteX41" fmla="*/ 911817 w 4520502"/>
              <a:gd name="connsiteY41" fmla="*/ 136552 h 664197"/>
              <a:gd name="connsiteX42" fmla="*/ 917118 w 4520502"/>
              <a:gd name="connsiteY42" fmla="*/ 187744 h 664197"/>
              <a:gd name="connsiteX43" fmla="*/ 910919 w 4520502"/>
              <a:gd name="connsiteY43" fmla="*/ 235960 h 664197"/>
              <a:gd name="connsiteX44" fmla="*/ 893733 w 4520502"/>
              <a:gd name="connsiteY44" fmla="*/ 277492 h 664197"/>
              <a:gd name="connsiteX45" fmla="*/ 867680 w 4520502"/>
              <a:gd name="connsiteY45" fmla="*/ 313359 h 664197"/>
              <a:gd name="connsiteX46" fmla="*/ 834879 w 4520502"/>
              <a:gd name="connsiteY46" fmla="*/ 344580 h 664197"/>
              <a:gd name="connsiteX47" fmla="*/ 797447 w 4520502"/>
              <a:gd name="connsiteY47" fmla="*/ 372172 h 664197"/>
              <a:gd name="connsiteX48" fmla="*/ 757504 w 4520502"/>
              <a:gd name="connsiteY48" fmla="*/ 397155 h 664197"/>
              <a:gd name="connsiteX49" fmla="*/ 717169 w 4520502"/>
              <a:gd name="connsiteY49" fmla="*/ 420547 h 664197"/>
              <a:gd name="connsiteX50" fmla="*/ 667230 w 4520502"/>
              <a:gd name="connsiteY50" fmla="*/ 451574 h 664197"/>
              <a:gd name="connsiteX51" fmla="*/ 625297 w 4520502"/>
              <a:gd name="connsiteY51" fmla="*/ 484365 h 664197"/>
              <a:gd name="connsiteX52" fmla="*/ 594804 w 4520502"/>
              <a:gd name="connsiteY52" fmla="*/ 519270 h 664197"/>
              <a:gd name="connsiteX53" fmla="*/ 579184 w 4520502"/>
              <a:gd name="connsiteY53" fmla="*/ 556641 h 664197"/>
              <a:gd name="connsiteX54" fmla="*/ 801650 w 4520502"/>
              <a:gd name="connsiteY54" fmla="*/ 556641 h 664197"/>
              <a:gd name="connsiteX55" fmla="*/ 811975 w 4520502"/>
              <a:gd name="connsiteY55" fmla="*/ 485305 h 664197"/>
              <a:gd name="connsiteX56" fmla="*/ 904913 w 4520502"/>
              <a:gd name="connsiteY56" fmla="*/ 485305 h 664197"/>
              <a:gd name="connsiteX57" fmla="*/ 904901 w 4520502"/>
              <a:gd name="connsiteY57" fmla="*/ 664197 h 664197"/>
              <a:gd name="connsiteX58" fmla="*/ 4520502 w 4520502"/>
              <a:gd name="connsiteY58" fmla="*/ 664197 h 664197"/>
              <a:gd name="connsiteX0" fmla="*/ 352946 w 4520502"/>
              <a:gd name="connsiteY0" fmla="*/ 120154 h 664197"/>
              <a:gd name="connsiteX1" fmla="*/ 92926 w 4520502"/>
              <a:gd name="connsiteY1" fmla="*/ 201815 h 664197"/>
              <a:gd name="connsiteX2" fmla="*/ 0 w 4520502"/>
              <a:gd name="connsiteY2" fmla="*/ 201815 h 664197"/>
              <a:gd name="connsiteX3" fmla="*/ 0 w 4520502"/>
              <a:gd name="connsiteY3" fmla="*/ 7505 h 664197"/>
              <a:gd name="connsiteX4" fmla="*/ 449644 w 4520502"/>
              <a:gd name="connsiteY4" fmla="*/ 7505 h 664197"/>
              <a:gd name="connsiteX5" fmla="*/ 449644 w 4520502"/>
              <a:gd name="connsiteY5" fmla="*/ 126720 h 664197"/>
              <a:gd name="connsiteX6" fmla="*/ 215138 w 4520502"/>
              <a:gd name="connsiteY6" fmla="*/ 664197 h 664197"/>
              <a:gd name="connsiteX7" fmla="*/ 458089 w 4520502"/>
              <a:gd name="connsiteY7" fmla="*/ 664197 h 664197"/>
              <a:gd name="connsiteX8" fmla="*/ 458089 w 4520502"/>
              <a:gd name="connsiteY8" fmla="*/ 605459 h 664197"/>
              <a:gd name="connsiteX9" fmla="*/ 463275 w 4520502"/>
              <a:gd name="connsiteY9" fmla="*/ 555903 h 664197"/>
              <a:gd name="connsiteX10" fmla="*/ 477739 w 4520502"/>
              <a:gd name="connsiteY10" fmla="*/ 512092 h 664197"/>
              <a:gd name="connsiteX11" fmla="*/ 499839 w 4520502"/>
              <a:gd name="connsiteY11" fmla="*/ 473223 h 664197"/>
              <a:gd name="connsiteX12" fmla="*/ 527932 w 4520502"/>
              <a:gd name="connsiteY12" fmla="*/ 438491 h 664197"/>
              <a:gd name="connsiteX13" fmla="*/ 560376 w 4520502"/>
              <a:gd name="connsiteY13" fmla="*/ 407092 h 664197"/>
              <a:gd name="connsiteX14" fmla="*/ 595529 w 4520502"/>
              <a:gd name="connsiteY14" fmla="*/ 378223 h 664197"/>
              <a:gd name="connsiteX15" fmla="*/ 631749 w 4520502"/>
              <a:gd name="connsiteY15" fmla="*/ 351078 h 664197"/>
              <a:gd name="connsiteX16" fmla="*/ 672123 w 4520502"/>
              <a:gd name="connsiteY16" fmla="*/ 321213 h 664197"/>
              <a:gd name="connsiteX17" fmla="*/ 708936 w 4520502"/>
              <a:gd name="connsiteY17" fmla="*/ 291481 h 664197"/>
              <a:gd name="connsiteX18" fmla="*/ 739081 w 4520502"/>
              <a:gd name="connsiteY18" fmla="*/ 260442 h 664197"/>
              <a:gd name="connsiteX19" fmla="*/ 759448 w 4520502"/>
              <a:gd name="connsiteY19" fmla="*/ 226656 h 664197"/>
              <a:gd name="connsiteX20" fmla="*/ 766928 w 4520502"/>
              <a:gd name="connsiteY20" fmla="*/ 188683 h 664197"/>
              <a:gd name="connsiteX21" fmla="*/ 761646 w 4520502"/>
              <a:gd name="connsiteY21" fmla="*/ 150394 h 664197"/>
              <a:gd name="connsiteX22" fmla="*/ 745803 w 4520502"/>
              <a:gd name="connsiteY22" fmla="*/ 121088 h 664197"/>
              <a:gd name="connsiteX23" fmla="*/ 719399 w 4520502"/>
              <a:gd name="connsiteY23" fmla="*/ 102344 h 664197"/>
              <a:gd name="connsiteX24" fmla="*/ 682435 w 4520502"/>
              <a:gd name="connsiteY24" fmla="*/ 95745 h 664197"/>
              <a:gd name="connsiteX25" fmla="*/ 642132 w 4520502"/>
              <a:gd name="connsiteY25" fmla="*/ 101524 h 664197"/>
              <a:gd name="connsiteX26" fmla="*/ 610629 w 4520502"/>
              <a:gd name="connsiteY26" fmla="*/ 117335 h 664197"/>
              <a:gd name="connsiteX27" fmla="*/ 586869 w 4520502"/>
              <a:gd name="connsiteY27" fmla="*/ 140890 h 664197"/>
              <a:gd name="connsiteX28" fmla="*/ 569798 w 4520502"/>
              <a:gd name="connsiteY28" fmla="*/ 169900 h 664197"/>
              <a:gd name="connsiteX29" fmla="*/ 488125 w 4520502"/>
              <a:gd name="connsiteY29" fmla="*/ 169900 h 664197"/>
              <a:gd name="connsiteX30" fmla="*/ 488125 w 4520502"/>
              <a:gd name="connsiteY30" fmla="*/ 35674 h 664197"/>
              <a:gd name="connsiteX31" fmla="*/ 532950 w 4520502"/>
              <a:gd name="connsiteY31" fmla="*/ 21388 h 664197"/>
              <a:gd name="connsiteX32" fmla="*/ 581295 w 4520502"/>
              <a:gd name="connsiteY32" fmla="*/ 10093 h 664197"/>
              <a:gd name="connsiteX33" fmla="*/ 632807 w 4520502"/>
              <a:gd name="connsiteY33" fmla="*/ 2670 h 664197"/>
              <a:gd name="connsiteX34" fmla="*/ 687134 w 4520502"/>
              <a:gd name="connsiteY34" fmla="*/ 0 h 664197"/>
              <a:gd name="connsiteX35" fmla="*/ 744504 w 4520502"/>
              <a:gd name="connsiteY35" fmla="*/ 3601 h 664197"/>
              <a:gd name="connsiteX36" fmla="*/ 794716 w 4520502"/>
              <a:gd name="connsiteY36" fmla="*/ 14558 h 664197"/>
              <a:gd name="connsiteX37" fmla="*/ 837160 w 4520502"/>
              <a:gd name="connsiteY37" fmla="*/ 33101 h 664197"/>
              <a:gd name="connsiteX38" fmla="*/ 871230 w 4520502"/>
              <a:gd name="connsiteY38" fmla="*/ 59461 h 664197"/>
              <a:gd name="connsiteX39" fmla="*/ 896318 w 4520502"/>
              <a:gd name="connsiteY39" fmla="*/ 93867 h 664197"/>
              <a:gd name="connsiteX40" fmla="*/ 911817 w 4520502"/>
              <a:gd name="connsiteY40" fmla="*/ 136552 h 664197"/>
              <a:gd name="connsiteX41" fmla="*/ 917118 w 4520502"/>
              <a:gd name="connsiteY41" fmla="*/ 187744 h 664197"/>
              <a:gd name="connsiteX42" fmla="*/ 910919 w 4520502"/>
              <a:gd name="connsiteY42" fmla="*/ 235960 h 664197"/>
              <a:gd name="connsiteX43" fmla="*/ 893733 w 4520502"/>
              <a:gd name="connsiteY43" fmla="*/ 277492 h 664197"/>
              <a:gd name="connsiteX44" fmla="*/ 867680 w 4520502"/>
              <a:gd name="connsiteY44" fmla="*/ 313359 h 664197"/>
              <a:gd name="connsiteX45" fmla="*/ 834879 w 4520502"/>
              <a:gd name="connsiteY45" fmla="*/ 344580 h 664197"/>
              <a:gd name="connsiteX46" fmla="*/ 797447 w 4520502"/>
              <a:gd name="connsiteY46" fmla="*/ 372172 h 664197"/>
              <a:gd name="connsiteX47" fmla="*/ 757504 w 4520502"/>
              <a:gd name="connsiteY47" fmla="*/ 397155 h 664197"/>
              <a:gd name="connsiteX48" fmla="*/ 717169 w 4520502"/>
              <a:gd name="connsiteY48" fmla="*/ 420547 h 664197"/>
              <a:gd name="connsiteX49" fmla="*/ 667230 w 4520502"/>
              <a:gd name="connsiteY49" fmla="*/ 451574 h 664197"/>
              <a:gd name="connsiteX50" fmla="*/ 625297 w 4520502"/>
              <a:gd name="connsiteY50" fmla="*/ 484365 h 664197"/>
              <a:gd name="connsiteX51" fmla="*/ 594804 w 4520502"/>
              <a:gd name="connsiteY51" fmla="*/ 519270 h 664197"/>
              <a:gd name="connsiteX52" fmla="*/ 579184 w 4520502"/>
              <a:gd name="connsiteY52" fmla="*/ 556641 h 664197"/>
              <a:gd name="connsiteX53" fmla="*/ 801650 w 4520502"/>
              <a:gd name="connsiteY53" fmla="*/ 556641 h 664197"/>
              <a:gd name="connsiteX54" fmla="*/ 811975 w 4520502"/>
              <a:gd name="connsiteY54" fmla="*/ 485305 h 664197"/>
              <a:gd name="connsiteX55" fmla="*/ 904913 w 4520502"/>
              <a:gd name="connsiteY55" fmla="*/ 485305 h 664197"/>
              <a:gd name="connsiteX56" fmla="*/ 904901 w 4520502"/>
              <a:gd name="connsiteY56" fmla="*/ 664197 h 664197"/>
              <a:gd name="connsiteX57" fmla="*/ 4520502 w 4520502"/>
              <a:gd name="connsiteY57" fmla="*/ 664197 h 664197"/>
              <a:gd name="connsiteX0" fmla="*/ 92926 w 4520502"/>
              <a:gd name="connsiteY0" fmla="*/ 201815 h 664197"/>
              <a:gd name="connsiteX1" fmla="*/ 0 w 4520502"/>
              <a:gd name="connsiteY1" fmla="*/ 201815 h 664197"/>
              <a:gd name="connsiteX2" fmla="*/ 0 w 4520502"/>
              <a:gd name="connsiteY2" fmla="*/ 7505 h 664197"/>
              <a:gd name="connsiteX3" fmla="*/ 449644 w 4520502"/>
              <a:gd name="connsiteY3" fmla="*/ 7505 h 664197"/>
              <a:gd name="connsiteX4" fmla="*/ 449644 w 4520502"/>
              <a:gd name="connsiteY4" fmla="*/ 126720 h 664197"/>
              <a:gd name="connsiteX5" fmla="*/ 215138 w 4520502"/>
              <a:gd name="connsiteY5" fmla="*/ 664197 h 664197"/>
              <a:gd name="connsiteX6" fmla="*/ 458089 w 4520502"/>
              <a:gd name="connsiteY6" fmla="*/ 664197 h 664197"/>
              <a:gd name="connsiteX7" fmla="*/ 458089 w 4520502"/>
              <a:gd name="connsiteY7" fmla="*/ 605459 h 664197"/>
              <a:gd name="connsiteX8" fmla="*/ 463275 w 4520502"/>
              <a:gd name="connsiteY8" fmla="*/ 555903 h 664197"/>
              <a:gd name="connsiteX9" fmla="*/ 477739 w 4520502"/>
              <a:gd name="connsiteY9" fmla="*/ 512092 h 664197"/>
              <a:gd name="connsiteX10" fmla="*/ 499839 w 4520502"/>
              <a:gd name="connsiteY10" fmla="*/ 473223 h 664197"/>
              <a:gd name="connsiteX11" fmla="*/ 527932 w 4520502"/>
              <a:gd name="connsiteY11" fmla="*/ 438491 h 664197"/>
              <a:gd name="connsiteX12" fmla="*/ 560376 w 4520502"/>
              <a:gd name="connsiteY12" fmla="*/ 407092 h 664197"/>
              <a:gd name="connsiteX13" fmla="*/ 595529 w 4520502"/>
              <a:gd name="connsiteY13" fmla="*/ 378223 h 664197"/>
              <a:gd name="connsiteX14" fmla="*/ 631749 w 4520502"/>
              <a:gd name="connsiteY14" fmla="*/ 351078 h 664197"/>
              <a:gd name="connsiteX15" fmla="*/ 672123 w 4520502"/>
              <a:gd name="connsiteY15" fmla="*/ 321213 h 664197"/>
              <a:gd name="connsiteX16" fmla="*/ 708936 w 4520502"/>
              <a:gd name="connsiteY16" fmla="*/ 291481 h 664197"/>
              <a:gd name="connsiteX17" fmla="*/ 739081 w 4520502"/>
              <a:gd name="connsiteY17" fmla="*/ 260442 h 664197"/>
              <a:gd name="connsiteX18" fmla="*/ 759448 w 4520502"/>
              <a:gd name="connsiteY18" fmla="*/ 226656 h 664197"/>
              <a:gd name="connsiteX19" fmla="*/ 766928 w 4520502"/>
              <a:gd name="connsiteY19" fmla="*/ 188683 h 664197"/>
              <a:gd name="connsiteX20" fmla="*/ 761646 w 4520502"/>
              <a:gd name="connsiteY20" fmla="*/ 150394 h 664197"/>
              <a:gd name="connsiteX21" fmla="*/ 745803 w 4520502"/>
              <a:gd name="connsiteY21" fmla="*/ 121088 h 664197"/>
              <a:gd name="connsiteX22" fmla="*/ 719399 w 4520502"/>
              <a:gd name="connsiteY22" fmla="*/ 102344 h 664197"/>
              <a:gd name="connsiteX23" fmla="*/ 682435 w 4520502"/>
              <a:gd name="connsiteY23" fmla="*/ 95745 h 664197"/>
              <a:gd name="connsiteX24" fmla="*/ 642132 w 4520502"/>
              <a:gd name="connsiteY24" fmla="*/ 101524 h 664197"/>
              <a:gd name="connsiteX25" fmla="*/ 610629 w 4520502"/>
              <a:gd name="connsiteY25" fmla="*/ 117335 h 664197"/>
              <a:gd name="connsiteX26" fmla="*/ 586869 w 4520502"/>
              <a:gd name="connsiteY26" fmla="*/ 140890 h 664197"/>
              <a:gd name="connsiteX27" fmla="*/ 569798 w 4520502"/>
              <a:gd name="connsiteY27" fmla="*/ 169900 h 664197"/>
              <a:gd name="connsiteX28" fmla="*/ 488125 w 4520502"/>
              <a:gd name="connsiteY28" fmla="*/ 169900 h 664197"/>
              <a:gd name="connsiteX29" fmla="*/ 488125 w 4520502"/>
              <a:gd name="connsiteY29" fmla="*/ 35674 h 664197"/>
              <a:gd name="connsiteX30" fmla="*/ 532950 w 4520502"/>
              <a:gd name="connsiteY30" fmla="*/ 21388 h 664197"/>
              <a:gd name="connsiteX31" fmla="*/ 581295 w 4520502"/>
              <a:gd name="connsiteY31" fmla="*/ 10093 h 664197"/>
              <a:gd name="connsiteX32" fmla="*/ 632807 w 4520502"/>
              <a:gd name="connsiteY32" fmla="*/ 2670 h 664197"/>
              <a:gd name="connsiteX33" fmla="*/ 687134 w 4520502"/>
              <a:gd name="connsiteY33" fmla="*/ 0 h 664197"/>
              <a:gd name="connsiteX34" fmla="*/ 744504 w 4520502"/>
              <a:gd name="connsiteY34" fmla="*/ 3601 h 664197"/>
              <a:gd name="connsiteX35" fmla="*/ 794716 w 4520502"/>
              <a:gd name="connsiteY35" fmla="*/ 14558 h 664197"/>
              <a:gd name="connsiteX36" fmla="*/ 837160 w 4520502"/>
              <a:gd name="connsiteY36" fmla="*/ 33101 h 664197"/>
              <a:gd name="connsiteX37" fmla="*/ 871230 w 4520502"/>
              <a:gd name="connsiteY37" fmla="*/ 59461 h 664197"/>
              <a:gd name="connsiteX38" fmla="*/ 896318 w 4520502"/>
              <a:gd name="connsiteY38" fmla="*/ 93867 h 664197"/>
              <a:gd name="connsiteX39" fmla="*/ 911817 w 4520502"/>
              <a:gd name="connsiteY39" fmla="*/ 136552 h 664197"/>
              <a:gd name="connsiteX40" fmla="*/ 917118 w 4520502"/>
              <a:gd name="connsiteY40" fmla="*/ 187744 h 664197"/>
              <a:gd name="connsiteX41" fmla="*/ 910919 w 4520502"/>
              <a:gd name="connsiteY41" fmla="*/ 235960 h 664197"/>
              <a:gd name="connsiteX42" fmla="*/ 893733 w 4520502"/>
              <a:gd name="connsiteY42" fmla="*/ 277492 h 664197"/>
              <a:gd name="connsiteX43" fmla="*/ 867680 w 4520502"/>
              <a:gd name="connsiteY43" fmla="*/ 313359 h 664197"/>
              <a:gd name="connsiteX44" fmla="*/ 834879 w 4520502"/>
              <a:gd name="connsiteY44" fmla="*/ 344580 h 664197"/>
              <a:gd name="connsiteX45" fmla="*/ 797447 w 4520502"/>
              <a:gd name="connsiteY45" fmla="*/ 372172 h 664197"/>
              <a:gd name="connsiteX46" fmla="*/ 757504 w 4520502"/>
              <a:gd name="connsiteY46" fmla="*/ 397155 h 664197"/>
              <a:gd name="connsiteX47" fmla="*/ 717169 w 4520502"/>
              <a:gd name="connsiteY47" fmla="*/ 420547 h 664197"/>
              <a:gd name="connsiteX48" fmla="*/ 667230 w 4520502"/>
              <a:gd name="connsiteY48" fmla="*/ 451574 h 664197"/>
              <a:gd name="connsiteX49" fmla="*/ 625297 w 4520502"/>
              <a:gd name="connsiteY49" fmla="*/ 484365 h 664197"/>
              <a:gd name="connsiteX50" fmla="*/ 594804 w 4520502"/>
              <a:gd name="connsiteY50" fmla="*/ 519270 h 664197"/>
              <a:gd name="connsiteX51" fmla="*/ 579184 w 4520502"/>
              <a:gd name="connsiteY51" fmla="*/ 556641 h 664197"/>
              <a:gd name="connsiteX52" fmla="*/ 801650 w 4520502"/>
              <a:gd name="connsiteY52" fmla="*/ 556641 h 664197"/>
              <a:gd name="connsiteX53" fmla="*/ 811975 w 4520502"/>
              <a:gd name="connsiteY53" fmla="*/ 485305 h 664197"/>
              <a:gd name="connsiteX54" fmla="*/ 904913 w 4520502"/>
              <a:gd name="connsiteY54" fmla="*/ 485305 h 664197"/>
              <a:gd name="connsiteX55" fmla="*/ 904901 w 4520502"/>
              <a:gd name="connsiteY55" fmla="*/ 664197 h 664197"/>
              <a:gd name="connsiteX56" fmla="*/ 4520502 w 4520502"/>
              <a:gd name="connsiteY56" fmla="*/ 664197 h 664197"/>
              <a:gd name="connsiteX0" fmla="*/ 0 w 4520502"/>
              <a:gd name="connsiteY0" fmla="*/ 201815 h 664197"/>
              <a:gd name="connsiteX1" fmla="*/ 0 w 4520502"/>
              <a:gd name="connsiteY1" fmla="*/ 7505 h 664197"/>
              <a:gd name="connsiteX2" fmla="*/ 449644 w 4520502"/>
              <a:gd name="connsiteY2" fmla="*/ 7505 h 664197"/>
              <a:gd name="connsiteX3" fmla="*/ 449644 w 4520502"/>
              <a:gd name="connsiteY3" fmla="*/ 126720 h 664197"/>
              <a:gd name="connsiteX4" fmla="*/ 215138 w 4520502"/>
              <a:gd name="connsiteY4" fmla="*/ 664197 h 664197"/>
              <a:gd name="connsiteX5" fmla="*/ 458089 w 4520502"/>
              <a:gd name="connsiteY5" fmla="*/ 664197 h 664197"/>
              <a:gd name="connsiteX6" fmla="*/ 458089 w 4520502"/>
              <a:gd name="connsiteY6" fmla="*/ 605459 h 664197"/>
              <a:gd name="connsiteX7" fmla="*/ 463275 w 4520502"/>
              <a:gd name="connsiteY7" fmla="*/ 555903 h 664197"/>
              <a:gd name="connsiteX8" fmla="*/ 477739 w 4520502"/>
              <a:gd name="connsiteY8" fmla="*/ 512092 h 664197"/>
              <a:gd name="connsiteX9" fmla="*/ 499839 w 4520502"/>
              <a:gd name="connsiteY9" fmla="*/ 473223 h 664197"/>
              <a:gd name="connsiteX10" fmla="*/ 527932 w 4520502"/>
              <a:gd name="connsiteY10" fmla="*/ 438491 h 664197"/>
              <a:gd name="connsiteX11" fmla="*/ 560376 w 4520502"/>
              <a:gd name="connsiteY11" fmla="*/ 407092 h 664197"/>
              <a:gd name="connsiteX12" fmla="*/ 595529 w 4520502"/>
              <a:gd name="connsiteY12" fmla="*/ 378223 h 664197"/>
              <a:gd name="connsiteX13" fmla="*/ 631749 w 4520502"/>
              <a:gd name="connsiteY13" fmla="*/ 351078 h 664197"/>
              <a:gd name="connsiteX14" fmla="*/ 672123 w 4520502"/>
              <a:gd name="connsiteY14" fmla="*/ 321213 h 664197"/>
              <a:gd name="connsiteX15" fmla="*/ 708936 w 4520502"/>
              <a:gd name="connsiteY15" fmla="*/ 291481 h 664197"/>
              <a:gd name="connsiteX16" fmla="*/ 739081 w 4520502"/>
              <a:gd name="connsiteY16" fmla="*/ 260442 h 664197"/>
              <a:gd name="connsiteX17" fmla="*/ 759448 w 4520502"/>
              <a:gd name="connsiteY17" fmla="*/ 226656 h 664197"/>
              <a:gd name="connsiteX18" fmla="*/ 766928 w 4520502"/>
              <a:gd name="connsiteY18" fmla="*/ 188683 h 664197"/>
              <a:gd name="connsiteX19" fmla="*/ 761646 w 4520502"/>
              <a:gd name="connsiteY19" fmla="*/ 150394 h 664197"/>
              <a:gd name="connsiteX20" fmla="*/ 745803 w 4520502"/>
              <a:gd name="connsiteY20" fmla="*/ 121088 h 664197"/>
              <a:gd name="connsiteX21" fmla="*/ 719399 w 4520502"/>
              <a:gd name="connsiteY21" fmla="*/ 102344 h 664197"/>
              <a:gd name="connsiteX22" fmla="*/ 682435 w 4520502"/>
              <a:gd name="connsiteY22" fmla="*/ 95745 h 664197"/>
              <a:gd name="connsiteX23" fmla="*/ 642132 w 4520502"/>
              <a:gd name="connsiteY23" fmla="*/ 101524 h 664197"/>
              <a:gd name="connsiteX24" fmla="*/ 610629 w 4520502"/>
              <a:gd name="connsiteY24" fmla="*/ 117335 h 664197"/>
              <a:gd name="connsiteX25" fmla="*/ 586869 w 4520502"/>
              <a:gd name="connsiteY25" fmla="*/ 140890 h 664197"/>
              <a:gd name="connsiteX26" fmla="*/ 569798 w 4520502"/>
              <a:gd name="connsiteY26" fmla="*/ 169900 h 664197"/>
              <a:gd name="connsiteX27" fmla="*/ 488125 w 4520502"/>
              <a:gd name="connsiteY27" fmla="*/ 169900 h 664197"/>
              <a:gd name="connsiteX28" fmla="*/ 488125 w 4520502"/>
              <a:gd name="connsiteY28" fmla="*/ 35674 h 664197"/>
              <a:gd name="connsiteX29" fmla="*/ 532950 w 4520502"/>
              <a:gd name="connsiteY29" fmla="*/ 21388 h 664197"/>
              <a:gd name="connsiteX30" fmla="*/ 581295 w 4520502"/>
              <a:gd name="connsiteY30" fmla="*/ 10093 h 664197"/>
              <a:gd name="connsiteX31" fmla="*/ 632807 w 4520502"/>
              <a:gd name="connsiteY31" fmla="*/ 2670 h 664197"/>
              <a:gd name="connsiteX32" fmla="*/ 687134 w 4520502"/>
              <a:gd name="connsiteY32" fmla="*/ 0 h 664197"/>
              <a:gd name="connsiteX33" fmla="*/ 744504 w 4520502"/>
              <a:gd name="connsiteY33" fmla="*/ 3601 h 664197"/>
              <a:gd name="connsiteX34" fmla="*/ 794716 w 4520502"/>
              <a:gd name="connsiteY34" fmla="*/ 14558 h 664197"/>
              <a:gd name="connsiteX35" fmla="*/ 837160 w 4520502"/>
              <a:gd name="connsiteY35" fmla="*/ 33101 h 664197"/>
              <a:gd name="connsiteX36" fmla="*/ 871230 w 4520502"/>
              <a:gd name="connsiteY36" fmla="*/ 59461 h 664197"/>
              <a:gd name="connsiteX37" fmla="*/ 896318 w 4520502"/>
              <a:gd name="connsiteY37" fmla="*/ 93867 h 664197"/>
              <a:gd name="connsiteX38" fmla="*/ 911817 w 4520502"/>
              <a:gd name="connsiteY38" fmla="*/ 136552 h 664197"/>
              <a:gd name="connsiteX39" fmla="*/ 917118 w 4520502"/>
              <a:gd name="connsiteY39" fmla="*/ 187744 h 664197"/>
              <a:gd name="connsiteX40" fmla="*/ 910919 w 4520502"/>
              <a:gd name="connsiteY40" fmla="*/ 235960 h 664197"/>
              <a:gd name="connsiteX41" fmla="*/ 893733 w 4520502"/>
              <a:gd name="connsiteY41" fmla="*/ 277492 h 664197"/>
              <a:gd name="connsiteX42" fmla="*/ 867680 w 4520502"/>
              <a:gd name="connsiteY42" fmla="*/ 313359 h 664197"/>
              <a:gd name="connsiteX43" fmla="*/ 834879 w 4520502"/>
              <a:gd name="connsiteY43" fmla="*/ 344580 h 664197"/>
              <a:gd name="connsiteX44" fmla="*/ 797447 w 4520502"/>
              <a:gd name="connsiteY44" fmla="*/ 372172 h 664197"/>
              <a:gd name="connsiteX45" fmla="*/ 757504 w 4520502"/>
              <a:gd name="connsiteY45" fmla="*/ 397155 h 664197"/>
              <a:gd name="connsiteX46" fmla="*/ 717169 w 4520502"/>
              <a:gd name="connsiteY46" fmla="*/ 420547 h 664197"/>
              <a:gd name="connsiteX47" fmla="*/ 667230 w 4520502"/>
              <a:gd name="connsiteY47" fmla="*/ 451574 h 664197"/>
              <a:gd name="connsiteX48" fmla="*/ 625297 w 4520502"/>
              <a:gd name="connsiteY48" fmla="*/ 484365 h 664197"/>
              <a:gd name="connsiteX49" fmla="*/ 594804 w 4520502"/>
              <a:gd name="connsiteY49" fmla="*/ 519270 h 664197"/>
              <a:gd name="connsiteX50" fmla="*/ 579184 w 4520502"/>
              <a:gd name="connsiteY50" fmla="*/ 556641 h 664197"/>
              <a:gd name="connsiteX51" fmla="*/ 801650 w 4520502"/>
              <a:gd name="connsiteY51" fmla="*/ 556641 h 664197"/>
              <a:gd name="connsiteX52" fmla="*/ 811975 w 4520502"/>
              <a:gd name="connsiteY52" fmla="*/ 485305 h 664197"/>
              <a:gd name="connsiteX53" fmla="*/ 904913 w 4520502"/>
              <a:gd name="connsiteY53" fmla="*/ 485305 h 664197"/>
              <a:gd name="connsiteX54" fmla="*/ 904901 w 4520502"/>
              <a:gd name="connsiteY54" fmla="*/ 664197 h 664197"/>
              <a:gd name="connsiteX55" fmla="*/ 4520502 w 4520502"/>
              <a:gd name="connsiteY55" fmla="*/ 664197 h 664197"/>
              <a:gd name="connsiteX0" fmla="*/ 0 w 4520502"/>
              <a:gd name="connsiteY0" fmla="*/ 7505 h 664197"/>
              <a:gd name="connsiteX1" fmla="*/ 449644 w 4520502"/>
              <a:gd name="connsiteY1" fmla="*/ 7505 h 664197"/>
              <a:gd name="connsiteX2" fmla="*/ 449644 w 4520502"/>
              <a:gd name="connsiteY2" fmla="*/ 126720 h 664197"/>
              <a:gd name="connsiteX3" fmla="*/ 215138 w 4520502"/>
              <a:gd name="connsiteY3" fmla="*/ 664197 h 664197"/>
              <a:gd name="connsiteX4" fmla="*/ 458089 w 4520502"/>
              <a:gd name="connsiteY4" fmla="*/ 664197 h 664197"/>
              <a:gd name="connsiteX5" fmla="*/ 458089 w 4520502"/>
              <a:gd name="connsiteY5" fmla="*/ 605459 h 664197"/>
              <a:gd name="connsiteX6" fmla="*/ 463275 w 4520502"/>
              <a:gd name="connsiteY6" fmla="*/ 555903 h 664197"/>
              <a:gd name="connsiteX7" fmla="*/ 477739 w 4520502"/>
              <a:gd name="connsiteY7" fmla="*/ 512092 h 664197"/>
              <a:gd name="connsiteX8" fmla="*/ 499839 w 4520502"/>
              <a:gd name="connsiteY8" fmla="*/ 473223 h 664197"/>
              <a:gd name="connsiteX9" fmla="*/ 527932 w 4520502"/>
              <a:gd name="connsiteY9" fmla="*/ 438491 h 664197"/>
              <a:gd name="connsiteX10" fmla="*/ 560376 w 4520502"/>
              <a:gd name="connsiteY10" fmla="*/ 407092 h 664197"/>
              <a:gd name="connsiteX11" fmla="*/ 595529 w 4520502"/>
              <a:gd name="connsiteY11" fmla="*/ 378223 h 664197"/>
              <a:gd name="connsiteX12" fmla="*/ 631749 w 4520502"/>
              <a:gd name="connsiteY12" fmla="*/ 351078 h 664197"/>
              <a:gd name="connsiteX13" fmla="*/ 672123 w 4520502"/>
              <a:gd name="connsiteY13" fmla="*/ 321213 h 664197"/>
              <a:gd name="connsiteX14" fmla="*/ 708936 w 4520502"/>
              <a:gd name="connsiteY14" fmla="*/ 291481 h 664197"/>
              <a:gd name="connsiteX15" fmla="*/ 739081 w 4520502"/>
              <a:gd name="connsiteY15" fmla="*/ 260442 h 664197"/>
              <a:gd name="connsiteX16" fmla="*/ 759448 w 4520502"/>
              <a:gd name="connsiteY16" fmla="*/ 226656 h 664197"/>
              <a:gd name="connsiteX17" fmla="*/ 766928 w 4520502"/>
              <a:gd name="connsiteY17" fmla="*/ 188683 h 664197"/>
              <a:gd name="connsiteX18" fmla="*/ 761646 w 4520502"/>
              <a:gd name="connsiteY18" fmla="*/ 150394 h 664197"/>
              <a:gd name="connsiteX19" fmla="*/ 745803 w 4520502"/>
              <a:gd name="connsiteY19" fmla="*/ 121088 h 664197"/>
              <a:gd name="connsiteX20" fmla="*/ 719399 w 4520502"/>
              <a:gd name="connsiteY20" fmla="*/ 102344 h 664197"/>
              <a:gd name="connsiteX21" fmla="*/ 682435 w 4520502"/>
              <a:gd name="connsiteY21" fmla="*/ 95745 h 664197"/>
              <a:gd name="connsiteX22" fmla="*/ 642132 w 4520502"/>
              <a:gd name="connsiteY22" fmla="*/ 101524 h 664197"/>
              <a:gd name="connsiteX23" fmla="*/ 610629 w 4520502"/>
              <a:gd name="connsiteY23" fmla="*/ 117335 h 664197"/>
              <a:gd name="connsiteX24" fmla="*/ 586869 w 4520502"/>
              <a:gd name="connsiteY24" fmla="*/ 140890 h 664197"/>
              <a:gd name="connsiteX25" fmla="*/ 569798 w 4520502"/>
              <a:gd name="connsiteY25" fmla="*/ 169900 h 664197"/>
              <a:gd name="connsiteX26" fmla="*/ 488125 w 4520502"/>
              <a:gd name="connsiteY26" fmla="*/ 169900 h 664197"/>
              <a:gd name="connsiteX27" fmla="*/ 488125 w 4520502"/>
              <a:gd name="connsiteY27" fmla="*/ 35674 h 664197"/>
              <a:gd name="connsiteX28" fmla="*/ 532950 w 4520502"/>
              <a:gd name="connsiteY28" fmla="*/ 21388 h 664197"/>
              <a:gd name="connsiteX29" fmla="*/ 581295 w 4520502"/>
              <a:gd name="connsiteY29" fmla="*/ 10093 h 664197"/>
              <a:gd name="connsiteX30" fmla="*/ 632807 w 4520502"/>
              <a:gd name="connsiteY30" fmla="*/ 2670 h 664197"/>
              <a:gd name="connsiteX31" fmla="*/ 687134 w 4520502"/>
              <a:gd name="connsiteY31" fmla="*/ 0 h 664197"/>
              <a:gd name="connsiteX32" fmla="*/ 744504 w 4520502"/>
              <a:gd name="connsiteY32" fmla="*/ 3601 h 664197"/>
              <a:gd name="connsiteX33" fmla="*/ 794716 w 4520502"/>
              <a:gd name="connsiteY33" fmla="*/ 14558 h 664197"/>
              <a:gd name="connsiteX34" fmla="*/ 837160 w 4520502"/>
              <a:gd name="connsiteY34" fmla="*/ 33101 h 664197"/>
              <a:gd name="connsiteX35" fmla="*/ 871230 w 4520502"/>
              <a:gd name="connsiteY35" fmla="*/ 59461 h 664197"/>
              <a:gd name="connsiteX36" fmla="*/ 896318 w 4520502"/>
              <a:gd name="connsiteY36" fmla="*/ 93867 h 664197"/>
              <a:gd name="connsiteX37" fmla="*/ 911817 w 4520502"/>
              <a:gd name="connsiteY37" fmla="*/ 136552 h 664197"/>
              <a:gd name="connsiteX38" fmla="*/ 917118 w 4520502"/>
              <a:gd name="connsiteY38" fmla="*/ 187744 h 664197"/>
              <a:gd name="connsiteX39" fmla="*/ 910919 w 4520502"/>
              <a:gd name="connsiteY39" fmla="*/ 235960 h 664197"/>
              <a:gd name="connsiteX40" fmla="*/ 893733 w 4520502"/>
              <a:gd name="connsiteY40" fmla="*/ 277492 h 664197"/>
              <a:gd name="connsiteX41" fmla="*/ 867680 w 4520502"/>
              <a:gd name="connsiteY41" fmla="*/ 313359 h 664197"/>
              <a:gd name="connsiteX42" fmla="*/ 834879 w 4520502"/>
              <a:gd name="connsiteY42" fmla="*/ 344580 h 664197"/>
              <a:gd name="connsiteX43" fmla="*/ 797447 w 4520502"/>
              <a:gd name="connsiteY43" fmla="*/ 372172 h 664197"/>
              <a:gd name="connsiteX44" fmla="*/ 757504 w 4520502"/>
              <a:gd name="connsiteY44" fmla="*/ 397155 h 664197"/>
              <a:gd name="connsiteX45" fmla="*/ 717169 w 4520502"/>
              <a:gd name="connsiteY45" fmla="*/ 420547 h 664197"/>
              <a:gd name="connsiteX46" fmla="*/ 667230 w 4520502"/>
              <a:gd name="connsiteY46" fmla="*/ 451574 h 664197"/>
              <a:gd name="connsiteX47" fmla="*/ 625297 w 4520502"/>
              <a:gd name="connsiteY47" fmla="*/ 484365 h 664197"/>
              <a:gd name="connsiteX48" fmla="*/ 594804 w 4520502"/>
              <a:gd name="connsiteY48" fmla="*/ 519270 h 664197"/>
              <a:gd name="connsiteX49" fmla="*/ 579184 w 4520502"/>
              <a:gd name="connsiteY49" fmla="*/ 556641 h 664197"/>
              <a:gd name="connsiteX50" fmla="*/ 801650 w 4520502"/>
              <a:gd name="connsiteY50" fmla="*/ 556641 h 664197"/>
              <a:gd name="connsiteX51" fmla="*/ 811975 w 4520502"/>
              <a:gd name="connsiteY51" fmla="*/ 485305 h 664197"/>
              <a:gd name="connsiteX52" fmla="*/ 904913 w 4520502"/>
              <a:gd name="connsiteY52" fmla="*/ 485305 h 664197"/>
              <a:gd name="connsiteX53" fmla="*/ 904901 w 4520502"/>
              <a:gd name="connsiteY53" fmla="*/ 664197 h 664197"/>
              <a:gd name="connsiteX54" fmla="*/ 4520502 w 4520502"/>
              <a:gd name="connsiteY54" fmla="*/ 664197 h 664197"/>
              <a:gd name="connsiteX0" fmla="*/ 234506 w 4305364"/>
              <a:gd name="connsiteY0" fmla="*/ 7505 h 664197"/>
              <a:gd name="connsiteX1" fmla="*/ 234506 w 4305364"/>
              <a:gd name="connsiteY1" fmla="*/ 126720 h 664197"/>
              <a:gd name="connsiteX2" fmla="*/ 0 w 4305364"/>
              <a:gd name="connsiteY2" fmla="*/ 664197 h 664197"/>
              <a:gd name="connsiteX3" fmla="*/ 242951 w 4305364"/>
              <a:gd name="connsiteY3" fmla="*/ 664197 h 664197"/>
              <a:gd name="connsiteX4" fmla="*/ 242951 w 4305364"/>
              <a:gd name="connsiteY4" fmla="*/ 605459 h 664197"/>
              <a:gd name="connsiteX5" fmla="*/ 248137 w 4305364"/>
              <a:gd name="connsiteY5" fmla="*/ 555903 h 664197"/>
              <a:gd name="connsiteX6" fmla="*/ 262601 w 4305364"/>
              <a:gd name="connsiteY6" fmla="*/ 512092 h 664197"/>
              <a:gd name="connsiteX7" fmla="*/ 284701 w 4305364"/>
              <a:gd name="connsiteY7" fmla="*/ 473223 h 664197"/>
              <a:gd name="connsiteX8" fmla="*/ 312794 w 4305364"/>
              <a:gd name="connsiteY8" fmla="*/ 438491 h 664197"/>
              <a:gd name="connsiteX9" fmla="*/ 345238 w 4305364"/>
              <a:gd name="connsiteY9" fmla="*/ 407092 h 664197"/>
              <a:gd name="connsiteX10" fmla="*/ 380391 w 4305364"/>
              <a:gd name="connsiteY10" fmla="*/ 378223 h 664197"/>
              <a:gd name="connsiteX11" fmla="*/ 416611 w 4305364"/>
              <a:gd name="connsiteY11" fmla="*/ 351078 h 664197"/>
              <a:gd name="connsiteX12" fmla="*/ 456985 w 4305364"/>
              <a:gd name="connsiteY12" fmla="*/ 321213 h 664197"/>
              <a:gd name="connsiteX13" fmla="*/ 493798 w 4305364"/>
              <a:gd name="connsiteY13" fmla="*/ 291481 h 664197"/>
              <a:gd name="connsiteX14" fmla="*/ 523943 w 4305364"/>
              <a:gd name="connsiteY14" fmla="*/ 260442 h 664197"/>
              <a:gd name="connsiteX15" fmla="*/ 544310 w 4305364"/>
              <a:gd name="connsiteY15" fmla="*/ 226656 h 664197"/>
              <a:gd name="connsiteX16" fmla="*/ 551790 w 4305364"/>
              <a:gd name="connsiteY16" fmla="*/ 188683 h 664197"/>
              <a:gd name="connsiteX17" fmla="*/ 546508 w 4305364"/>
              <a:gd name="connsiteY17" fmla="*/ 150394 h 664197"/>
              <a:gd name="connsiteX18" fmla="*/ 530665 w 4305364"/>
              <a:gd name="connsiteY18" fmla="*/ 121088 h 664197"/>
              <a:gd name="connsiteX19" fmla="*/ 504261 w 4305364"/>
              <a:gd name="connsiteY19" fmla="*/ 102344 h 664197"/>
              <a:gd name="connsiteX20" fmla="*/ 467297 w 4305364"/>
              <a:gd name="connsiteY20" fmla="*/ 95745 h 664197"/>
              <a:gd name="connsiteX21" fmla="*/ 426994 w 4305364"/>
              <a:gd name="connsiteY21" fmla="*/ 101524 h 664197"/>
              <a:gd name="connsiteX22" fmla="*/ 395491 w 4305364"/>
              <a:gd name="connsiteY22" fmla="*/ 117335 h 664197"/>
              <a:gd name="connsiteX23" fmla="*/ 371731 w 4305364"/>
              <a:gd name="connsiteY23" fmla="*/ 140890 h 664197"/>
              <a:gd name="connsiteX24" fmla="*/ 354660 w 4305364"/>
              <a:gd name="connsiteY24" fmla="*/ 169900 h 664197"/>
              <a:gd name="connsiteX25" fmla="*/ 272987 w 4305364"/>
              <a:gd name="connsiteY25" fmla="*/ 169900 h 664197"/>
              <a:gd name="connsiteX26" fmla="*/ 272987 w 4305364"/>
              <a:gd name="connsiteY26" fmla="*/ 35674 h 664197"/>
              <a:gd name="connsiteX27" fmla="*/ 317812 w 4305364"/>
              <a:gd name="connsiteY27" fmla="*/ 21388 h 664197"/>
              <a:gd name="connsiteX28" fmla="*/ 366157 w 4305364"/>
              <a:gd name="connsiteY28" fmla="*/ 10093 h 664197"/>
              <a:gd name="connsiteX29" fmla="*/ 417669 w 4305364"/>
              <a:gd name="connsiteY29" fmla="*/ 2670 h 664197"/>
              <a:gd name="connsiteX30" fmla="*/ 471996 w 4305364"/>
              <a:gd name="connsiteY30" fmla="*/ 0 h 664197"/>
              <a:gd name="connsiteX31" fmla="*/ 529366 w 4305364"/>
              <a:gd name="connsiteY31" fmla="*/ 3601 h 664197"/>
              <a:gd name="connsiteX32" fmla="*/ 579578 w 4305364"/>
              <a:gd name="connsiteY32" fmla="*/ 14558 h 664197"/>
              <a:gd name="connsiteX33" fmla="*/ 622022 w 4305364"/>
              <a:gd name="connsiteY33" fmla="*/ 33101 h 664197"/>
              <a:gd name="connsiteX34" fmla="*/ 656092 w 4305364"/>
              <a:gd name="connsiteY34" fmla="*/ 59461 h 664197"/>
              <a:gd name="connsiteX35" fmla="*/ 681180 w 4305364"/>
              <a:gd name="connsiteY35" fmla="*/ 93867 h 664197"/>
              <a:gd name="connsiteX36" fmla="*/ 696679 w 4305364"/>
              <a:gd name="connsiteY36" fmla="*/ 136552 h 664197"/>
              <a:gd name="connsiteX37" fmla="*/ 701980 w 4305364"/>
              <a:gd name="connsiteY37" fmla="*/ 187744 h 664197"/>
              <a:gd name="connsiteX38" fmla="*/ 695781 w 4305364"/>
              <a:gd name="connsiteY38" fmla="*/ 235960 h 664197"/>
              <a:gd name="connsiteX39" fmla="*/ 678595 w 4305364"/>
              <a:gd name="connsiteY39" fmla="*/ 277492 h 664197"/>
              <a:gd name="connsiteX40" fmla="*/ 652542 w 4305364"/>
              <a:gd name="connsiteY40" fmla="*/ 313359 h 664197"/>
              <a:gd name="connsiteX41" fmla="*/ 619741 w 4305364"/>
              <a:gd name="connsiteY41" fmla="*/ 344580 h 664197"/>
              <a:gd name="connsiteX42" fmla="*/ 582309 w 4305364"/>
              <a:gd name="connsiteY42" fmla="*/ 372172 h 664197"/>
              <a:gd name="connsiteX43" fmla="*/ 542366 w 4305364"/>
              <a:gd name="connsiteY43" fmla="*/ 397155 h 664197"/>
              <a:gd name="connsiteX44" fmla="*/ 502031 w 4305364"/>
              <a:gd name="connsiteY44" fmla="*/ 420547 h 664197"/>
              <a:gd name="connsiteX45" fmla="*/ 452092 w 4305364"/>
              <a:gd name="connsiteY45" fmla="*/ 451574 h 664197"/>
              <a:gd name="connsiteX46" fmla="*/ 410159 w 4305364"/>
              <a:gd name="connsiteY46" fmla="*/ 484365 h 664197"/>
              <a:gd name="connsiteX47" fmla="*/ 379666 w 4305364"/>
              <a:gd name="connsiteY47" fmla="*/ 519270 h 664197"/>
              <a:gd name="connsiteX48" fmla="*/ 364046 w 4305364"/>
              <a:gd name="connsiteY48" fmla="*/ 556641 h 664197"/>
              <a:gd name="connsiteX49" fmla="*/ 586512 w 4305364"/>
              <a:gd name="connsiteY49" fmla="*/ 556641 h 664197"/>
              <a:gd name="connsiteX50" fmla="*/ 596837 w 4305364"/>
              <a:gd name="connsiteY50" fmla="*/ 485305 h 664197"/>
              <a:gd name="connsiteX51" fmla="*/ 689775 w 4305364"/>
              <a:gd name="connsiteY51" fmla="*/ 485305 h 664197"/>
              <a:gd name="connsiteX52" fmla="*/ 689763 w 4305364"/>
              <a:gd name="connsiteY52" fmla="*/ 664197 h 664197"/>
              <a:gd name="connsiteX53" fmla="*/ 4305364 w 4305364"/>
              <a:gd name="connsiteY53" fmla="*/ 664197 h 664197"/>
              <a:gd name="connsiteX0" fmla="*/ 234506 w 4305364"/>
              <a:gd name="connsiteY0" fmla="*/ 126720 h 664197"/>
              <a:gd name="connsiteX1" fmla="*/ 0 w 4305364"/>
              <a:gd name="connsiteY1" fmla="*/ 664197 h 664197"/>
              <a:gd name="connsiteX2" fmla="*/ 242951 w 4305364"/>
              <a:gd name="connsiteY2" fmla="*/ 664197 h 664197"/>
              <a:gd name="connsiteX3" fmla="*/ 242951 w 4305364"/>
              <a:gd name="connsiteY3" fmla="*/ 605459 h 664197"/>
              <a:gd name="connsiteX4" fmla="*/ 248137 w 4305364"/>
              <a:gd name="connsiteY4" fmla="*/ 555903 h 664197"/>
              <a:gd name="connsiteX5" fmla="*/ 262601 w 4305364"/>
              <a:gd name="connsiteY5" fmla="*/ 512092 h 664197"/>
              <a:gd name="connsiteX6" fmla="*/ 284701 w 4305364"/>
              <a:gd name="connsiteY6" fmla="*/ 473223 h 664197"/>
              <a:gd name="connsiteX7" fmla="*/ 312794 w 4305364"/>
              <a:gd name="connsiteY7" fmla="*/ 438491 h 664197"/>
              <a:gd name="connsiteX8" fmla="*/ 345238 w 4305364"/>
              <a:gd name="connsiteY8" fmla="*/ 407092 h 664197"/>
              <a:gd name="connsiteX9" fmla="*/ 380391 w 4305364"/>
              <a:gd name="connsiteY9" fmla="*/ 378223 h 664197"/>
              <a:gd name="connsiteX10" fmla="*/ 416611 w 4305364"/>
              <a:gd name="connsiteY10" fmla="*/ 351078 h 664197"/>
              <a:gd name="connsiteX11" fmla="*/ 456985 w 4305364"/>
              <a:gd name="connsiteY11" fmla="*/ 321213 h 664197"/>
              <a:gd name="connsiteX12" fmla="*/ 493798 w 4305364"/>
              <a:gd name="connsiteY12" fmla="*/ 291481 h 664197"/>
              <a:gd name="connsiteX13" fmla="*/ 523943 w 4305364"/>
              <a:gd name="connsiteY13" fmla="*/ 260442 h 664197"/>
              <a:gd name="connsiteX14" fmla="*/ 544310 w 4305364"/>
              <a:gd name="connsiteY14" fmla="*/ 226656 h 664197"/>
              <a:gd name="connsiteX15" fmla="*/ 551790 w 4305364"/>
              <a:gd name="connsiteY15" fmla="*/ 188683 h 664197"/>
              <a:gd name="connsiteX16" fmla="*/ 546508 w 4305364"/>
              <a:gd name="connsiteY16" fmla="*/ 150394 h 664197"/>
              <a:gd name="connsiteX17" fmla="*/ 530665 w 4305364"/>
              <a:gd name="connsiteY17" fmla="*/ 121088 h 664197"/>
              <a:gd name="connsiteX18" fmla="*/ 504261 w 4305364"/>
              <a:gd name="connsiteY18" fmla="*/ 102344 h 664197"/>
              <a:gd name="connsiteX19" fmla="*/ 467297 w 4305364"/>
              <a:gd name="connsiteY19" fmla="*/ 95745 h 664197"/>
              <a:gd name="connsiteX20" fmla="*/ 426994 w 4305364"/>
              <a:gd name="connsiteY20" fmla="*/ 101524 h 664197"/>
              <a:gd name="connsiteX21" fmla="*/ 395491 w 4305364"/>
              <a:gd name="connsiteY21" fmla="*/ 117335 h 664197"/>
              <a:gd name="connsiteX22" fmla="*/ 371731 w 4305364"/>
              <a:gd name="connsiteY22" fmla="*/ 140890 h 664197"/>
              <a:gd name="connsiteX23" fmla="*/ 354660 w 4305364"/>
              <a:gd name="connsiteY23" fmla="*/ 169900 h 664197"/>
              <a:gd name="connsiteX24" fmla="*/ 272987 w 4305364"/>
              <a:gd name="connsiteY24" fmla="*/ 169900 h 664197"/>
              <a:gd name="connsiteX25" fmla="*/ 272987 w 4305364"/>
              <a:gd name="connsiteY25" fmla="*/ 35674 h 664197"/>
              <a:gd name="connsiteX26" fmla="*/ 317812 w 4305364"/>
              <a:gd name="connsiteY26" fmla="*/ 21388 h 664197"/>
              <a:gd name="connsiteX27" fmla="*/ 366157 w 4305364"/>
              <a:gd name="connsiteY27" fmla="*/ 10093 h 664197"/>
              <a:gd name="connsiteX28" fmla="*/ 417669 w 4305364"/>
              <a:gd name="connsiteY28" fmla="*/ 2670 h 664197"/>
              <a:gd name="connsiteX29" fmla="*/ 471996 w 4305364"/>
              <a:gd name="connsiteY29" fmla="*/ 0 h 664197"/>
              <a:gd name="connsiteX30" fmla="*/ 529366 w 4305364"/>
              <a:gd name="connsiteY30" fmla="*/ 3601 h 664197"/>
              <a:gd name="connsiteX31" fmla="*/ 579578 w 4305364"/>
              <a:gd name="connsiteY31" fmla="*/ 14558 h 664197"/>
              <a:gd name="connsiteX32" fmla="*/ 622022 w 4305364"/>
              <a:gd name="connsiteY32" fmla="*/ 33101 h 664197"/>
              <a:gd name="connsiteX33" fmla="*/ 656092 w 4305364"/>
              <a:gd name="connsiteY33" fmla="*/ 59461 h 664197"/>
              <a:gd name="connsiteX34" fmla="*/ 681180 w 4305364"/>
              <a:gd name="connsiteY34" fmla="*/ 93867 h 664197"/>
              <a:gd name="connsiteX35" fmla="*/ 696679 w 4305364"/>
              <a:gd name="connsiteY35" fmla="*/ 136552 h 664197"/>
              <a:gd name="connsiteX36" fmla="*/ 701980 w 4305364"/>
              <a:gd name="connsiteY36" fmla="*/ 187744 h 664197"/>
              <a:gd name="connsiteX37" fmla="*/ 695781 w 4305364"/>
              <a:gd name="connsiteY37" fmla="*/ 235960 h 664197"/>
              <a:gd name="connsiteX38" fmla="*/ 678595 w 4305364"/>
              <a:gd name="connsiteY38" fmla="*/ 277492 h 664197"/>
              <a:gd name="connsiteX39" fmla="*/ 652542 w 4305364"/>
              <a:gd name="connsiteY39" fmla="*/ 313359 h 664197"/>
              <a:gd name="connsiteX40" fmla="*/ 619741 w 4305364"/>
              <a:gd name="connsiteY40" fmla="*/ 344580 h 664197"/>
              <a:gd name="connsiteX41" fmla="*/ 582309 w 4305364"/>
              <a:gd name="connsiteY41" fmla="*/ 372172 h 664197"/>
              <a:gd name="connsiteX42" fmla="*/ 542366 w 4305364"/>
              <a:gd name="connsiteY42" fmla="*/ 397155 h 664197"/>
              <a:gd name="connsiteX43" fmla="*/ 502031 w 4305364"/>
              <a:gd name="connsiteY43" fmla="*/ 420547 h 664197"/>
              <a:gd name="connsiteX44" fmla="*/ 452092 w 4305364"/>
              <a:gd name="connsiteY44" fmla="*/ 451574 h 664197"/>
              <a:gd name="connsiteX45" fmla="*/ 410159 w 4305364"/>
              <a:gd name="connsiteY45" fmla="*/ 484365 h 664197"/>
              <a:gd name="connsiteX46" fmla="*/ 379666 w 4305364"/>
              <a:gd name="connsiteY46" fmla="*/ 519270 h 664197"/>
              <a:gd name="connsiteX47" fmla="*/ 364046 w 4305364"/>
              <a:gd name="connsiteY47" fmla="*/ 556641 h 664197"/>
              <a:gd name="connsiteX48" fmla="*/ 586512 w 4305364"/>
              <a:gd name="connsiteY48" fmla="*/ 556641 h 664197"/>
              <a:gd name="connsiteX49" fmla="*/ 596837 w 4305364"/>
              <a:gd name="connsiteY49" fmla="*/ 485305 h 664197"/>
              <a:gd name="connsiteX50" fmla="*/ 689775 w 4305364"/>
              <a:gd name="connsiteY50" fmla="*/ 485305 h 664197"/>
              <a:gd name="connsiteX51" fmla="*/ 689763 w 4305364"/>
              <a:gd name="connsiteY51" fmla="*/ 664197 h 664197"/>
              <a:gd name="connsiteX52" fmla="*/ 4305364 w 4305364"/>
              <a:gd name="connsiteY52" fmla="*/ 664197 h 664197"/>
              <a:gd name="connsiteX0" fmla="*/ 0 w 4305364"/>
              <a:gd name="connsiteY0" fmla="*/ 664197 h 664197"/>
              <a:gd name="connsiteX1" fmla="*/ 242951 w 4305364"/>
              <a:gd name="connsiteY1" fmla="*/ 664197 h 664197"/>
              <a:gd name="connsiteX2" fmla="*/ 242951 w 4305364"/>
              <a:gd name="connsiteY2" fmla="*/ 605459 h 664197"/>
              <a:gd name="connsiteX3" fmla="*/ 248137 w 4305364"/>
              <a:gd name="connsiteY3" fmla="*/ 555903 h 664197"/>
              <a:gd name="connsiteX4" fmla="*/ 262601 w 4305364"/>
              <a:gd name="connsiteY4" fmla="*/ 512092 h 664197"/>
              <a:gd name="connsiteX5" fmla="*/ 284701 w 4305364"/>
              <a:gd name="connsiteY5" fmla="*/ 473223 h 664197"/>
              <a:gd name="connsiteX6" fmla="*/ 312794 w 4305364"/>
              <a:gd name="connsiteY6" fmla="*/ 438491 h 664197"/>
              <a:gd name="connsiteX7" fmla="*/ 345238 w 4305364"/>
              <a:gd name="connsiteY7" fmla="*/ 407092 h 664197"/>
              <a:gd name="connsiteX8" fmla="*/ 380391 w 4305364"/>
              <a:gd name="connsiteY8" fmla="*/ 378223 h 664197"/>
              <a:gd name="connsiteX9" fmla="*/ 416611 w 4305364"/>
              <a:gd name="connsiteY9" fmla="*/ 351078 h 664197"/>
              <a:gd name="connsiteX10" fmla="*/ 456985 w 4305364"/>
              <a:gd name="connsiteY10" fmla="*/ 321213 h 664197"/>
              <a:gd name="connsiteX11" fmla="*/ 493798 w 4305364"/>
              <a:gd name="connsiteY11" fmla="*/ 291481 h 664197"/>
              <a:gd name="connsiteX12" fmla="*/ 523943 w 4305364"/>
              <a:gd name="connsiteY12" fmla="*/ 260442 h 664197"/>
              <a:gd name="connsiteX13" fmla="*/ 544310 w 4305364"/>
              <a:gd name="connsiteY13" fmla="*/ 226656 h 664197"/>
              <a:gd name="connsiteX14" fmla="*/ 551790 w 4305364"/>
              <a:gd name="connsiteY14" fmla="*/ 188683 h 664197"/>
              <a:gd name="connsiteX15" fmla="*/ 546508 w 4305364"/>
              <a:gd name="connsiteY15" fmla="*/ 150394 h 664197"/>
              <a:gd name="connsiteX16" fmla="*/ 530665 w 4305364"/>
              <a:gd name="connsiteY16" fmla="*/ 121088 h 664197"/>
              <a:gd name="connsiteX17" fmla="*/ 504261 w 4305364"/>
              <a:gd name="connsiteY17" fmla="*/ 102344 h 664197"/>
              <a:gd name="connsiteX18" fmla="*/ 467297 w 4305364"/>
              <a:gd name="connsiteY18" fmla="*/ 95745 h 664197"/>
              <a:gd name="connsiteX19" fmla="*/ 426994 w 4305364"/>
              <a:gd name="connsiteY19" fmla="*/ 101524 h 664197"/>
              <a:gd name="connsiteX20" fmla="*/ 395491 w 4305364"/>
              <a:gd name="connsiteY20" fmla="*/ 117335 h 664197"/>
              <a:gd name="connsiteX21" fmla="*/ 371731 w 4305364"/>
              <a:gd name="connsiteY21" fmla="*/ 140890 h 664197"/>
              <a:gd name="connsiteX22" fmla="*/ 354660 w 4305364"/>
              <a:gd name="connsiteY22" fmla="*/ 169900 h 664197"/>
              <a:gd name="connsiteX23" fmla="*/ 272987 w 4305364"/>
              <a:gd name="connsiteY23" fmla="*/ 169900 h 664197"/>
              <a:gd name="connsiteX24" fmla="*/ 272987 w 4305364"/>
              <a:gd name="connsiteY24" fmla="*/ 35674 h 664197"/>
              <a:gd name="connsiteX25" fmla="*/ 317812 w 4305364"/>
              <a:gd name="connsiteY25" fmla="*/ 21388 h 664197"/>
              <a:gd name="connsiteX26" fmla="*/ 366157 w 4305364"/>
              <a:gd name="connsiteY26" fmla="*/ 10093 h 664197"/>
              <a:gd name="connsiteX27" fmla="*/ 417669 w 4305364"/>
              <a:gd name="connsiteY27" fmla="*/ 2670 h 664197"/>
              <a:gd name="connsiteX28" fmla="*/ 471996 w 4305364"/>
              <a:gd name="connsiteY28" fmla="*/ 0 h 664197"/>
              <a:gd name="connsiteX29" fmla="*/ 529366 w 4305364"/>
              <a:gd name="connsiteY29" fmla="*/ 3601 h 664197"/>
              <a:gd name="connsiteX30" fmla="*/ 579578 w 4305364"/>
              <a:gd name="connsiteY30" fmla="*/ 14558 h 664197"/>
              <a:gd name="connsiteX31" fmla="*/ 622022 w 4305364"/>
              <a:gd name="connsiteY31" fmla="*/ 33101 h 664197"/>
              <a:gd name="connsiteX32" fmla="*/ 656092 w 4305364"/>
              <a:gd name="connsiteY32" fmla="*/ 59461 h 664197"/>
              <a:gd name="connsiteX33" fmla="*/ 681180 w 4305364"/>
              <a:gd name="connsiteY33" fmla="*/ 93867 h 664197"/>
              <a:gd name="connsiteX34" fmla="*/ 696679 w 4305364"/>
              <a:gd name="connsiteY34" fmla="*/ 136552 h 664197"/>
              <a:gd name="connsiteX35" fmla="*/ 701980 w 4305364"/>
              <a:gd name="connsiteY35" fmla="*/ 187744 h 664197"/>
              <a:gd name="connsiteX36" fmla="*/ 695781 w 4305364"/>
              <a:gd name="connsiteY36" fmla="*/ 235960 h 664197"/>
              <a:gd name="connsiteX37" fmla="*/ 678595 w 4305364"/>
              <a:gd name="connsiteY37" fmla="*/ 277492 h 664197"/>
              <a:gd name="connsiteX38" fmla="*/ 652542 w 4305364"/>
              <a:gd name="connsiteY38" fmla="*/ 313359 h 664197"/>
              <a:gd name="connsiteX39" fmla="*/ 619741 w 4305364"/>
              <a:gd name="connsiteY39" fmla="*/ 344580 h 664197"/>
              <a:gd name="connsiteX40" fmla="*/ 582309 w 4305364"/>
              <a:gd name="connsiteY40" fmla="*/ 372172 h 664197"/>
              <a:gd name="connsiteX41" fmla="*/ 542366 w 4305364"/>
              <a:gd name="connsiteY41" fmla="*/ 397155 h 664197"/>
              <a:gd name="connsiteX42" fmla="*/ 502031 w 4305364"/>
              <a:gd name="connsiteY42" fmla="*/ 420547 h 664197"/>
              <a:gd name="connsiteX43" fmla="*/ 452092 w 4305364"/>
              <a:gd name="connsiteY43" fmla="*/ 451574 h 664197"/>
              <a:gd name="connsiteX44" fmla="*/ 410159 w 4305364"/>
              <a:gd name="connsiteY44" fmla="*/ 484365 h 664197"/>
              <a:gd name="connsiteX45" fmla="*/ 379666 w 4305364"/>
              <a:gd name="connsiteY45" fmla="*/ 519270 h 664197"/>
              <a:gd name="connsiteX46" fmla="*/ 364046 w 4305364"/>
              <a:gd name="connsiteY46" fmla="*/ 556641 h 664197"/>
              <a:gd name="connsiteX47" fmla="*/ 586512 w 4305364"/>
              <a:gd name="connsiteY47" fmla="*/ 556641 h 664197"/>
              <a:gd name="connsiteX48" fmla="*/ 596837 w 4305364"/>
              <a:gd name="connsiteY48" fmla="*/ 485305 h 664197"/>
              <a:gd name="connsiteX49" fmla="*/ 689775 w 4305364"/>
              <a:gd name="connsiteY49" fmla="*/ 485305 h 664197"/>
              <a:gd name="connsiteX50" fmla="*/ 689763 w 4305364"/>
              <a:gd name="connsiteY50" fmla="*/ 664197 h 664197"/>
              <a:gd name="connsiteX51" fmla="*/ 4305364 w 4305364"/>
              <a:gd name="connsiteY51" fmla="*/ 664197 h 664197"/>
              <a:gd name="connsiteX0" fmla="*/ 0 w 4305364"/>
              <a:gd name="connsiteY0" fmla="*/ 664197 h 665298"/>
              <a:gd name="connsiteX1" fmla="*/ 134098 w 4305364"/>
              <a:gd name="connsiteY1" fmla="*/ 665157 h 665298"/>
              <a:gd name="connsiteX2" fmla="*/ 242951 w 4305364"/>
              <a:gd name="connsiteY2" fmla="*/ 664197 h 665298"/>
              <a:gd name="connsiteX3" fmla="*/ 242951 w 4305364"/>
              <a:gd name="connsiteY3" fmla="*/ 605459 h 665298"/>
              <a:gd name="connsiteX4" fmla="*/ 248137 w 4305364"/>
              <a:gd name="connsiteY4" fmla="*/ 555903 h 665298"/>
              <a:gd name="connsiteX5" fmla="*/ 262601 w 4305364"/>
              <a:gd name="connsiteY5" fmla="*/ 512092 h 665298"/>
              <a:gd name="connsiteX6" fmla="*/ 284701 w 4305364"/>
              <a:gd name="connsiteY6" fmla="*/ 473223 h 665298"/>
              <a:gd name="connsiteX7" fmla="*/ 312794 w 4305364"/>
              <a:gd name="connsiteY7" fmla="*/ 438491 h 665298"/>
              <a:gd name="connsiteX8" fmla="*/ 345238 w 4305364"/>
              <a:gd name="connsiteY8" fmla="*/ 407092 h 665298"/>
              <a:gd name="connsiteX9" fmla="*/ 380391 w 4305364"/>
              <a:gd name="connsiteY9" fmla="*/ 378223 h 665298"/>
              <a:gd name="connsiteX10" fmla="*/ 416611 w 4305364"/>
              <a:gd name="connsiteY10" fmla="*/ 351078 h 665298"/>
              <a:gd name="connsiteX11" fmla="*/ 456985 w 4305364"/>
              <a:gd name="connsiteY11" fmla="*/ 321213 h 665298"/>
              <a:gd name="connsiteX12" fmla="*/ 493798 w 4305364"/>
              <a:gd name="connsiteY12" fmla="*/ 291481 h 665298"/>
              <a:gd name="connsiteX13" fmla="*/ 523943 w 4305364"/>
              <a:gd name="connsiteY13" fmla="*/ 260442 h 665298"/>
              <a:gd name="connsiteX14" fmla="*/ 544310 w 4305364"/>
              <a:gd name="connsiteY14" fmla="*/ 226656 h 665298"/>
              <a:gd name="connsiteX15" fmla="*/ 551790 w 4305364"/>
              <a:gd name="connsiteY15" fmla="*/ 188683 h 665298"/>
              <a:gd name="connsiteX16" fmla="*/ 546508 w 4305364"/>
              <a:gd name="connsiteY16" fmla="*/ 150394 h 665298"/>
              <a:gd name="connsiteX17" fmla="*/ 530665 w 4305364"/>
              <a:gd name="connsiteY17" fmla="*/ 121088 h 665298"/>
              <a:gd name="connsiteX18" fmla="*/ 504261 w 4305364"/>
              <a:gd name="connsiteY18" fmla="*/ 102344 h 665298"/>
              <a:gd name="connsiteX19" fmla="*/ 467297 w 4305364"/>
              <a:gd name="connsiteY19" fmla="*/ 95745 h 665298"/>
              <a:gd name="connsiteX20" fmla="*/ 426994 w 4305364"/>
              <a:gd name="connsiteY20" fmla="*/ 101524 h 665298"/>
              <a:gd name="connsiteX21" fmla="*/ 395491 w 4305364"/>
              <a:gd name="connsiteY21" fmla="*/ 117335 h 665298"/>
              <a:gd name="connsiteX22" fmla="*/ 371731 w 4305364"/>
              <a:gd name="connsiteY22" fmla="*/ 140890 h 665298"/>
              <a:gd name="connsiteX23" fmla="*/ 354660 w 4305364"/>
              <a:gd name="connsiteY23" fmla="*/ 169900 h 665298"/>
              <a:gd name="connsiteX24" fmla="*/ 272987 w 4305364"/>
              <a:gd name="connsiteY24" fmla="*/ 169900 h 665298"/>
              <a:gd name="connsiteX25" fmla="*/ 272987 w 4305364"/>
              <a:gd name="connsiteY25" fmla="*/ 35674 h 665298"/>
              <a:gd name="connsiteX26" fmla="*/ 317812 w 4305364"/>
              <a:gd name="connsiteY26" fmla="*/ 21388 h 665298"/>
              <a:gd name="connsiteX27" fmla="*/ 366157 w 4305364"/>
              <a:gd name="connsiteY27" fmla="*/ 10093 h 665298"/>
              <a:gd name="connsiteX28" fmla="*/ 417669 w 4305364"/>
              <a:gd name="connsiteY28" fmla="*/ 2670 h 665298"/>
              <a:gd name="connsiteX29" fmla="*/ 471996 w 4305364"/>
              <a:gd name="connsiteY29" fmla="*/ 0 h 665298"/>
              <a:gd name="connsiteX30" fmla="*/ 529366 w 4305364"/>
              <a:gd name="connsiteY30" fmla="*/ 3601 h 665298"/>
              <a:gd name="connsiteX31" fmla="*/ 579578 w 4305364"/>
              <a:gd name="connsiteY31" fmla="*/ 14558 h 665298"/>
              <a:gd name="connsiteX32" fmla="*/ 622022 w 4305364"/>
              <a:gd name="connsiteY32" fmla="*/ 33101 h 665298"/>
              <a:gd name="connsiteX33" fmla="*/ 656092 w 4305364"/>
              <a:gd name="connsiteY33" fmla="*/ 59461 h 665298"/>
              <a:gd name="connsiteX34" fmla="*/ 681180 w 4305364"/>
              <a:gd name="connsiteY34" fmla="*/ 93867 h 665298"/>
              <a:gd name="connsiteX35" fmla="*/ 696679 w 4305364"/>
              <a:gd name="connsiteY35" fmla="*/ 136552 h 665298"/>
              <a:gd name="connsiteX36" fmla="*/ 701980 w 4305364"/>
              <a:gd name="connsiteY36" fmla="*/ 187744 h 665298"/>
              <a:gd name="connsiteX37" fmla="*/ 695781 w 4305364"/>
              <a:gd name="connsiteY37" fmla="*/ 235960 h 665298"/>
              <a:gd name="connsiteX38" fmla="*/ 678595 w 4305364"/>
              <a:gd name="connsiteY38" fmla="*/ 277492 h 665298"/>
              <a:gd name="connsiteX39" fmla="*/ 652542 w 4305364"/>
              <a:gd name="connsiteY39" fmla="*/ 313359 h 665298"/>
              <a:gd name="connsiteX40" fmla="*/ 619741 w 4305364"/>
              <a:gd name="connsiteY40" fmla="*/ 344580 h 665298"/>
              <a:gd name="connsiteX41" fmla="*/ 582309 w 4305364"/>
              <a:gd name="connsiteY41" fmla="*/ 372172 h 665298"/>
              <a:gd name="connsiteX42" fmla="*/ 542366 w 4305364"/>
              <a:gd name="connsiteY42" fmla="*/ 397155 h 665298"/>
              <a:gd name="connsiteX43" fmla="*/ 502031 w 4305364"/>
              <a:gd name="connsiteY43" fmla="*/ 420547 h 665298"/>
              <a:gd name="connsiteX44" fmla="*/ 452092 w 4305364"/>
              <a:gd name="connsiteY44" fmla="*/ 451574 h 665298"/>
              <a:gd name="connsiteX45" fmla="*/ 410159 w 4305364"/>
              <a:gd name="connsiteY45" fmla="*/ 484365 h 665298"/>
              <a:gd name="connsiteX46" fmla="*/ 379666 w 4305364"/>
              <a:gd name="connsiteY46" fmla="*/ 519270 h 665298"/>
              <a:gd name="connsiteX47" fmla="*/ 364046 w 4305364"/>
              <a:gd name="connsiteY47" fmla="*/ 556641 h 665298"/>
              <a:gd name="connsiteX48" fmla="*/ 586512 w 4305364"/>
              <a:gd name="connsiteY48" fmla="*/ 556641 h 665298"/>
              <a:gd name="connsiteX49" fmla="*/ 596837 w 4305364"/>
              <a:gd name="connsiteY49" fmla="*/ 485305 h 665298"/>
              <a:gd name="connsiteX50" fmla="*/ 689775 w 4305364"/>
              <a:gd name="connsiteY50" fmla="*/ 485305 h 665298"/>
              <a:gd name="connsiteX51" fmla="*/ 689763 w 4305364"/>
              <a:gd name="connsiteY51" fmla="*/ 664197 h 665298"/>
              <a:gd name="connsiteX52" fmla="*/ 4305364 w 4305364"/>
              <a:gd name="connsiteY52" fmla="*/ 664197 h 665298"/>
              <a:gd name="connsiteX0" fmla="*/ 0 w 4171266"/>
              <a:gd name="connsiteY0" fmla="*/ 665157 h 665157"/>
              <a:gd name="connsiteX1" fmla="*/ 108853 w 4171266"/>
              <a:gd name="connsiteY1" fmla="*/ 664197 h 665157"/>
              <a:gd name="connsiteX2" fmla="*/ 108853 w 4171266"/>
              <a:gd name="connsiteY2" fmla="*/ 605459 h 665157"/>
              <a:gd name="connsiteX3" fmla="*/ 114039 w 4171266"/>
              <a:gd name="connsiteY3" fmla="*/ 555903 h 665157"/>
              <a:gd name="connsiteX4" fmla="*/ 128503 w 4171266"/>
              <a:gd name="connsiteY4" fmla="*/ 512092 h 665157"/>
              <a:gd name="connsiteX5" fmla="*/ 150603 w 4171266"/>
              <a:gd name="connsiteY5" fmla="*/ 473223 h 665157"/>
              <a:gd name="connsiteX6" fmla="*/ 178696 w 4171266"/>
              <a:gd name="connsiteY6" fmla="*/ 438491 h 665157"/>
              <a:gd name="connsiteX7" fmla="*/ 211140 w 4171266"/>
              <a:gd name="connsiteY7" fmla="*/ 407092 h 665157"/>
              <a:gd name="connsiteX8" fmla="*/ 246293 w 4171266"/>
              <a:gd name="connsiteY8" fmla="*/ 378223 h 665157"/>
              <a:gd name="connsiteX9" fmla="*/ 282513 w 4171266"/>
              <a:gd name="connsiteY9" fmla="*/ 351078 h 665157"/>
              <a:gd name="connsiteX10" fmla="*/ 322887 w 4171266"/>
              <a:gd name="connsiteY10" fmla="*/ 321213 h 665157"/>
              <a:gd name="connsiteX11" fmla="*/ 359700 w 4171266"/>
              <a:gd name="connsiteY11" fmla="*/ 291481 h 665157"/>
              <a:gd name="connsiteX12" fmla="*/ 389845 w 4171266"/>
              <a:gd name="connsiteY12" fmla="*/ 260442 h 665157"/>
              <a:gd name="connsiteX13" fmla="*/ 410212 w 4171266"/>
              <a:gd name="connsiteY13" fmla="*/ 226656 h 665157"/>
              <a:gd name="connsiteX14" fmla="*/ 417692 w 4171266"/>
              <a:gd name="connsiteY14" fmla="*/ 188683 h 665157"/>
              <a:gd name="connsiteX15" fmla="*/ 412410 w 4171266"/>
              <a:gd name="connsiteY15" fmla="*/ 150394 h 665157"/>
              <a:gd name="connsiteX16" fmla="*/ 396567 w 4171266"/>
              <a:gd name="connsiteY16" fmla="*/ 121088 h 665157"/>
              <a:gd name="connsiteX17" fmla="*/ 370163 w 4171266"/>
              <a:gd name="connsiteY17" fmla="*/ 102344 h 665157"/>
              <a:gd name="connsiteX18" fmla="*/ 333199 w 4171266"/>
              <a:gd name="connsiteY18" fmla="*/ 95745 h 665157"/>
              <a:gd name="connsiteX19" fmla="*/ 292896 w 4171266"/>
              <a:gd name="connsiteY19" fmla="*/ 101524 h 665157"/>
              <a:gd name="connsiteX20" fmla="*/ 261393 w 4171266"/>
              <a:gd name="connsiteY20" fmla="*/ 117335 h 665157"/>
              <a:gd name="connsiteX21" fmla="*/ 237633 w 4171266"/>
              <a:gd name="connsiteY21" fmla="*/ 140890 h 665157"/>
              <a:gd name="connsiteX22" fmla="*/ 220562 w 4171266"/>
              <a:gd name="connsiteY22" fmla="*/ 169900 h 665157"/>
              <a:gd name="connsiteX23" fmla="*/ 138889 w 4171266"/>
              <a:gd name="connsiteY23" fmla="*/ 169900 h 665157"/>
              <a:gd name="connsiteX24" fmla="*/ 138889 w 4171266"/>
              <a:gd name="connsiteY24" fmla="*/ 35674 h 665157"/>
              <a:gd name="connsiteX25" fmla="*/ 183714 w 4171266"/>
              <a:gd name="connsiteY25" fmla="*/ 21388 h 665157"/>
              <a:gd name="connsiteX26" fmla="*/ 232059 w 4171266"/>
              <a:gd name="connsiteY26" fmla="*/ 10093 h 665157"/>
              <a:gd name="connsiteX27" fmla="*/ 283571 w 4171266"/>
              <a:gd name="connsiteY27" fmla="*/ 2670 h 665157"/>
              <a:gd name="connsiteX28" fmla="*/ 337898 w 4171266"/>
              <a:gd name="connsiteY28" fmla="*/ 0 h 665157"/>
              <a:gd name="connsiteX29" fmla="*/ 395268 w 4171266"/>
              <a:gd name="connsiteY29" fmla="*/ 3601 h 665157"/>
              <a:gd name="connsiteX30" fmla="*/ 445480 w 4171266"/>
              <a:gd name="connsiteY30" fmla="*/ 14558 h 665157"/>
              <a:gd name="connsiteX31" fmla="*/ 487924 w 4171266"/>
              <a:gd name="connsiteY31" fmla="*/ 33101 h 665157"/>
              <a:gd name="connsiteX32" fmla="*/ 521994 w 4171266"/>
              <a:gd name="connsiteY32" fmla="*/ 59461 h 665157"/>
              <a:gd name="connsiteX33" fmla="*/ 547082 w 4171266"/>
              <a:gd name="connsiteY33" fmla="*/ 93867 h 665157"/>
              <a:gd name="connsiteX34" fmla="*/ 562581 w 4171266"/>
              <a:gd name="connsiteY34" fmla="*/ 136552 h 665157"/>
              <a:gd name="connsiteX35" fmla="*/ 567882 w 4171266"/>
              <a:gd name="connsiteY35" fmla="*/ 187744 h 665157"/>
              <a:gd name="connsiteX36" fmla="*/ 561683 w 4171266"/>
              <a:gd name="connsiteY36" fmla="*/ 235960 h 665157"/>
              <a:gd name="connsiteX37" fmla="*/ 544497 w 4171266"/>
              <a:gd name="connsiteY37" fmla="*/ 277492 h 665157"/>
              <a:gd name="connsiteX38" fmla="*/ 518444 w 4171266"/>
              <a:gd name="connsiteY38" fmla="*/ 313359 h 665157"/>
              <a:gd name="connsiteX39" fmla="*/ 485643 w 4171266"/>
              <a:gd name="connsiteY39" fmla="*/ 344580 h 665157"/>
              <a:gd name="connsiteX40" fmla="*/ 448211 w 4171266"/>
              <a:gd name="connsiteY40" fmla="*/ 372172 h 665157"/>
              <a:gd name="connsiteX41" fmla="*/ 408268 w 4171266"/>
              <a:gd name="connsiteY41" fmla="*/ 397155 h 665157"/>
              <a:gd name="connsiteX42" fmla="*/ 367933 w 4171266"/>
              <a:gd name="connsiteY42" fmla="*/ 420547 h 665157"/>
              <a:gd name="connsiteX43" fmla="*/ 317994 w 4171266"/>
              <a:gd name="connsiteY43" fmla="*/ 451574 h 665157"/>
              <a:gd name="connsiteX44" fmla="*/ 276061 w 4171266"/>
              <a:gd name="connsiteY44" fmla="*/ 484365 h 665157"/>
              <a:gd name="connsiteX45" fmla="*/ 245568 w 4171266"/>
              <a:gd name="connsiteY45" fmla="*/ 519270 h 665157"/>
              <a:gd name="connsiteX46" fmla="*/ 229948 w 4171266"/>
              <a:gd name="connsiteY46" fmla="*/ 556641 h 665157"/>
              <a:gd name="connsiteX47" fmla="*/ 452414 w 4171266"/>
              <a:gd name="connsiteY47" fmla="*/ 556641 h 665157"/>
              <a:gd name="connsiteX48" fmla="*/ 462739 w 4171266"/>
              <a:gd name="connsiteY48" fmla="*/ 485305 h 665157"/>
              <a:gd name="connsiteX49" fmla="*/ 555677 w 4171266"/>
              <a:gd name="connsiteY49" fmla="*/ 485305 h 665157"/>
              <a:gd name="connsiteX50" fmla="*/ 555665 w 4171266"/>
              <a:gd name="connsiteY50" fmla="*/ 664197 h 665157"/>
              <a:gd name="connsiteX51" fmla="*/ 4171266 w 4171266"/>
              <a:gd name="connsiteY51" fmla="*/ 664197 h 665157"/>
              <a:gd name="connsiteX0" fmla="*/ 0 w 567882"/>
              <a:gd name="connsiteY0" fmla="*/ 665157 h 665157"/>
              <a:gd name="connsiteX1" fmla="*/ 108853 w 567882"/>
              <a:gd name="connsiteY1" fmla="*/ 664197 h 665157"/>
              <a:gd name="connsiteX2" fmla="*/ 108853 w 567882"/>
              <a:gd name="connsiteY2" fmla="*/ 605459 h 665157"/>
              <a:gd name="connsiteX3" fmla="*/ 114039 w 567882"/>
              <a:gd name="connsiteY3" fmla="*/ 555903 h 665157"/>
              <a:gd name="connsiteX4" fmla="*/ 128503 w 567882"/>
              <a:gd name="connsiteY4" fmla="*/ 512092 h 665157"/>
              <a:gd name="connsiteX5" fmla="*/ 150603 w 567882"/>
              <a:gd name="connsiteY5" fmla="*/ 473223 h 665157"/>
              <a:gd name="connsiteX6" fmla="*/ 178696 w 567882"/>
              <a:gd name="connsiteY6" fmla="*/ 438491 h 665157"/>
              <a:gd name="connsiteX7" fmla="*/ 211140 w 567882"/>
              <a:gd name="connsiteY7" fmla="*/ 407092 h 665157"/>
              <a:gd name="connsiteX8" fmla="*/ 246293 w 567882"/>
              <a:gd name="connsiteY8" fmla="*/ 378223 h 665157"/>
              <a:gd name="connsiteX9" fmla="*/ 282513 w 567882"/>
              <a:gd name="connsiteY9" fmla="*/ 351078 h 665157"/>
              <a:gd name="connsiteX10" fmla="*/ 322887 w 567882"/>
              <a:gd name="connsiteY10" fmla="*/ 321213 h 665157"/>
              <a:gd name="connsiteX11" fmla="*/ 359700 w 567882"/>
              <a:gd name="connsiteY11" fmla="*/ 291481 h 665157"/>
              <a:gd name="connsiteX12" fmla="*/ 389845 w 567882"/>
              <a:gd name="connsiteY12" fmla="*/ 260442 h 665157"/>
              <a:gd name="connsiteX13" fmla="*/ 410212 w 567882"/>
              <a:gd name="connsiteY13" fmla="*/ 226656 h 665157"/>
              <a:gd name="connsiteX14" fmla="*/ 417692 w 567882"/>
              <a:gd name="connsiteY14" fmla="*/ 188683 h 665157"/>
              <a:gd name="connsiteX15" fmla="*/ 412410 w 567882"/>
              <a:gd name="connsiteY15" fmla="*/ 150394 h 665157"/>
              <a:gd name="connsiteX16" fmla="*/ 396567 w 567882"/>
              <a:gd name="connsiteY16" fmla="*/ 121088 h 665157"/>
              <a:gd name="connsiteX17" fmla="*/ 370163 w 567882"/>
              <a:gd name="connsiteY17" fmla="*/ 102344 h 665157"/>
              <a:gd name="connsiteX18" fmla="*/ 333199 w 567882"/>
              <a:gd name="connsiteY18" fmla="*/ 95745 h 665157"/>
              <a:gd name="connsiteX19" fmla="*/ 292896 w 567882"/>
              <a:gd name="connsiteY19" fmla="*/ 101524 h 665157"/>
              <a:gd name="connsiteX20" fmla="*/ 261393 w 567882"/>
              <a:gd name="connsiteY20" fmla="*/ 117335 h 665157"/>
              <a:gd name="connsiteX21" fmla="*/ 237633 w 567882"/>
              <a:gd name="connsiteY21" fmla="*/ 140890 h 665157"/>
              <a:gd name="connsiteX22" fmla="*/ 220562 w 567882"/>
              <a:gd name="connsiteY22" fmla="*/ 169900 h 665157"/>
              <a:gd name="connsiteX23" fmla="*/ 138889 w 567882"/>
              <a:gd name="connsiteY23" fmla="*/ 169900 h 665157"/>
              <a:gd name="connsiteX24" fmla="*/ 138889 w 567882"/>
              <a:gd name="connsiteY24" fmla="*/ 35674 h 665157"/>
              <a:gd name="connsiteX25" fmla="*/ 183714 w 567882"/>
              <a:gd name="connsiteY25" fmla="*/ 21388 h 665157"/>
              <a:gd name="connsiteX26" fmla="*/ 232059 w 567882"/>
              <a:gd name="connsiteY26" fmla="*/ 10093 h 665157"/>
              <a:gd name="connsiteX27" fmla="*/ 283571 w 567882"/>
              <a:gd name="connsiteY27" fmla="*/ 2670 h 665157"/>
              <a:gd name="connsiteX28" fmla="*/ 337898 w 567882"/>
              <a:gd name="connsiteY28" fmla="*/ 0 h 665157"/>
              <a:gd name="connsiteX29" fmla="*/ 395268 w 567882"/>
              <a:gd name="connsiteY29" fmla="*/ 3601 h 665157"/>
              <a:gd name="connsiteX30" fmla="*/ 445480 w 567882"/>
              <a:gd name="connsiteY30" fmla="*/ 14558 h 665157"/>
              <a:gd name="connsiteX31" fmla="*/ 487924 w 567882"/>
              <a:gd name="connsiteY31" fmla="*/ 33101 h 665157"/>
              <a:gd name="connsiteX32" fmla="*/ 521994 w 567882"/>
              <a:gd name="connsiteY32" fmla="*/ 59461 h 665157"/>
              <a:gd name="connsiteX33" fmla="*/ 547082 w 567882"/>
              <a:gd name="connsiteY33" fmla="*/ 93867 h 665157"/>
              <a:gd name="connsiteX34" fmla="*/ 562581 w 567882"/>
              <a:gd name="connsiteY34" fmla="*/ 136552 h 665157"/>
              <a:gd name="connsiteX35" fmla="*/ 567882 w 567882"/>
              <a:gd name="connsiteY35" fmla="*/ 187744 h 665157"/>
              <a:gd name="connsiteX36" fmla="*/ 561683 w 567882"/>
              <a:gd name="connsiteY36" fmla="*/ 235960 h 665157"/>
              <a:gd name="connsiteX37" fmla="*/ 544497 w 567882"/>
              <a:gd name="connsiteY37" fmla="*/ 277492 h 665157"/>
              <a:gd name="connsiteX38" fmla="*/ 518444 w 567882"/>
              <a:gd name="connsiteY38" fmla="*/ 313359 h 665157"/>
              <a:gd name="connsiteX39" fmla="*/ 485643 w 567882"/>
              <a:gd name="connsiteY39" fmla="*/ 344580 h 665157"/>
              <a:gd name="connsiteX40" fmla="*/ 448211 w 567882"/>
              <a:gd name="connsiteY40" fmla="*/ 372172 h 665157"/>
              <a:gd name="connsiteX41" fmla="*/ 408268 w 567882"/>
              <a:gd name="connsiteY41" fmla="*/ 397155 h 665157"/>
              <a:gd name="connsiteX42" fmla="*/ 367933 w 567882"/>
              <a:gd name="connsiteY42" fmla="*/ 420547 h 665157"/>
              <a:gd name="connsiteX43" fmla="*/ 317994 w 567882"/>
              <a:gd name="connsiteY43" fmla="*/ 451574 h 665157"/>
              <a:gd name="connsiteX44" fmla="*/ 276061 w 567882"/>
              <a:gd name="connsiteY44" fmla="*/ 484365 h 665157"/>
              <a:gd name="connsiteX45" fmla="*/ 245568 w 567882"/>
              <a:gd name="connsiteY45" fmla="*/ 519270 h 665157"/>
              <a:gd name="connsiteX46" fmla="*/ 229948 w 567882"/>
              <a:gd name="connsiteY46" fmla="*/ 556641 h 665157"/>
              <a:gd name="connsiteX47" fmla="*/ 452414 w 567882"/>
              <a:gd name="connsiteY47" fmla="*/ 556641 h 665157"/>
              <a:gd name="connsiteX48" fmla="*/ 462739 w 567882"/>
              <a:gd name="connsiteY48" fmla="*/ 485305 h 665157"/>
              <a:gd name="connsiteX49" fmla="*/ 555677 w 567882"/>
              <a:gd name="connsiteY49" fmla="*/ 485305 h 665157"/>
              <a:gd name="connsiteX50" fmla="*/ 555665 w 567882"/>
              <a:gd name="connsiteY50" fmla="*/ 664197 h 665157"/>
              <a:gd name="connsiteX0" fmla="*/ 0 w 575572"/>
              <a:gd name="connsiteY0" fmla="*/ 667080 h 667080"/>
              <a:gd name="connsiteX1" fmla="*/ 116543 w 575572"/>
              <a:gd name="connsiteY1" fmla="*/ 664197 h 667080"/>
              <a:gd name="connsiteX2" fmla="*/ 116543 w 575572"/>
              <a:gd name="connsiteY2" fmla="*/ 605459 h 667080"/>
              <a:gd name="connsiteX3" fmla="*/ 121729 w 575572"/>
              <a:gd name="connsiteY3" fmla="*/ 555903 h 667080"/>
              <a:gd name="connsiteX4" fmla="*/ 136193 w 575572"/>
              <a:gd name="connsiteY4" fmla="*/ 512092 h 667080"/>
              <a:gd name="connsiteX5" fmla="*/ 158293 w 575572"/>
              <a:gd name="connsiteY5" fmla="*/ 473223 h 667080"/>
              <a:gd name="connsiteX6" fmla="*/ 186386 w 575572"/>
              <a:gd name="connsiteY6" fmla="*/ 438491 h 667080"/>
              <a:gd name="connsiteX7" fmla="*/ 218830 w 575572"/>
              <a:gd name="connsiteY7" fmla="*/ 407092 h 667080"/>
              <a:gd name="connsiteX8" fmla="*/ 253983 w 575572"/>
              <a:gd name="connsiteY8" fmla="*/ 378223 h 667080"/>
              <a:gd name="connsiteX9" fmla="*/ 290203 w 575572"/>
              <a:gd name="connsiteY9" fmla="*/ 351078 h 667080"/>
              <a:gd name="connsiteX10" fmla="*/ 330577 w 575572"/>
              <a:gd name="connsiteY10" fmla="*/ 321213 h 667080"/>
              <a:gd name="connsiteX11" fmla="*/ 367390 w 575572"/>
              <a:gd name="connsiteY11" fmla="*/ 291481 h 667080"/>
              <a:gd name="connsiteX12" fmla="*/ 397535 w 575572"/>
              <a:gd name="connsiteY12" fmla="*/ 260442 h 667080"/>
              <a:gd name="connsiteX13" fmla="*/ 417902 w 575572"/>
              <a:gd name="connsiteY13" fmla="*/ 226656 h 667080"/>
              <a:gd name="connsiteX14" fmla="*/ 425382 w 575572"/>
              <a:gd name="connsiteY14" fmla="*/ 188683 h 667080"/>
              <a:gd name="connsiteX15" fmla="*/ 420100 w 575572"/>
              <a:gd name="connsiteY15" fmla="*/ 150394 h 667080"/>
              <a:gd name="connsiteX16" fmla="*/ 404257 w 575572"/>
              <a:gd name="connsiteY16" fmla="*/ 121088 h 667080"/>
              <a:gd name="connsiteX17" fmla="*/ 377853 w 575572"/>
              <a:gd name="connsiteY17" fmla="*/ 102344 h 667080"/>
              <a:gd name="connsiteX18" fmla="*/ 340889 w 575572"/>
              <a:gd name="connsiteY18" fmla="*/ 95745 h 667080"/>
              <a:gd name="connsiteX19" fmla="*/ 300586 w 575572"/>
              <a:gd name="connsiteY19" fmla="*/ 101524 h 667080"/>
              <a:gd name="connsiteX20" fmla="*/ 269083 w 575572"/>
              <a:gd name="connsiteY20" fmla="*/ 117335 h 667080"/>
              <a:gd name="connsiteX21" fmla="*/ 245323 w 575572"/>
              <a:gd name="connsiteY21" fmla="*/ 140890 h 667080"/>
              <a:gd name="connsiteX22" fmla="*/ 228252 w 575572"/>
              <a:gd name="connsiteY22" fmla="*/ 169900 h 667080"/>
              <a:gd name="connsiteX23" fmla="*/ 146579 w 575572"/>
              <a:gd name="connsiteY23" fmla="*/ 169900 h 667080"/>
              <a:gd name="connsiteX24" fmla="*/ 146579 w 575572"/>
              <a:gd name="connsiteY24" fmla="*/ 35674 h 667080"/>
              <a:gd name="connsiteX25" fmla="*/ 191404 w 575572"/>
              <a:gd name="connsiteY25" fmla="*/ 21388 h 667080"/>
              <a:gd name="connsiteX26" fmla="*/ 239749 w 575572"/>
              <a:gd name="connsiteY26" fmla="*/ 10093 h 667080"/>
              <a:gd name="connsiteX27" fmla="*/ 291261 w 575572"/>
              <a:gd name="connsiteY27" fmla="*/ 2670 h 667080"/>
              <a:gd name="connsiteX28" fmla="*/ 345588 w 575572"/>
              <a:gd name="connsiteY28" fmla="*/ 0 h 667080"/>
              <a:gd name="connsiteX29" fmla="*/ 402958 w 575572"/>
              <a:gd name="connsiteY29" fmla="*/ 3601 h 667080"/>
              <a:gd name="connsiteX30" fmla="*/ 453170 w 575572"/>
              <a:gd name="connsiteY30" fmla="*/ 14558 h 667080"/>
              <a:gd name="connsiteX31" fmla="*/ 495614 w 575572"/>
              <a:gd name="connsiteY31" fmla="*/ 33101 h 667080"/>
              <a:gd name="connsiteX32" fmla="*/ 529684 w 575572"/>
              <a:gd name="connsiteY32" fmla="*/ 59461 h 667080"/>
              <a:gd name="connsiteX33" fmla="*/ 554772 w 575572"/>
              <a:gd name="connsiteY33" fmla="*/ 93867 h 667080"/>
              <a:gd name="connsiteX34" fmla="*/ 570271 w 575572"/>
              <a:gd name="connsiteY34" fmla="*/ 136552 h 667080"/>
              <a:gd name="connsiteX35" fmla="*/ 575572 w 575572"/>
              <a:gd name="connsiteY35" fmla="*/ 187744 h 667080"/>
              <a:gd name="connsiteX36" fmla="*/ 569373 w 575572"/>
              <a:gd name="connsiteY36" fmla="*/ 235960 h 667080"/>
              <a:gd name="connsiteX37" fmla="*/ 552187 w 575572"/>
              <a:gd name="connsiteY37" fmla="*/ 277492 h 667080"/>
              <a:gd name="connsiteX38" fmla="*/ 526134 w 575572"/>
              <a:gd name="connsiteY38" fmla="*/ 313359 h 667080"/>
              <a:gd name="connsiteX39" fmla="*/ 493333 w 575572"/>
              <a:gd name="connsiteY39" fmla="*/ 344580 h 667080"/>
              <a:gd name="connsiteX40" fmla="*/ 455901 w 575572"/>
              <a:gd name="connsiteY40" fmla="*/ 372172 h 667080"/>
              <a:gd name="connsiteX41" fmla="*/ 415958 w 575572"/>
              <a:gd name="connsiteY41" fmla="*/ 397155 h 667080"/>
              <a:gd name="connsiteX42" fmla="*/ 375623 w 575572"/>
              <a:gd name="connsiteY42" fmla="*/ 420547 h 667080"/>
              <a:gd name="connsiteX43" fmla="*/ 325684 w 575572"/>
              <a:gd name="connsiteY43" fmla="*/ 451574 h 667080"/>
              <a:gd name="connsiteX44" fmla="*/ 283751 w 575572"/>
              <a:gd name="connsiteY44" fmla="*/ 484365 h 667080"/>
              <a:gd name="connsiteX45" fmla="*/ 253258 w 575572"/>
              <a:gd name="connsiteY45" fmla="*/ 519270 h 667080"/>
              <a:gd name="connsiteX46" fmla="*/ 237638 w 575572"/>
              <a:gd name="connsiteY46" fmla="*/ 556641 h 667080"/>
              <a:gd name="connsiteX47" fmla="*/ 460104 w 575572"/>
              <a:gd name="connsiteY47" fmla="*/ 556641 h 667080"/>
              <a:gd name="connsiteX48" fmla="*/ 470429 w 575572"/>
              <a:gd name="connsiteY48" fmla="*/ 485305 h 667080"/>
              <a:gd name="connsiteX49" fmla="*/ 563367 w 575572"/>
              <a:gd name="connsiteY49" fmla="*/ 485305 h 667080"/>
              <a:gd name="connsiteX50" fmla="*/ 563355 w 575572"/>
              <a:gd name="connsiteY50" fmla="*/ 664197 h 667080"/>
              <a:gd name="connsiteX0" fmla="*/ 0 w 577494"/>
              <a:gd name="connsiteY0" fmla="*/ 663233 h 664197"/>
              <a:gd name="connsiteX1" fmla="*/ 118465 w 577494"/>
              <a:gd name="connsiteY1" fmla="*/ 664197 h 664197"/>
              <a:gd name="connsiteX2" fmla="*/ 118465 w 577494"/>
              <a:gd name="connsiteY2" fmla="*/ 605459 h 664197"/>
              <a:gd name="connsiteX3" fmla="*/ 123651 w 577494"/>
              <a:gd name="connsiteY3" fmla="*/ 555903 h 664197"/>
              <a:gd name="connsiteX4" fmla="*/ 138115 w 577494"/>
              <a:gd name="connsiteY4" fmla="*/ 512092 h 664197"/>
              <a:gd name="connsiteX5" fmla="*/ 160215 w 577494"/>
              <a:gd name="connsiteY5" fmla="*/ 473223 h 664197"/>
              <a:gd name="connsiteX6" fmla="*/ 188308 w 577494"/>
              <a:gd name="connsiteY6" fmla="*/ 438491 h 664197"/>
              <a:gd name="connsiteX7" fmla="*/ 220752 w 577494"/>
              <a:gd name="connsiteY7" fmla="*/ 407092 h 664197"/>
              <a:gd name="connsiteX8" fmla="*/ 255905 w 577494"/>
              <a:gd name="connsiteY8" fmla="*/ 378223 h 664197"/>
              <a:gd name="connsiteX9" fmla="*/ 292125 w 577494"/>
              <a:gd name="connsiteY9" fmla="*/ 351078 h 664197"/>
              <a:gd name="connsiteX10" fmla="*/ 332499 w 577494"/>
              <a:gd name="connsiteY10" fmla="*/ 321213 h 664197"/>
              <a:gd name="connsiteX11" fmla="*/ 369312 w 577494"/>
              <a:gd name="connsiteY11" fmla="*/ 291481 h 664197"/>
              <a:gd name="connsiteX12" fmla="*/ 399457 w 577494"/>
              <a:gd name="connsiteY12" fmla="*/ 260442 h 664197"/>
              <a:gd name="connsiteX13" fmla="*/ 419824 w 577494"/>
              <a:gd name="connsiteY13" fmla="*/ 226656 h 664197"/>
              <a:gd name="connsiteX14" fmla="*/ 427304 w 577494"/>
              <a:gd name="connsiteY14" fmla="*/ 188683 h 664197"/>
              <a:gd name="connsiteX15" fmla="*/ 422022 w 577494"/>
              <a:gd name="connsiteY15" fmla="*/ 150394 h 664197"/>
              <a:gd name="connsiteX16" fmla="*/ 406179 w 577494"/>
              <a:gd name="connsiteY16" fmla="*/ 121088 h 664197"/>
              <a:gd name="connsiteX17" fmla="*/ 379775 w 577494"/>
              <a:gd name="connsiteY17" fmla="*/ 102344 h 664197"/>
              <a:gd name="connsiteX18" fmla="*/ 342811 w 577494"/>
              <a:gd name="connsiteY18" fmla="*/ 95745 h 664197"/>
              <a:gd name="connsiteX19" fmla="*/ 302508 w 577494"/>
              <a:gd name="connsiteY19" fmla="*/ 101524 h 664197"/>
              <a:gd name="connsiteX20" fmla="*/ 271005 w 577494"/>
              <a:gd name="connsiteY20" fmla="*/ 117335 h 664197"/>
              <a:gd name="connsiteX21" fmla="*/ 247245 w 577494"/>
              <a:gd name="connsiteY21" fmla="*/ 140890 h 664197"/>
              <a:gd name="connsiteX22" fmla="*/ 230174 w 577494"/>
              <a:gd name="connsiteY22" fmla="*/ 169900 h 664197"/>
              <a:gd name="connsiteX23" fmla="*/ 148501 w 577494"/>
              <a:gd name="connsiteY23" fmla="*/ 169900 h 664197"/>
              <a:gd name="connsiteX24" fmla="*/ 148501 w 577494"/>
              <a:gd name="connsiteY24" fmla="*/ 35674 h 664197"/>
              <a:gd name="connsiteX25" fmla="*/ 193326 w 577494"/>
              <a:gd name="connsiteY25" fmla="*/ 21388 h 664197"/>
              <a:gd name="connsiteX26" fmla="*/ 241671 w 577494"/>
              <a:gd name="connsiteY26" fmla="*/ 10093 h 664197"/>
              <a:gd name="connsiteX27" fmla="*/ 293183 w 577494"/>
              <a:gd name="connsiteY27" fmla="*/ 2670 h 664197"/>
              <a:gd name="connsiteX28" fmla="*/ 347510 w 577494"/>
              <a:gd name="connsiteY28" fmla="*/ 0 h 664197"/>
              <a:gd name="connsiteX29" fmla="*/ 404880 w 577494"/>
              <a:gd name="connsiteY29" fmla="*/ 3601 h 664197"/>
              <a:gd name="connsiteX30" fmla="*/ 455092 w 577494"/>
              <a:gd name="connsiteY30" fmla="*/ 14558 h 664197"/>
              <a:gd name="connsiteX31" fmla="*/ 497536 w 577494"/>
              <a:gd name="connsiteY31" fmla="*/ 33101 h 664197"/>
              <a:gd name="connsiteX32" fmla="*/ 531606 w 577494"/>
              <a:gd name="connsiteY32" fmla="*/ 59461 h 664197"/>
              <a:gd name="connsiteX33" fmla="*/ 556694 w 577494"/>
              <a:gd name="connsiteY33" fmla="*/ 93867 h 664197"/>
              <a:gd name="connsiteX34" fmla="*/ 572193 w 577494"/>
              <a:gd name="connsiteY34" fmla="*/ 136552 h 664197"/>
              <a:gd name="connsiteX35" fmla="*/ 577494 w 577494"/>
              <a:gd name="connsiteY35" fmla="*/ 187744 h 664197"/>
              <a:gd name="connsiteX36" fmla="*/ 571295 w 577494"/>
              <a:gd name="connsiteY36" fmla="*/ 235960 h 664197"/>
              <a:gd name="connsiteX37" fmla="*/ 554109 w 577494"/>
              <a:gd name="connsiteY37" fmla="*/ 277492 h 664197"/>
              <a:gd name="connsiteX38" fmla="*/ 528056 w 577494"/>
              <a:gd name="connsiteY38" fmla="*/ 313359 h 664197"/>
              <a:gd name="connsiteX39" fmla="*/ 495255 w 577494"/>
              <a:gd name="connsiteY39" fmla="*/ 344580 h 664197"/>
              <a:gd name="connsiteX40" fmla="*/ 457823 w 577494"/>
              <a:gd name="connsiteY40" fmla="*/ 372172 h 664197"/>
              <a:gd name="connsiteX41" fmla="*/ 417880 w 577494"/>
              <a:gd name="connsiteY41" fmla="*/ 397155 h 664197"/>
              <a:gd name="connsiteX42" fmla="*/ 377545 w 577494"/>
              <a:gd name="connsiteY42" fmla="*/ 420547 h 664197"/>
              <a:gd name="connsiteX43" fmla="*/ 327606 w 577494"/>
              <a:gd name="connsiteY43" fmla="*/ 451574 h 664197"/>
              <a:gd name="connsiteX44" fmla="*/ 285673 w 577494"/>
              <a:gd name="connsiteY44" fmla="*/ 484365 h 664197"/>
              <a:gd name="connsiteX45" fmla="*/ 255180 w 577494"/>
              <a:gd name="connsiteY45" fmla="*/ 519270 h 664197"/>
              <a:gd name="connsiteX46" fmla="*/ 239560 w 577494"/>
              <a:gd name="connsiteY46" fmla="*/ 556641 h 664197"/>
              <a:gd name="connsiteX47" fmla="*/ 462026 w 577494"/>
              <a:gd name="connsiteY47" fmla="*/ 556641 h 664197"/>
              <a:gd name="connsiteX48" fmla="*/ 472351 w 577494"/>
              <a:gd name="connsiteY48" fmla="*/ 485305 h 664197"/>
              <a:gd name="connsiteX49" fmla="*/ 565289 w 577494"/>
              <a:gd name="connsiteY49" fmla="*/ 485305 h 664197"/>
              <a:gd name="connsiteX50" fmla="*/ 565277 w 577494"/>
              <a:gd name="connsiteY50" fmla="*/ 664197 h 664197"/>
              <a:gd name="connsiteX0" fmla="*/ 0 w 573648"/>
              <a:gd name="connsiteY0" fmla="*/ 665157 h 665157"/>
              <a:gd name="connsiteX1" fmla="*/ 114619 w 573648"/>
              <a:gd name="connsiteY1" fmla="*/ 664197 h 665157"/>
              <a:gd name="connsiteX2" fmla="*/ 114619 w 573648"/>
              <a:gd name="connsiteY2" fmla="*/ 605459 h 665157"/>
              <a:gd name="connsiteX3" fmla="*/ 119805 w 573648"/>
              <a:gd name="connsiteY3" fmla="*/ 555903 h 665157"/>
              <a:gd name="connsiteX4" fmla="*/ 134269 w 573648"/>
              <a:gd name="connsiteY4" fmla="*/ 512092 h 665157"/>
              <a:gd name="connsiteX5" fmla="*/ 156369 w 573648"/>
              <a:gd name="connsiteY5" fmla="*/ 473223 h 665157"/>
              <a:gd name="connsiteX6" fmla="*/ 184462 w 573648"/>
              <a:gd name="connsiteY6" fmla="*/ 438491 h 665157"/>
              <a:gd name="connsiteX7" fmla="*/ 216906 w 573648"/>
              <a:gd name="connsiteY7" fmla="*/ 407092 h 665157"/>
              <a:gd name="connsiteX8" fmla="*/ 252059 w 573648"/>
              <a:gd name="connsiteY8" fmla="*/ 378223 h 665157"/>
              <a:gd name="connsiteX9" fmla="*/ 288279 w 573648"/>
              <a:gd name="connsiteY9" fmla="*/ 351078 h 665157"/>
              <a:gd name="connsiteX10" fmla="*/ 328653 w 573648"/>
              <a:gd name="connsiteY10" fmla="*/ 321213 h 665157"/>
              <a:gd name="connsiteX11" fmla="*/ 365466 w 573648"/>
              <a:gd name="connsiteY11" fmla="*/ 291481 h 665157"/>
              <a:gd name="connsiteX12" fmla="*/ 395611 w 573648"/>
              <a:gd name="connsiteY12" fmla="*/ 260442 h 665157"/>
              <a:gd name="connsiteX13" fmla="*/ 415978 w 573648"/>
              <a:gd name="connsiteY13" fmla="*/ 226656 h 665157"/>
              <a:gd name="connsiteX14" fmla="*/ 423458 w 573648"/>
              <a:gd name="connsiteY14" fmla="*/ 188683 h 665157"/>
              <a:gd name="connsiteX15" fmla="*/ 418176 w 573648"/>
              <a:gd name="connsiteY15" fmla="*/ 150394 h 665157"/>
              <a:gd name="connsiteX16" fmla="*/ 402333 w 573648"/>
              <a:gd name="connsiteY16" fmla="*/ 121088 h 665157"/>
              <a:gd name="connsiteX17" fmla="*/ 375929 w 573648"/>
              <a:gd name="connsiteY17" fmla="*/ 102344 h 665157"/>
              <a:gd name="connsiteX18" fmla="*/ 338965 w 573648"/>
              <a:gd name="connsiteY18" fmla="*/ 95745 h 665157"/>
              <a:gd name="connsiteX19" fmla="*/ 298662 w 573648"/>
              <a:gd name="connsiteY19" fmla="*/ 101524 h 665157"/>
              <a:gd name="connsiteX20" fmla="*/ 267159 w 573648"/>
              <a:gd name="connsiteY20" fmla="*/ 117335 h 665157"/>
              <a:gd name="connsiteX21" fmla="*/ 243399 w 573648"/>
              <a:gd name="connsiteY21" fmla="*/ 140890 h 665157"/>
              <a:gd name="connsiteX22" fmla="*/ 226328 w 573648"/>
              <a:gd name="connsiteY22" fmla="*/ 169900 h 665157"/>
              <a:gd name="connsiteX23" fmla="*/ 144655 w 573648"/>
              <a:gd name="connsiteY23" fmla="*/ 169900 h 665157"/>
              <a:gd name="connsiteX24" fmla="*/ 144655 w 573648"/>
              <a:gd name="connsiteY24" fmla="*/ 35674 h 665157"/>
              <a:gd name="connsiteX25" fmla="*/ 189480 w 573648"/>
              <a:gd name="connsiteY25" fmla="*/ 21388 h 665157"/>
              <a:gd name="connsiteX26" fmla="*/ 237825 w 573648"/>
              <a:gd name="connsiteY26" fmla="*/ 10093 h 665157"/>
              <a:gd name="connsiteX27" fmla="*/ 289337 w 573648"/>
              <a:gd name="connsiteY27" fmla="*/ 2670 h 665157"/>
              <a:gd name="connsiteX28" fmla="*/ 343664 w 573648"/>
              <a:gd name="connsiteY28" fmla="*/ 0 h 665157"/>
              <a:gd name="connsiteX29" fmla="*/ 401034 w 573648"/>
              <a:gd name="connsiteY29" fmla="*/ 3601 h 665157"/>
              <a:gd name="connsiteX30" fmla="*/ 451246 w 573648"/>
              <a:gd name="connsiteY30" fmla="*/ 14558 h 665157"/>
              <a:gd name="connsiteX31" fmla="*/ 493690 w 573648"/>
              <a:gd name="connsiteY31" fmla="*/ 33101 h 665157"/>
              <a:gd name="connsiteX32" fmla="*/ 527760 w 573648"/>
              <a:gd name="connsiteY32" fmla="*/ 59461 h 665157"/>
              <a:gd name="connsiteX33" fmla="*/ 552848 w 573648"/>
              <a:gd name="connsiteY33" fmla="*/ 93867 h 665157"/>
              <a:gd name="connsiteX34" fmla="*/ 568347 w 573648"/>
              <a:gd name="connsiteY34" fmla="*/ 136552 h 665157"/>
              <a:gd name="connsiteX35" fmla="*/ 573648 w 573648"/>
              <a:gd name="connsiteY35" fmla="*/ 187744 h 665157"/>
              <a:gd name="connsiteX36" fmla="*/ 567449 w 573648"/>
              <a:gd name="connsiteY36" fmla="*/ 235960 h 665157"/>
              <a:gd name="connsiteX37" fmla="*/ 550263 w 573648"/>
              <a:gd name="connsiteY37" fmla="*/ 277492 h 665157"/>
              <a:gd name="connsiteX38" fmla="*/ 524210 w 573648"/>
              <a:gd name="connsiteY38" fmla="*/ 313359 h 665157"/>
              <a:gd name="connsiteX39" fmla="*/ 491409 w 573648"/>
              <a:gd name="connsiteY39" fmla="*/ 344580 h 665157"/>
              <a:gd name="connsiteX40" fmla="*/ 453977 w 573648"/>
              <a:gd name="connsiteY40" fmla="*/ 372172 h 665157"/>
              <a:gd name="connsiteX41" fmla="*/ 414034 w 573648"/>
              <a:gd name="connsiteY41" fmla="*/ 397155 h 665157"/>
              <a:gd name="connsiteX42" fmla="*/ 373699 w 573648"/>
              <a:gd name="connsiteY42" fmla="*/ 420547 h 665157"/>
              <a:gd name="connsiteX43" fmla="*/ 323760 w 573648"/>
              <a:gd name="connsiteY43" fmla="*/ 451574 h 665157"/>
              <a:gd name="connsiteX44" fmla="*/ 281827 w 573648"/>
              <a:gd name="connsiteY44" fmla="*/ 484365 h 665157"/>
              <a:gd name="connsiteX45" fmla="*/ 251334 w 573648"/>
              <a:gd name="connsiteY45" fmla="*/ 519270 h 665157"/>
              <a:gd name="connsiteX46" fmla="*/ 235714 w 573648"/>
              <a:gd name="connsiteY46" fmla="*/ 556641 h 665157"/>
              <a:gd name="connsiteX47" fmla="*/ 458180 w 573648"/>
              <a:gd name="connsiteY47" fmla="*/ 556641 h 665157"/>
              <a:gd name="connsiteX48" fmla="*/ 468505 w 573648"/>
              <a:gd name="connsiteY48" fmla="*/ 485305 h 665157"/>
              <a:gd name="connsiteX49" fmla="*/ 561443 w 573648"/>
              <a:gd name="connsiteY49" fmla="*/ 485305 h 665157"/>
              <a:gd name="connsiteX50" fmla="*/ 561431 w 573648"/>
              <a:gd name="connsiteY50" fmla="*/ 664197 h 665157"/>
              <a:gd name="connsiteX0" fmla="*/ 0 w 579416"/>
              <a:gd name="connsiteY0" fmla="*/ 667080 h 667080"/>
              <a:gd name="connsiteX1" fmla="*/ 120387 w 579416"/>
              <a:gd name="connsiteY1" fmla="*/ 664197 h 667080"/>
              <a:gd name="connsiteX2" fmla="*/ 120387 w 579416"/>
              <a:gd name="connsiteY2" fmla="*/ 605459 h 667080"/>
              <a:gd name="connsiteX3" fmla="*/ 125573 w 579416"/>
              <a:gd name="connsiteY3" fmla="*/ 555903 h 667080"/>
              <a:gd name="connsiteX4" fmla="*/ 140037 w 579416"/>
              <a:gd name="connsiteY4" fmla="*/ 512092 h 667080"/>
              <a:gd name="connsiteX5" fmla="*/ 162137 w 579416"/>
              <a:gd name="connsiteY5" fmla="*/ 473223 h 667080"/>
              <a:gd name="connsiteX6" fmla="*/ 190230 w 579416"/>
              <a:gd name="connsiteY6" fmla="*/ 438491 h 667080"/>
              <a:gd name="connsiteX7" fmla="*/ 222674 w 579416"/>
              <a:gd name="connsiteY7" fmla="*/ 407092 h 667080"/>
              <a:gd name="connsiteX8" fmla="*/ 257827 w 579416"/>
              <a:gd name="connsiteY8" fmla="*/ 378223 h 667080"/>
              <a:gd name="connsiteX9" fmla="*/ 294047 w 579416"/>
              <a:gd name="connsiteY9" fmla="*/ 351078 h 667080"/>
              <a:gd name="connsiteX10" fmla="*/ 334421 w 579416"/>
              <a:gd name="connsiteY10" fmla="*/ 321213 h 667080"/>
              <a:gd name="connsiteX11" fmla="*/ 371234 w 579416"/>
              <a:gd name="connsiteY11" fmla="*/ 291481 h 667080"/>
              <a:gd name="connsiteX12" fmla="*/ 401379 w 579416"/>
              <a:gd name="connsiteY12" fmla="*/ 260442 h 667080"/>
              <a:gd name="connsiteX13" fmla="*/ 421746 w 579416"/>
              <a:gd name="connsiteY13" fmla="*/ 226656 h 667080"/>
              <a:gd name="connsiteX14" fmla="*/ 429226 w 579416"/>
              <a:gd name="connsiteY14" fmla="*/ 188683 h 667080"/>
              <a:gd name="connsiteX15" fmla="*/ 423944 w 579416"/>
              <a:gd name="connsiteY15" fmla="*/ 150394 h 667080"/>
              <a:gd name="connsiteX16" fmla="*/ 408101 w 579416"/>
              <a:gd name="connsiteY16" fmla="*/ 121088 h 667080"/>
              <a:gd name="connsiteX17" fmla="*/ 381697 w 579416"/>
              <a:gd name="connsiteY17" fmla="*/ 102344 h 667080"/>
              <a:gd name="connsiteX18" fmla="*/ 344733 w 579416"/>
              <a:gd name="connsiteY18" fmla="*/ 95745 h 667080"/>
              <a:gd name="connsiteX19" fmla="*/ 304430 w 579416"/>
              <a:gd name="connsiteY19" fmla="*/ 101524 h 667080"/>
              <a:gd name="connsiteX20" fmla="*/ 272927 w 579416"/>
              <a:gd name="connsiteY20" fmla="*/ 117335 h 667080"/>
              <a:gd name="connsiteX21" fmla="*/ 249167 w 579416"/>
              <a:gd name="connsiteY21" fmla="*/ 140890 h 667080"/>
              <a:gd name="connsiteX22" fmla="*/ 232096 w 579416"/>
              <a:gd name="connsiteY22" fmla="*/ 169900 h 667080"/>
              <a:gd name="connsiteX23" fmla="*/ 150423 w 579416"/>
              <a:gd name="connsiteY23" fmla="*/ 169900 h 667080"/>
              <a:gd name="connsiteX24" fmla="*/ 150423 w 579416"/>
              <a:gd name="connsiteY24" fmla="*/ 35674 h 667080"/>
              <a:gd name="connsiteX25" fmla="*/ 195248 w 579416"/>
              <a:gd name="connsiteY25" fmla="*/ 21388 h 667080"/>
              <a:gd name="connsiteX26" fmla="*/ 243593 w 579416"/>
              <a:gd name="connsiteY26" fmla="*/ 10093 h 667080"/>
              <a:gd name="connsiteX27" fmla="*/ 295105 w 579416"/>
              <a:gd name="connsiteY27" fmla="*/ 2670 h 667080"/>
              <a:gd name="connsiteX28" fmla="*/ 349432 w 579416"/>
              <a:gd name="connsiteY28" fmla="*/ 0 h 667080"/>
              <a:gd name="connsiteX29" fmla="*/ 406802 w 579416"/>
              <a:gd name="connsiteY29" fmla="*/ 3601 h 667080"/>
              <a:gd name="connsiteX30" fmla="*/ 457014 w 579416"/>
              <a:gd name="connsiteY30" fmla="*/ 14558 h 667080"/>
              <a:gd name="connsiteX31" fmla="*/ 499458 w 579416"/>
              <a:gd name="connsiteY31" fmla="*/ 33101 h 667080"/>
              <a:gd name="connsiteX32" fmla="*/ 533528 w 579416"/>
              <a:gd name="connsiteY32" fmla="*/ 59461 h 667080"/>
              <a:gd name="connsiteX33" fmla="*/ 558616 w 579416"/>
              <a:gd name="connsiteY33" fmla="*/ 93867 h 667080"/>
              <a:gd name="connsiteX34" fmla="*/ 574115 w 579416"/>
              <a:gd name="connsiteY34" fmla="*/ 136552 h 667080"/>
              <a:gd name="connsiteX35" fmla="*/ 579416 w 579416"/>
              <a:gd name="connsiteY35" fmla="*/ 187744 h 667080"/>
              <a:gd name="connsiteX36" fmla="*/ 573217 w 579416"/>
              <a:gd name="connsiteY36" fmla="*/ 235960 h 667080"/>
              <a:gd name="connsiteX37" fmla="*/ 556031 w 579416"/>
              <a:gd name="connsiteY37" fmla="*/ 277492 h 667080"/>
              <a:gd name="connsiteX38" fmla="*/ 529978 w 579416"/>
              <a:gd name="connsiteY38" fmla="*/ 313359 h 667080"/>
              <a:gd name="connsiteX39" fmla="*/ 497177 w 579416"/>
              <a:gd name="connsiteY39" fmla="*/ 344580 h 667080"/>
              <a:gd name="connsiteX40" fmla="*/ 459745 w 579416"/>
              <a:gd name="connsiteY40" fmla="*/ 372172 h 667080"/>
              <a:gd name="connsiteX41" fmla="*/ 419802 w 579416"/>
              <a:gd name="connsiteY41" fmla="*/ 397155 h 667080"/>
              <a:gd name="connsiteX42" fmla="*/ 379467 w 579416"/>
              <a:gd name="connsiteY42" fmla="*/ 420547 h 667080"/>
              <a:gd name="connsiteX43" fmla="*/ 329528 w 579416"/>
              <a:gd name="connsiteY43" fmla="*/ 451574 h 667080"/>
              <a:gd name="connsiteX44" fmla="*/ 287595 w 579416"/>
              <a:gd name="connsiteY44" fmla="*/ 484365 h 667080"/>
              <a:gd name="connsiteX45" fmla="*/ 257102 w 579416"/>
              <a:gd name="connsiteY45" fmla="*/ 519270 h 667080"/>
              <a:gd name="connsiteX46" fmla="*/ 241482 w 579416"/>
              <a:gd name="connsiteY46" fmla="*/ 556641 h 667080"/>
              <a:gd name="connsiteX47" fmla="*/ 463948 w 579416"/>
              <a:gd name="connsiteY47" fmla="*/ 556641 h 667080"/>
              <a:gd name="connsiteX48" fmla="*/ 474273 w 579416"/>
              <a:gd name="connsiteY48" fmla="*/ 485305 h 667080"/>
              <a:gd name="connsiteX49" fmla="*/ 567211 w 579416"/>
              <a:gd name="connsiteY49" fmla="*/ 485305 h 667080"/>
              <a:gd name="connsiteX50" fmla="*/ 567199 w 579416"/>
              <a:gd name="connsiteY50" fmla="*/ 664197 h 667080"/>
              <a:gd name="connsiteX0" fmla="*/ 0 w 579416"/>
              <a:gd name="connsiteY0" fmla="*/ 665157 h 665157"/>
              <a:gd name="connsiteX1" fmla="*/ 120387 w 579416"/>
              <a:gd name="connsiteY1" fmla="*/ 664197 h 665157"/>
              <a:gd name="connsiteX2" fmla="*/ 120387 w 579416"/>
              <a:gd name="connsiteY2" fmla="*/ 605459 h 665157"/>
              <a:gd name="connsiteX3" fmla="*/ 125573 w 579416"/>
              <a:gd name="connsiteY3" fmla="*/ 555903 h 665157"/>
              <a:gd name="connsiteX4" fmla="*/ 140037 w 579416"/>
              <a:gd name="connsiteY4" fmla="*/ 512092 h 665157"/>
              <a:gd name="connsiteX5" fmla="*/ 162137 w 579416"/>
              <a:gd name="connsiteY5" fmla="*/ 473223 h 665157"/>
              <a:gd name="connsiteX6" fmla="*/ 190230 w 579416"/>
              <a:gd name="connsiteY6" fmla="*/ 438491 h 665157"/>
              <a:gd name="connsiteX7" fmla="*/ 222674 w 579416"/>
              <a:gd name="connsiteY7" fmla="*/ 407092 h 665157"/>
              <a:gd name="connsiteX8" fmla="*/ 257827 w 579416"/>
              <a:gd name="connsiteY8" fmla="*/ 378223 h 665157"/>
              <a:gd name="connsiteX9" fmla="*/ 294047 w 579416"/>
              <a:gd name="connsiteY9" fmla="*/ 351078 h 665157"/>
              <a:gd name="connsiteX10" fmla="*/ 334421 w 579416"/>
              <a:gd name="connsiteY10" fmla="*/ 321213 h 665157"/>
              <a:gd name="connsiteX11" fmla="*/ 371234 w 579416"/>
              <a:gd name="connsiteY11" fmla="*/ 291481 h 665157"/>
              <a:gd name="connsiteX12" fmla="*/ 401379 w 579416"/>
              <a:gd name="connsiteY12" fmla="*/ 260442 h 665157"/>
              <a:gd name="connsiteX13" fmla="*/ 421746 w 579416"/>
              <a:gd name="connsiteY13" fmla="*/ 226656 h 665157"/>
              <a:gd name="connsiteX14" fmla="*/ 429226 w 579416"/>
              <a:gd name="connsiteY14" fmla="*/ 188683 h 665157"/>
              <a:gd name="connsiteX15" fmla="*/ 423944 w 579416"/>
              <a:gd name="connsiteY15" fmla="*/ 150394 h 665157"/>
              <a:gd name="connsiteX16" fmla="*/ 408101 w 579416"/>
              <a:gd name="connsiteY16" fmla="*/ 121088 h 665157"/>
              <a:gd name="connsiteX17" fmla="*/ 381697 w 579416"/>
              <a:gd name="connsiteY17" fmla="*/ 102344 h 665157"/>
              <a:gd name="connsiteX18" fmla="*/ 344733 w 579416"/>
              <a:gd name="connsiteY18" fmla="*/ 95745 h 665157"/>
              <a:gd name="connsiteX19" fmla="*/ 304430 w 579416"/>
              <a:gd name="connsiteY19" fmla="*/ 101524 h 665157"/>
              <a:gd name="connsiteX20" fmla="*/ 272927 w 579416"/>
              <a:gd name="connsiteY20" fmla="*/ 117335 h 665157"/>
              <a:gd name="connsiteX21" fmla="*/ 249167 w 579416"/>
              <a:gd name="connsiteY21" fmla="*/ 140890 h 665157"/>
              <a:gd name="connsiteX22" fmla="*/ 232096 w 579416"/>
              <a:gd name="connsiteY22" fmla="*/ 169900 h 665157"/>
              <a:gd name="connsiteX23" fmla="*/ 150423 w 579416"/>
              <a:gd name="connsiteY23" fmla="*/ 169900 h 665157"/>
              <a:gd name="connsiteX24" fmla="*/ 150423 w 579416"/>
              <a:gd name="connsiteY24" fmla="*/ 35674 h 665157"/>
              <a:gd name="connsiteX25" fmla="*/ 195248 w 579416"/>
              <a:gd name="connsiteY25" fmla="*/ 21388 h 665157"/>
              <a:gd name="connsiteX26" fmla="*/ 243593 w 579416"/>
              <a:gd name="connsiteY26" fmla="*/ 10093 h 665157"/>
              <a:gd name="connsiteX27" fmla="*/ 295105 w 579416"/>
              <a:gd name="connsiteY27" fmla="*/ 2670 h 665157"/>
              <a:gd name="connsiteX28" fmla="*/ 349432 w 579416"/>
              <a:gd name="connsiteY28" fmla="*/ 0 h 665157"/>
              <a:gd name="connsiteX29" fmla="*/ 406802 w 579416"/>
              <a:gd name="connsiteY29" fmla="*/ 3601 h 665157"/>
              <a:gd name="connsiteX30" fmla="*/ 457014 w 579416"/>
              <a:gd name="connsiteY30" fmla="*/ 14558 h 665157"/>
              <a:gd name="connsiteX31" fmla="*/ 499458 w 579416"/>
              <a:gd name="connsiteY31" fmla="*/ 33101 h 665157"/>
              <a:gd name="connsiteX32" fmla="*/ 533528 w 579416"/>
              <a:gd name="connsiteY32" fmla="*/ 59461 h 665157"/>
              <a:gd name="connsiteX33" fmla="*/ 558616 w 579416"/>
              <a:gd name="connsiteY33" fmla="*/ 93867 h 665157"/>
              <a:gd name="connsiteX34" fmla="*/ 574115 w 579416"/>
              <a:gd name="connsiteY34" fmla="*/ 136552 h 665157"/>
              <a:gd name="connsiteX35" fmla="*/ 579416 w 579416"/>
              <a:gd name="connsiteY35" fmla="*/ 187744 h 665157"/>
              <a:gd name="connsiteX36" fmla="*/ 573217 w 579416"/>
              <a:gd name="connsiteY36" fmla="*/ 235960 h 665157"/>
              <a:gd name="connsiteX37" fmla="*/ 556031 w 579416"/>
              <a:gd name="connsiteY37" fmla="*/ 277492 h 665157"/>
              <a:gd name="connsiteX38" fmla="*/ 529978 w 579416"/>
              <a:gd name="connsiteY38" fmla="*/ 313359 h 665157"/>
              <a:gd name="connsiteX39" fmla="*/ 497177 w 579416"/>
              <a:gd name="connsiteY39" fmla="*/ 344580 h 665157"/>
              <a:gd name="connsiteX40" fmla="*/ 459745 w 579416"/>
              <a:gd name="connsiteY40" fmla="*/ 372172 h 665157"/>
              <a:gd name="connsiteX41" fmla="*/ 419802 w 579416"/>
              <a:gd name="connsiteY41" fmla="*/ 397155 h 665157"/>
              <a:gd name="connsiteX42" fmla="*/ 379467 w 579416"/>
              <a:gd name="connsiteY42" fmla="*/ 420547 h 665157"/>
              <a:gd name="connsiteX43" fmla="*/ 329528 w 579416"/>
              <a:gd name="connsiteY43" fmla="*/ 451574 h 665157"/>
              <a:gd name="connsiteX44" fmla="*/ 287595 w 579416"/>
              <a:gd name="connsiteY44" fmla="*/ 484365 h 665157"/>
              <a:gd name="connsiteX45" fmla="*/ 257102 w 579416"/>
              <a:gd name="connsiteY45" fmla="*/ 519270 h 665157"/>
              <a:gd name="connsiteX46" fmla="*/ 241482 w 579416"/>
              <a:gd name="connsiteY46" fmla="*/ 556641 h 665157"/>
              <a:gd name="connsiteX47" fmla="*/ 463948 w 579416"/>
              <a:gd name="connsiteY47" fmla="*/ 556641 h 665157"/>
              <a:gd name="connsiteX48" fmla="*/ 474273 w 579416"/>
              <a:gd name="connsiteY48" fmla="*/ 485305 h 665157"/>
              <a:gd name="connsiteX49" fmla="*/ 567211 w 579416"/>
              <a:gd name="connsiteY49" fmla="*/ 485305 h 665157"/>
              <a:gd name="connsiteX50" fmla="*/ 567199 w 579416"/>
              <a:gd name="connsiteY50" fmla="*/ 664197 h 665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79416" h="665157">
                <a:moveTo>
                  <a:pt x="0" y="665157"/>
                </a:moveTo>
                <a:lnTo>
                  <a:pt x="120387" y="664197"/>
                </a:lnTo>
                <a:lnTo>
                  <a:pt x="120387" y="605459"/>
                </a:lnTo>
                <a:lnTo>
                  <a:pt x="125573" y="555903"/>
                </a:lnTo>
                <a:lnTo>
                  <a:pt x="140037" y="512092"/>
                </a:lnTo>
                <a:lnTo>
                  <a:pt x="162137" y="473223"/>
                </a:lnTo>
                <a:lnTo>
                  <a:pt x="190230" y="438491"/>
                </a:lnTo>
                <a:lnTo>
                  <a:pt x="222674" y="407092"/>
                </a:lnTo>
                <a:lnTo>
                  <a:pt x="257827" y="378223"/>
                </a:lnTo>
                <a:lnTo>
                  <a:pt x="294047" y="351078"/>
                </a:lnTo>
                <a:lnTo>
                  <a:pt x="334421" y="321213"/>
                </a:lnTo>
                <a:lnTo>
                  <a:pt x="371234" y="291481"/>
                </a:lnTo>
                <a:lnTo>
                  <a:pt x="401379" y="260442"/>
                </a:lnTo>
                <a:lnTo>
                  <a:pt x="421746" y="226656"/>
                </a:lnTo>
                <a:lnTo>
                  <a:pt x="429226" y="188683"/>
                </a:lnTo>
                <a:lnTo>
                  <a:pt x="423944" y="150394"/>
                </a:lnTo>
                <a:lnTo>
                  <a:pt x="408101" y="121088"/>
                </a:lnTo>
                <a:lnTo>
                  <a:pt x="381697" y="102344"/>
                </a:lnTo>
                <a:lnTo>
                  <a:pt x="344733" y="95745"/>
                </a:lnTo>
                <a:lnTo>
                  <a:pt x="304430" y="101524"/>
                </a:lnTo>
                <a:lnTo>
                  <a:pt x="272927" y="117335"/>
                </a:lnTo>
                <a:lnTo>
                  <a:pt x="249167" y="140890"/>
                </a:lnTo>
                <a:lnTo>
                  <a:pt x="232096" y="169900"/>
                </a:lnTo>
                <a:lnTo>
                  <a:pt x="150423" y="169900"/>
                </a:lnTo>
                <a:lnTo>
                  <a:pt x="150423" y="35674"/>
                </a:lnTo>
                <a:lnTo>
                  <a:pt x="195248" y="21388"/>
                </a:lnTo>
                <a:lnTo>
                  <a:pt x="243593" y="10093"/>
                </a:lnTo>
                <a:lnTo>
                  <a:pt x="295105" y="2670"/>
                </a:lnTo>
                <a:lnTo>
                  <a:pt x="349432" y="0"/>
                </a:lnTo>
                <a:lnTo>
                  <a:pt x="406802" y="3601"/>
                </a:lnTo>
                <a:lnTo>
                  <a:pt x="457014" y="14558"/>
                </a:lnTo>
                <a:lnTo>
                  <a:pt x="499458" y="33101"/>
                </a:lnTo>
                <a:lnTo>
                  <a:pt x="533528" y="59461"/>
                </a:lnTo>
                <a:lnTo>
                  <a:pt x="558616" y="93867"/>
                </a:lnTo>
                <a:lnTo>
                  <a:pt x="574115" y="136552"/>
                </a:lnTo>
                <a:lnTo>
                  <a:pt x="579416" y="187744"/>
                </a:lnTo>
                <a:lnTo>
                  <a:pt x="573217" y="235960"/>
                </a:lnTo>
                <a:lnTo>
                  <a:pt x="556031" y="277492"/>
                </a:lnTo>
                <a:lnTo>
                  <a:pt x="529978" y="313359"/>
                </a:lnTo>
                <a:lnTo>
                  <a:pt x="497177" y="344580"/>
                </a:lnTo>
                <a:lnTo>
                  <a:pt x="459745" y="372172"/>
                </a:lnTo>
                <a:lnTo>
                  <a:pt x="419802" y="397155"/>
                </a:lnTo>
                <a:lnTo>
                  <a:pt x="379467" y="420547"/>
                </a:lnTo>
                <a:lnTo>
                  <a:pt x="329528" y="451574"/>
                </a:lnTo>
                <a:lnTo>
                  <a:pt x="287595" y="484365"/>
                </a:lnTo>
                <a:lnTo>
                  <a:pt x="257102" y="519270"/>
                </a:lnTo>
                <a:lnTo>
                  <a:pt x="241482" y="556641"/>
                </a:lnTo>
                <a:lnTo>
                  <a:pt x="463948" y="556641"/>
                </a:lnTo>
                <a:lnTo>
                  <a:pt x="474273" y="485305"/>
                </a:lnTo>
                <a:lnTo>
                  <a:pt x="567211" y="485305"/>
                </a:lnTo>
                <a:cubicBezTo>
                  <a:pt x="567207" y="544936"/>
                  <a:pt x="567203" y="604566"/>
                  <a:pt x="567199" y="664197"/>
                </a:cubicBezTo>
              </a:path>
            </a:pathLst>
          </a:custGeom>
          <a:ln w="19050">
            <a:solidFill>
              <a:srgbClr val="6639B7"/>
            </a:solidFill>
          </a:ln>
        </p:spPr>
        <p:txBody>
          <a:bodyPr wrap="square" lIns="0" tIns="0" rIns="0" bIns="0" rtlCol="0"/>
          <a:lstStyle/>
          <a:p>
            <a:endParaRPr>
              <a:solidFill>
                <a:srgbClr val="6639B7"/>
              </a:solidFill>
              <a:latin typeface="Verdana"/>
              <a:cs typeface="Verdana"/>
            </a:endParaRPr>
          </a:p>
        </p:txBody>
      </p:sp>
      <p:cxnSp>
        <p:nvCxnSpPr>
          <p:cNvPr id="32" name="Straight Connector 31"/>
          <p:cNvCxnSpPr>
            <a:cxnSpLocks/>
          </p:cNvCxnSpPr>
          <p:nvPr/>
        </p:nvCxnSpPr>
        <p:spPr>
          <a:xfrm>
            <a:off x="2675493" y="2625815"/>
            <a:ext cx="217634" cy="0"/>
          </a:xfrm>
          <a:prstGeom prst="line">
            <a:avLst/>
          </a:prstGeom>
          <a:ln w="19050" cap="rnd">
            <a:solidFill>
              <a:srgbClr val="6639B7"/>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131840" y="2879615"/>
            <a:ext cx="5766498" cy="700858"/>
          </a:xfrm>
          <a:prstGeom prst="rect">
            <a:avLst/>
          </a:prstGeom>
          <a:noFill/>
        </p:spPr>
        <p:txBody>
          <a:bodyPr wrap="square" lIns="0" tIns="0" rIns="0" bIns="54000" rtlCol="0" anchor="b">
            <a:spAutoFit/>
          </a:bodyPr>
          <a:lstStyle/>
          <a:p>
            <a:r>
              <a:rPr lang="en-US" sz="1400" b="1" dirty="0" err="1"/>
              <a:t>Moyen</a:t>
            </a:r>
            <a:r>
              <a:rPr lang="en-US" sz="1400" b="1" dirty="0"/>
              <a:t> </a:t>
            </a:r>
            <a:r>
              <a:rPr lang="en-US" sz="1400" b="1" dirty="0" err="1"/>
              <a:t>d’améliorer</a:t>
            </a:r>
            <a:r>
              <a:rPr lang="en-US" sz="1400" b="1" dirty="0"/>
              <a:t> la </a:t>
            </a:r>
            <a:r>
              <a:rPr lang="en-US" sz="1400" b="1" dirty="0" err="1"/>
              <a:t>reproductibilité</a:t>
            </a:r>
            <a:endParaRPr lang="en-US" sz="1400" b="1" dirty="0"/>
          </a:p>
          <a:p>
            <a:r>
              <a:rPr lang="en-US" sz="1400" b="1" dirty="0"/>
              <a:t>(</a:t>
            </a:r>
            <a:r>
              <a:rPr lang="en-US" sz="1400" b="1" dirty="0" err="1"/>
              <a:t>partielle</a:t>
            </a:r>
            <a:r>
              <a:rPr lang="en-US" sz="1400" b="1" dirty="0"/>
              <a:t> </a:t>
            </a:r>
            <a:r>
              <a:rPr lang="en-US" sz="1400" b="1" dirty="0" err="1"/>
              <a:t>selon</a:t>
            </a:r>
            <a:r>
              <a:rPr lang="en-US" sz="1400" b="1" dirty="0"/>
              <a:t> le </a:t>
            </a:r>
            <a:r>
              <a:rPr lang="en-US" sz="1400" b="1" dirty="0" err="1"/>
              <a:t>contenu</a:t>
            </a:r>
            <a:r>
              <a:rPr lang="en-US" sz="1400" b="1" dirty="0"/>
              <a:t> du container) </a:t>
            </a:r>
          </a:p>
          <a:p>
            <a:r>
              <a:rPr lang="en-US" sz="1400" dirty="0" err="1"/>
              <a:t>Ancienne</a:t>
            </a:r>
            <a:r>
              <a:rPr lang="en-US" sz="1400" dirty="0"/>
              <a:t> stack MPI, ancient </a:t>
            </a:r>
            <a:r>
              <a:rPr lang="en-US" sz="1400" dirty="0" err="1"/>
              <a:t>binaire</a:t>
            </a:r>
            <a:r>
              <a:rPr lang="en-US" sz="1400" dirty="0"/>
              <a:t>, </a:t>
            </a:r>
            <a:r>
              <a:rPr lang="en-US" sz="1400" dirty="0" err="1"/>
              <a:t>etc</a:t>
            </a:r>
            <a:endParaRPr lang="en-US" sz="1400" dirty="0"/>
          </a:p>
        </p:txBody>
      </p:sp>
      <p:sp>
        <p:nvSpPr>
          <p:cNvPr id="24" name="object 17"/>
          <p:cNvSpPr>
            <a:spLocks noChangeAspect="1"/>
          </p:cNvSpPr>
          <p:nvPr/>
        </p:nvSpPr>
        <p:spPr>
          <a:xfrm>
            <a:off x="2138409" y="2874843"/>
            <a:ext cx="536873" cy="612000"/>
          </a:xfrm>
          <a:custGeom>
            <a:avLst/>
            <a:gdLst>
              <a:gd name="connsiteX0" fmla="*/ 74231 w 4525035"/>
              <a:gd name="connsiteY0" fmla="*/ 662482 h 662520"/>
              <a:gd name="connsiteX1" fmla="*/ 60344 w 4525035"/>
              <a:gd name="connsiteY1" fmla="*/ 659582 h 662520"/>
              <a:gd name="connsiteX2" fmla="*/ 47517 w 4525035"/>
              <a:gd name="connsiteY2" fmla="*/ 656437 h 662520"/>
              <a:gd name="connsiteX3" fmla="*/ 35823 w 4525035"/>
              <a:gd name="connsiteY3" fmla="*/ 653092 h 662520"/>
              <a:gd name="connsiteX4" fmla="*/ 25336 w 4525035"/>
              <a:gd name="connsiteY4" fmla="*/ 649592 h 662520"/>
              <a:gd name="connsiteX5" fmla="*/ 25336 w 4525035"/>
              <a:gd name="connsiteY5" fmla="*/ 533196 h 662520"/>
              <a:gd name="connsiteX6" fmla="*/ 104190 w 4525035"/>
              <a:gd name="connsiteY6" fmla="*/ 533196 h 662520"/>
              <a:gd name="connsiteX7" fmla="*/ 116931 w 4525035"/>
              <a:gd name="connsiteY7" fmla="*/ 550133 h 662520"/>
              <a:gd name="connsiteX8" fmla="*/ 135043 w 4525035"/>
              <a:gd name="connsiteY8" fmla="*/ 564522 h 662520"/>
              <a:gd name="connsiteX9" fmla="*/ 160020 w 4525035"/>
              <a:gd name="connsiteY9" fmla="*/ 574514 h 662520"/>
              <a:gd name="connsiteX10" fmla="*/ 193357 w 4525035"/>
              <a:gd name="connsiteY10" fmla="*/ 578256 h 662520"/>
              <a:gd name="connsiteX11" fmla="*/ 233829 w 4525035"/>
              <a:gd name="connsiteY11" fmla="*/ 573672 h 662520"/>
              <a:gd name="connsiteX12" fmla="*/ 297105 w 4525035"/>
              <a:gd name="connsiteY12" fmla="*/ 537246 h 662520"/>
              <a:gd name="connsiteX13" fmla="*/ 320040 w 4525035"/>
              <a:gd name="connsiteY13" fmla="*/ 505568 h 662520"/>
              <a:gd name="connsiteX14" fmla="*/ 337261 w 4525035"/>
              <a:gd name="connsiteY14" fmla="*/ 465022 h 662520"/>
              <a:gd name="connsiteX15" fmla="*/ 348834 w 4525035"/>
              <a:gd name="connsiteY15" fmla="*/ 415691 h 662520"/>
              <a:gd name="connsiteX16" fmla="*/ 354825 w 4525035"/>
              <a:gd name="connsiteY16" fmla="*/ 357657 h 662520"/>
              <a:gd name="connsiteX17" fmla="*/ 325357 w 4525035"/>
              <a:gd name="connsiteY17" fmla="*/ 385098 h 662520"/>
              <a:gd name="connsiteX18" fmla="*/ 289466 w 4525035"/>
              <a:gd name="connsiteY18" fmla="*/ 406117 h 662520"/>
              <a:gd name="connsiteX19" fmla="*/ 247767 w 4525035"/>
              <a:gd name="connsiteY19" fmla="*/ 419568 h 662520"/>
              <a:gd name="connsiteX20" fmla="*/ 200875 w 4525035"/>
              <a:gd name="connsiteY20" fmla="*/ 424306 h 662520"/>
              <a:gd name="connsiteX21" fmla="*/ 153099 w 4525035"/>
              <a:gd name="connsiteY21" fmla="*/ 420031 h 662520"/>
              <a:gd name="connsiteX22" fmla="*/ 110150 w 4525035"/>
              <a:gd name="connsiteY22" fmla="*/ 407348 h 662520"/>
              <a:gd name="connsiteX23" fmla="*/ 72948 w 4525035"/>
              <a:gd name="connsiteY23" fmla="*/ 386472 h 662520"/>
              <a:gd name="connsiteX24" fmla="*/ 42412 w 4525035"/>
              <a:gd name="connsiteY24" fmla="*/ 357614 h 662520"/>
              <a:gd name="connsiteX25" fmla="*/ 19463 w 4525035"/>
              <a:gd name="connsiteY25" fmla="*/ 320990 h 662520"/>
              <a:gd name="connsiteX26" fmla="*/ 5019 w 4525035"/>
              <a:gd name="connsiteY26" fmla="*/ 276814 h 662520"/>
              <a:gd name="connsiteX27" fmla="*/ 0 w 4525035"/>
              <a:gd name="connsiteY27" fmla="*/ 225297 h 662520"/>
              <a:gd name="connsiteX28" fmla="*/ 4447 w 4525035"/>
              <a:gd name="connsiteY28" fmla="*/ 178425 h 662520"/>
              <a:gd name="connsiteX29" fmla="*/ 17453 w 4525035"/>
              <a:gd name="connsiteY29" fmla="*/ 135445 h 662520"/>
              <a:gd name="connsiteX30" fmla="*/ 38511 w 4525035"/>
              <a:gd name="connsiteY30" fmla="*/ 97085 h 662520"/>
              <a:gd name="connsiteX31" fmla="*/ 67116 w 4525035"/>
              <a:gd name="connsiteY31" fmla="*/ 64071 h 662520"/>
              <a:gd name="connsiteX32" fmla="*/ 102760 w 4525035"/>
              <a:gd name="connsiteY32" fmla="*/ 37129 h 662520"/>
              <a:gd name="connsiteX33" fmla="*/ 144939 w 4525035"/>
              <a:gd name="connsiteY33" fmla="*/ 16986 h 662520"/>
              <a:gd name="connsiteX34" fmla="*/ 193146 w 4525035"/>
              <a:gd name="connsiteY34" fmla="*/ 4367 h 662520"/>
              <a:gd name="connsiteX35" fmla="*/ 246875 w 4525035"/>
              <a:gd name="connsiteY35" fmla="*/ 0 h 662520"/>
              <a:gd name="connsiteX36" fmla="*/ 290625 w 4525035"/>
              <a:gd name="connsiteY36" fmla="*/ 2882 h 662520"/>
              <a:gd name="connsiteX37" fmla="*/ 331492 w 4525035"/>
              <a:gd name="connsiteY37" fmla="*/ 11678 h 662520"/>
              <a:gd name="connsiteX38" fmla="*/ 369070 w 4525035"/>
              <a:gd name="connsiteY38" fmla="*/ 26614 h 662520"/>
              <a:gd name="connsiteX39" fmla="*/ 402953 w 4525035"/>
              <a:gd name="connsiteY39" fmla="*/ 47914 h 662520"/>
              <a:gd name="connsiteX40" fmla="*/ 432736 w 4525035"/>
              <a:gd name="connsiteY40" fmla="*/ 75804 h 662520"/>
              <a:gd name="connsiteX41" fmla="*/ 458013 w 4525035"/>
              <a:gd name="connsiteY41" fmla="*/ 110509 h 662520"/>
              <a:gd name="connsiteX42" fmla="*/ 478379 w 4525035"/>
              <a:gd name="connsiteY42" fmla="*/ 152255 h 662520"/>
              <a:gd name="connsiteX43" fmla="*/ 493429 w 4525035"/>
              <a:gd name="connsiteY43" fmla="*/ 201265 h 662520"/>
              <a:gd name="connsiteX44" fmla="*/ 502756 w 4525035"/>
              <a:gd name="connsiteY44" fmla="*/ 257766 h 662520"/>
              <a:gd name="connsiteX45" fmla="*/ 505955 w 4525035"/>
              <a:gd name="connsiteY45" fmla="*/ 321983 h 662520"/>
              <a:gd name="connsiteX46" fmla="*/ 503406 w 4525035"/>
              <a:gd name="connsiteY46" fmla="*/ 376707 h 662520"/>
              <a:gd name="connsiteX47" fmla="*/ 495858 w 4525035"/>
              <a:gd name="connsiteY47" fmla="*/ 427041 h 662520"/>
              <a:gd name="connsiteX48" fmla="*/ 483456 w 4525035"/>
              <a:gd name="connsiteY48" fmla="*/ 472909 h 662520"/>
              <a:gd name="connsiteX49" fmla="*/ 466346 w 4525035"/>
              <a:gd name="connsiteY49" fmla="*/ 514232 h 662520"/>
              <a:gd name="connsiteX50" fmla="*/ 444674 w 4525035"/>
              <a:gd name="connsiteY50" fmla="*/ 550937 h 662520"/>
              <a:gd name="connsiteX51" fmla="*/ 418587 w 4525035"/>
              <a:gd name="connsiteY51" fmla="*/ 582945 h 662520"/>
              <a:gd name="connsiteX52" fmla="*/ 388229 w 4525035"/>
              <a:gd name="connsiteY52" fmla="*/ 610181 h 662520"/>
              <a:gd name="connsiteX53" fmla="*/ 353748 w 4525035"/>
              <a:gd name="connsiteY53" fmla="*/ 632569 h 662520"/>
              <a:gd name="connsiteX54" fmla="*/ 315289 w 4525035"/>
              <a:gd name="connsiteY54" fmla="*/ 650033 h 662520"/>
              <a:gd name="connsiteX55" fmla="*/ 272999 w 4525035"/>
              <a:gd name="connsiteY55" fmla="*/ 662495 h 662520"/>
              <a:gd name="connsiteX56" fmla="*/ 592162 w 4525035"/>
              <a:gd name="connsiteY56" fmla="*/ 662520 h 662520"/>
              <a:gd name="connsiteX57" fmla="*/ 571167 w 4525035"/>
              <a:gd name="connsiteY57" fmla="*/ 658030 h 662520"/>
              <a:gd name="connsiteX58" fmla="*/ 551373 w 4525035"/>
              <a:gd name="connsiteY58" fmla="*/ 652783 h 662520"/>
              <a:gd name="connsiteX59" fmla="*/ 532537 w 4525035"/>
              <a:gd name="connsiteY59" fmla="*/ 646826 h 662520"/>
              <a:gd name="connsiteX60" fmla="*/ 514413 w 4525035"/>
              <a:gd name="connsiteY60" fmla="*/ 640206 h 662520"/>
              <a:gd name="connsiteX61" fmla="*/ 514413 w 4525035"/>
              <a:gd name="connsiteY61" fmla="*/ 516293 h 662520"/>
              <a:gd name="connsiteX62" fmla="*/ 596087 w 4525035"/>
              <a:gd name="connsiteY62" fmla="*/ 516293 h 662520"/>
              <a:gd name="connsiteX63" fmla="*/ 612203 w 4525035"/>
              <a:gd name="connsiteY63" fmla="*/ 539439 h 662520"/>
              <a:gd name="connsiteX64" fmla="*/ 635627 w 4525035"/>
              <a:gd name="connsiteY64" fmla="*/ 559242 h 662520"/>
              <a:gd name="connsiteX65" fmla="*/ 666972 w 4525035"/>
              <a:gd name="connsiteY65" fmla="*/ 573062 h 662520"/>
              <a:gd name="connsiteX66" fmla="*/ 706856 w 4525035"/>
              <a:gd name="connsiteY66" fmla="*/ 578256 h 662520"/>
              <a:gd name="connsiteX67" fmla="*/ 749359 w 4525035"/>
              <a:gd name="connsiteY67" fmla="*/ 571758 h 662520"/>
              <a:gd name="connsiteX68" fmla="*/ 784298 w 4525035"/>
              <a:gd name="connsiteY68" fmla="*/ 552322 h 662520"/>
              <a:gd name="connsiteX69" fmla="*/ 807972 w 4525035"/>
              <a:gd name="connsiteY69" fmla="*/ 520038 h 662520"/>
              <a:gd name="connsiteX70" fmla="*/ 816686 w 4525035"/>
              <a:gd name="connsiteY70" fmla="*/ 474992 h 662520"/>
              <a:gd name="connsiteX71" fmla="*/ 809424 w 4525035"/>
              <a:gd name="connsiteY71" fmla="*/ 430240 h 662520"/>
              <a:gd name="connsiteX72" fmla="*/ 787466 w 4525035"/>
              <a:gd name="connsiteY72" fmla="*/ 398602 h 662520"/>
              <a:gd name="connsiteX73" fmla="*/ 750549 w 4525035"/>
              <a:gd name="connsiteY73" fmla="*/ 379812 h 662520"/>
              <a:gd name="connsiteX74" fmla="*/ 698411 w 4525035"/>
              <a:gd name="connsiteY74" fmla="*/ 373608 h 662520"/>
              <a:gd name="connsiteX75" fmla="*/ 649592 w 4525035"/>
              <a:gd name="connsiteY75" fmla="*/ 373608 h 662520"/>
              <a:gd name="connsiteX76" fmla="*/ 649592 w 4525035"/>
              <a:gd name="connsiteY76" fmla="*/ 286308 h 662520"/>
              <a:gd name="connsiteX77" fmla="*/ 690892 w 4525035"/>
              <a:gd name="connsiteY77" fmla="*/ 286308 h 662520"/>
              <a:gd name="connsiteX78" fmla="*/ 744563 w 4525035"/>
              <a:gd name="connsiteY78" fmla="*/ 280133 h 662520"/>
              <a:gd name="connsiteX79" fmla="*/ 783007 w 4525035"/>
              <a:gd name="connsiteY79" fmla="*/ 261550 h 662520"/>
              <a:gd name="connsiteX80" fmla="*/ 806137 w 4525035"/>
              <a:gd name="connsiteY80" fmla="*/ 230469 h 662520"/>
              <a:gd name="connsiteX81" fmla="*/ 813866 w 4525035"/>
              <a:gd name="connsiteY81" fmla="*/ 186804 h 662520"/>
              <a:gd name="connsiteX82" fmla="*/ 808513 w 4525035"/>
              <a:gd name="connsiteY82" fmla="*/ 149115 h 662520"/>
              <a:gd name="connsiteX83" fmla="*/ 792160 w 4525035"/>
              <a:gd name="connsiteY83" fmla="*/ 121104 h 662520"/>
              <a:gd name="connsiteX84" fmla="*/ 764365 w 4525035"/>
              <a:gd name="connsiteY84" fmla="*/ 103651 h 662520"/>
              <a:gd name="connsiteX85" fmla="*/ 724687 w 4525035"/>
              <a:gd name="connsiteY85" fmla="*/ 97637 h 662520"/>
              <a:gd name="connsiteX86" fmla="*/ 687243 w 4525035"/>
              <a:gd name="connsiteY86" fmla="*/ 102374 h 662520"/>
              <a:gd name="connsiteX87" fmla="*/ 657456 w 4525035"/>
              <a:gd name="connsiteY87" fmla="*/ 115117 h 662520"/>
              <a:gd name="connsiteX88" fmla="*/ 634533 w 4525035"/>
              <a:gd name="connsiteY88" fmla="*/ 133668 h 662520"/>
              <a:gd name="connsiteX89" fmla="*/ 617677 w 4525035"/>
              <a:gd name="connsiteY89" fmla="*/ 155828 h 662520"/>
              <a:gd name="connsiteX90" fmla="*/ 539775 w 4525035"/>
              <a:gd name="connsiteY90" fmla="*/ 155828 h 662520"/>
              <a:gd name="connsiteX91" fmla="*/ 539775 w 4525035"/>
              <a:gd name="connsiteY91" fmla="*/ 33807 h 662520"/>
              <a:gd name="connsiteX92" fmla="*/ 584006 w 4525035"/>
              <a:gd name="connsiteY92" fmla="*/ 19813 h 662520"/>
              <a:gd name="connsiteX93" fmla="*/ 631056 w 4525035"/>
              <a:gd name="connsiteY93" fmla="*/ 9159 h 662520"/>
              <a:gd name="connsiteX94" fmla="*/ 681278 w 4525035"/>
              <a:gd name="connsiteY94" fmla="*/ 2378 h 662520"/>
              <a:gd name="connsiteX95" fmla="*/ 735025 w 4525035"/>
              <a:gd name="connsiteY95" fmla="*/ 0 h 662520"/>
              <a:gd name="connsiteX96" fmla="*/ 790395 w 4525035"/>
              <a:gd name="connsiteY96" fmla="*/ 3158 h 662520"/>
              <a:gd name="connsiteX97" fmla="*/ 838689 w 4525035"/>
              <a:gd name="connsiteY97" fmla="*/ 12853 h 662520"/>
              <a:gd name="connsiteX98" fmla="*/ 879380 w 4525035"/>
              <a:gd name="connsiteY98" fmla="*/ 29412 h 662520"/>
              <a:gd name="connsiteX99" fmla="*/ 911943 w 4525035"/>
              <a:gd name="connsiteY99" fmla="*/ 53163 h 662520"/>
              <a:gd name="connsiteX100" fmla="*/ 935853 w 4525035"/>
              <a:gd name="connsiteY100" fmla="*/ 84435 h 662520"/>
              <a:gd name="connsiteX101" fmla="*/ 950584 w 4525035"/>
              <a:gd name="connsiteY101" fmla="*/ 123555 h 662520"/>
              <a:gd name="connsiteX102" fmla="*/ 955611 w 4525035"/>
              <a:gd name="connsiteY102" fmla="*/ 170853 h 662520"/>
              <a:gd name="connsiteX103" fmla="*/ 949453 w 4525035"/>
              <a:gd name="connsiteY103" fmla="*/ 219568 h 662520"/>
              <a:gd name="connsiteX104" fmla="*/ 931581 w 4525035"/>
              <a:gd name="connsiteY104" fmla="*/ 258234 h 662520"/>
              <a:gd name="connsiteX105" fmla="*/ 902895 w 4525035"/>
              <a:gd name="connsiteY105" fmla="*/ 287843 h 662520"/>
              <a:gd name="connsiteX106" fmla="*/ 864296 w 4525035"/>
              <a:gd name="connsiteY106" fmla="*/ 309388 h 662520"/>
              <a:gd name="connsiteX107" fmla="*/ 816686 w 4525035"/>
              <a:gd name="connsiteY107" fmla="*/ 323862 h 662520"/>
              <a:gd name="connsiteX108" fmla="*/ 816686 w 4525035"/>
              <a:gd name="connsiteY108" fmla="*/ 327609 h 662520"/>
              <a:gd name="connsiteX109" fmla="*/ 870681 w 4525035"/>
              <a:gd name="connsiteY109" fmla="*/ 340566 h 662520"/>
              <a:gd name="connsiteX110" fmla="*/ 912283 w 4525035"/>
              <a:gd name="connsiteY110" fmla="*/ 362534 h 662520"/>
              <a:gd name="connsiteX111" fmla="*/ 941719 w 4525035"/>
              <a:gd name="connsiteY111" fmla="*/ 393513 h 662520"/>
              <a:gd name="connsiteX112" fmla="*/ 959215 w 4525035"/>
              <a:gd name="connsiteY112" fmla="*/ 433502 h 662520"/>
              <a:gd name="connsiteX113" fmla="*/ 964996 w 4525035"/>
              <a:gd name="connsiteY113" fmla="*/ 482498 h 662520"/>
              <a:gd name="connsiteX114" fmla="*/ 959936 w 4525035"/>
              <a:gd name="connsiteY114" fmla="*/ 527743 h 662520"/>
              <a:gd name="connsiteX115" fmla="*/ 944659 w 4525035"/>
              <a:gd name="connsiteY115" fmla="*/ 567021 h 662520"/>
              <a:gd name="connsiteX116" fmla="*/ 920122 w 4525035"/>
              <a:gd name="connsiteY116" fmla="*/ 600232 h 662520"/>
              <a:gd name="connsiteX117" fmla="*/ 887285 w 4525035"/>
              <a:gd name="connsiteY117" fmla="*/ 627278 h 662520"/>
              <a:gd name="connsiteX118" fmla="*/ 847106 w 4525035"/>
              <a:gd name="connsiteY118" fmla="*/ 648061 h 662520"/>
              <a:gd name="connsiteX119" fmla="*/ 800544 w 4525035"/>
              <a:gd name="connsiteY119" fmla="*/ 662482 h 662520"/>
              <a:gd name="connsiteX120" fmla="*/ 1360843 w 4525035"/>
              <a:gd name="connsiteY120" fmla="*/ 662495 h 662520"/>
              <a:gd name="connsiteX121" fmla="*/ 1322871 w 4525035"/>
              <a:gd name="connsiteY121" fmla="*/ 649352 h 662520"/>
              <a:gd name="connsiteX122" fmla="*/ 1287296 w 4525035"/>
              <a:gd name="connsiteY122" fmla="*/ 630560 h 662520"/>
              <a:gd name="connsiteX123" fmla="*/ 1254670 w 4525035"/>
              <a:gd name="connsiteY123" fmla="*/ 606062 h 662520"/>
              <a:gd name="connsiteX124" fmla="*/ 1225546 w 4525035"/>
              <a:gd name="connsiteY124" fmla="*/ 575802 h 662520"/>
              <a:gd name="connsiteX125" fmla="*/ 1200477 w 4525035"/>
              <a:gd name="connsiteY125" fmla="*/ 539722 h 662520"/>
              <a:gd name="connsiteX126" fmla="*/ 1180016 w 4525035"/>
              <a:gd name="connsiteY126" fmla="*/ 497766 h 662520"/>
              <a:gd name="connsiteX127" fmla="*/ 1164717 w 4525035"/>
              <a:gd name="connsiteY127" fmla="*/ 449876 h 662520"/>
              <a:gd name="connsiteX128" fmla="*/ 1155131 w 4525035"/>
              <a:gd name="connsiteY128" fmla="*/ 395995 h 662520"/>
              <a:gd name="connsiteX129" fmla="*/ 1151813 w 4525035"/>
              <a:gd name="connsiteY129" fmla="*/ 336067 h 662520"/>
              <a:gd name="connsiteX130" fmla="*/ 1155053 w 4525035"/>
              <a:gd name="connsiteY130" fmla="*/ 276826 h 662520"/>
              <a:gd name="connsiteX131" fmla="*/ 1164415 w 4525035"/>
              <a:gd name="connsiteY131" fmla="*/ 223488 h 662520"/>
              <a:gd name="connsiteX132" fmla="*/ 1179368 w 4525035"/>
              <a:gd name="connsiteY132" fmla="*/ 175997 h 662520"/>
              <a:gd name="connsiteX133" fmla="*/ 1199377 w 4525035"/>
              <a:gd name="connsiteY133" fmla="*/ 134299 h 662520"/>
              <a:gd name="connsiteX134" fmla="*/ 1223910 w 4525035"/>
              <a:gd name="connsiteY134" fmla="*/ 98339 h 662520"/>
              <a:gd name="connsiteX135" fmla="*/ 1252434 w 4525035"/>
              <a:gd name="connsiteY135" fmla="*/ 68062 h 662520"/>
              <a:gd name="connsiteX136" fmla="*/ 1284414 w 4525035"/>
              <a:gd name="connsiteY136" fmla="*/ 43413 h 662520"/>
              <a:gd name="connsiteX137" fmla="*/ 1319318 w 4525035"/>
              <a:gd name="connsiteY137" fmla="*/ 24337 h 662520"/>
              <a:gd name="connsiteX138" fmla="*/ 1356613 w 4525035"/>
              <a:gd name="connsiteY138" fmla="*/ 10780 h 662520"/>
              <a:gd name="connsiteX139" fmla="*/ 1395766 w 4525035"/>
              <a:gd name="connsiteY139" fmla="*/ 2685 h 662520"/>
              <a:gd name="connsiteX140" fmla="*/ 1436243 w 4525035"/>
              <a:gd name="connsiteY140" fmla="*/ 0 h 662520"/>
              <a:gd name="connsiteX141" fmla="*/ 1476722 w 4525035"/>
              <a:gd name="connsiteY141" fmla="*/ 2685 h 662520"/>
              <a:gd name="connsiteX142" fmla="*/ 1515876 w 4525035"/>
              <a:gd name="connsiteY142" fmla="*/ 10780 h 662520"/>
              <a:gd name="connsiteX143" fmla="*/ 1553172 w 4525035"/>
              <a:gd name="connsiteY143" fmla="*/ 24337 h 662520"/>
              <a:gd name="connsiteX144" fmla="*/ 1588076 w 4525035"/>
              <a:gd name="connsiteY144" fmla="*/ 43413 h 662520"/>
              <a:gd name="connsiteX145" fmla="*/ 1620056 w 4525035"/>
              <a:gd name="connsiteY145" fmla="*/ 68062 h 662520"/>
              <a:gd name="connsiteX146" fmla="*/ 1648579 w 4525035"/>
              <a:gd name="connsiteY146" fmla="*/ 98339 h 662520"/>
              <a:gd name="connsiteX147" fmla="*/ 1673111 w 4525035"/>
              <a:gd name="connsiteY147" fmla="*/ 134299 h 662520"/>
              <a:gd name="connsiteX148" fmla="*/ 1693119 w 4525035"/>
              <a:gd name="connsiteY148" fmla="*/ 175997 h 662520"/>
              <a:gd name="connsiteX149" fmla="*/ 1708071 w 4525035"/>
              <a:gd name="connsiteY149" fmla="*/ 223488 h 662520"/>
              <a:gd name="connsiteX150" fmla="*/ 1717433 w 4525035"/>
              <a:gd name="connsiteY150" fmla="*/ 276826 h 662520"/>
              <a:gd name="connsiteX151" fmla="*/ 1720672 w 4525035"/>
              <a:gd name="connsiteY151" fmla="*/ 336067 h 662520"/>
              <a:gd name="connsiteX152" fmla="*/ 1717354 w 4525035"/>
              <a:gd name="connsiteY152" fmla="*/ 395995 h 662520"/>
              <a:gd name="connsiteX153" fmla="*/ 1707768 w 4525035"/>
              <a:gd name="connsiteY153" fmla="*/ 449876 h 662520"/>
              <a:gd name="connsiteX154" fmla="*/ 1692469 w 4525035"/>
              <a:gd name="connsiteY154" fmla="*/ 497766 h 662520"/>
              <a:gd name="connsiteX155" fmla="*/ 1672008 w 4525035"/>
              <a:gd name="connsiteY155" fmla="*/ 539722 h 662520"/>
              <a:gd name="connsiteX156" fmla="*/ 1646939 w 4525035"/>
              <a:gd name="connsiteY156" fmla="*/ 575802 h 662520"/>
              <a:gd name="connsiteX157" fmla="*/ 1617815 w 4525035"/>
              <a:gd name="connsiteY157" fmla="*/ 606062 h 662520"/>
              <a:gd name="connsiteX158" fmla="*/ 1585189 w 4525035"/>
              <a:gd name="connsiteY158" fmla="*/ 630560 h 662520"/>
              <a:gd name="connsiteX159" fmla="*/ 1549614 w 4525035"/>
              <a:gd name="connsiteY159" fmla="*/ 649352 h 662520"/>
              <a:gd name="connsiteX160" fmla="*/ 1511642 w 4525035"/>
              <a:gd name="connsiteY160" fmla="*/ 662495 h 662520"/>
              <a:gd name="connsiteX161" fmla="*/ 1943430 w 4525035"/>
              <a:gd name="connsiteY161" fmla="*/ 662495 h 662520"/>
              <a:gd name="connsiteX162" fmla="*/ 1905459 w 4525035"/>
              <a:gd name="connsiteY162" fmla="*/ 649348 h 662520"/>
              <a:gd name="connsiteX163" fmla="*/ 1869885 w 4525035"/>
              <a:gd name="connsiteY163" fmla="*/ 630555 h 662520"/>
              <a:gd name="connsiteX164" fmla="*/ 1837261 w 4525035"/>
              <a:gd name="connsiteY164" fmla="*/ 606057 h 662520"/>
              <a:gd name="connsiteX165" fmla="*/ 1808138 w 4525035"/>
              <a:gd name="connsiteY165" fmla="*/ 575797 h 662520"/>
              <a:gd name="connsiteX166" fmla="*/ 1783072 w 4525035"/>
              <a:gd name="connsiteY166" fmla="*/ 539718 h 662520"/>
              <a:gd name="connsiteX167" fmla="*/ 1762613 w 4525035"/>
              <a:gd name="connsiteY167" fmla="*/ 497763 h 662520"/>
              <a:gd name="connsiteX168" fmla="*/ 1747315 w 4525035"/>
              <a:gd name="connsiteY168" fmla="*/ 449874 h 662520"/>
              <a:gd name="connsiteX169" fmla="*/ 1737731 w 4525035"/>
              <a:gd name="connsiteY169" fmla="*/ 395995 h 662520"/>
              <a:gd name="connsiteX170" fmla="*/ 1734413 w 4525035"/>
              <a:gd name="connsiteY170" fmla="*/ 336067 h 662520"/>
              <a:gd name="connsiteX171" fmla="*/ 1737652 w 4525035"/>
              <a:gd name="connsiteY171" fmla="*/ 276826 h 662520"/>
              <a:gd name="connsiteX172" fmla="*/ 1747014 w 4525035"/>
              <a:gd name="connsiteY172" fmla="*/ 223488 h 662520"/>
              <a:gd name="connsiteX173" fmla="*/ 1761965 w 4525035"/>
              <a:gd name="connsiteY173" fmla="*/ 175997 h 662520"/>
              <a:gd name="connsiteX174" fmla="*/ 1781973 w 4525035"/>
              <a:gd name="connsiteY174" fmla="*/ 134299 h 662520"/>
              <a:gd name="connsiteX175" fmla="*/ 1806505 w 4525035"/>
              <a:gd name="connsiteY175" fmla="*/ 98339 h 662520"/>
              <a:gd name="connsiteX176" fmla="*/ 1835026 w 4525035"/>
              <a:gd name="connsiteY176" fmla="*/ 68062 h 662520"/>
              <a:gd name="connsiteX177" fmla="*/ 1867005 w 4525035"/>
              <a:gd name="connsiteY177" fmla="*/ 43413 h 662520"/>
              <a:gd name="connsiteX178" fmla="*/ 1901908 w 4525035"/>
              <a:gd name="connsiteY178" fmla="*/ 24337 h 662520"/>
              <a:gd name="connsiteX179" fmla="*/ 1939202 w 4525035"/>
              <a:gd name="connsiteY179" fmla="*/ 10780 h 662520"/>
              <a:gd name="connsiteX180" fmla="*/ 1978353 w 4525035"/>
              <a:gd name="connsiteY180" fmla="*/ 2685 h 662520"/>
              <a:gd name="connsiteX181" fmla="*/ 2018830 w 4525035"/>
              <a:gd name="connsiteY181" fmla="*/ 0 h 662520"/>
              <a:gd name="connsiteX182" fmla="*/ 2059309 w 4525035"/>
              <a:gd name="connsiteY182" fmla="*/ 2685 h 662520"/>
              <a:gd name="connsiteX183" fmla="*/ 2098463 w 4525035"/>
              <a:gd name="connsiteY183" fmla="*/ 10780 h 662520"/>
              <a:gd name="connsiteX184" fmla="*/ 2135759 w 4525035"/>
              <a:gd name="connsiteY184" fmla="*/ 24337 h 662520"/>
              <a:gd name="connsiteX185" fmla="*/ 2170664 w 4525035"/>
              <a:gd name="connsiteY185" fmla="*/ 43413 h 662520"/>
              <a:gd name="connsiteX186" fmla="*/ 2202644 w 4525035"/>
              <a:gd name="connsiteY186" fmla="*/ 68062 h 662520"/>
              <a:gd name="connsiteX187" fmla="*/ 2231166 w 4525035"/>
              <a:gd name="connsiteY187" fmla="*/ 98339 h 662520"/>
              <a:gd name="connsiteX188" fmla="*/ 2255698 w 4525035"/>
              <a:gd name="connsiteY188" fmla="*/ 134299 h 662520"/>
              <a:gd name="connsiteX189" fmla="*/ 2275706 w 4525035"/>
              <a:gd name="connsiteY189" fmla="*/ 175997 h 662520"/>
              <a:gd name="connsiteX190" fmla="*/ 2290658 w 4525035"/>
              <a:gd name="connsiteY190" fmla="*/ 223488 h 662520"/>
              <a:gd name="connsiteX191" fmla="*/ 2300020 w 4525035"/>
              <a:gd name="connsiteY191" fmla="*/ 276826 h 662520"/>
              <a:gd name="connsiteX192" fmla="*/ 2303259 w 4525035"/>
              <a:gd name="connsiteY192" fmla="*/ 336067 h 662520"/>
              <a:gd name="connsiteX193" fmla="*/ 2299941 w 4525035"/>
              <a:gd name="connsiteY193" fmla="*/ 395991 h 662520"/>
              <a:gd name="connsiteX194" fmla="*/ 2290357 w 4525035"/>
              <a:gd name="connsiteY194" fmla="*/ 449869 h 662520"/>
              <a:gd name="connsiteX195" fmla="*/ 2275059 w 4525035"/>
              <a:gd name="connsiteY195" fmla="*/ 497757 h 662520"/>
              <a:gd name="connsiteX196" fmla="*/ 2254600 w 4525035"/>
              <a:gd name="connsiteY196" fmla="*/ 539713 h 662520"/>
              <a:gd name="connsiteX197" fmla="*/ 2229533 w 4525035"/>
              <a:gd name="connsiteY197" fmla="*/ 575793 h 662520"/>
              <a:gd name="connsiteX198" fmla="*/ 2200411 w 4525035"/>
              <a:gd name="connsiteY198" fmla="*/ 606054 h 662520"/>
              <a:gd name="connsiteX199" fmla="*/ 2167787 w 4525035"/>
              <a:gd name="connsiteY199" fmla="*/ 630553 h 662520"/>
              <a:gd name="connsiteX200" fmla="*/ 2132213 w 4525035"/>
              <a:gd name="connsiteY200" fmla="*/ 649348 h 662520"/>
              <a:gd name="connsiteX201" fmla="*/ 2094242 w 4525035"/>
              <a:gd name="connsiteY201" fmla="*/ 662495 h 662520"/>
              <a:gd name="connsiteX202" fmla="*/ 2528582 w 4525035"/>
              <a:gd name="connsiteY202" fmla="*/ 662482 h 662520"/>
              <a:gd name="connsiteX203" fmla="*/ 2490620 w 4525035"/>
              <a:gd name="connsiteY203" fmla="*/ 649332 h 662520"/>
              <a:gd name="connsiteX204" fmla="*/ 2455053 w 4525035"/>
              <a:gd name="connsiteY204" fmla="*/ 630534 h 662520"/>
              <a:gd name="connsiteX205" fmla="*/ 2422435 w 4525035"/>
              <a:gd name="connsiteY205" fmla="*/ 606033 h 662520"/>
              <a:gd name="connsiteX206" fmla="*/ 2393318 w 4525035"/>
              <a:gd name="connsiteY206" fmla="*/ 575772 h 662520"/>
              <a:gd name="connsiteX207" fmla="*/ 2368257 w 4525035"/>
              <a:gd name="connsiteY207" fmla="*/ 539693 h 662520"/>
              <a:gd name="connsiteX208" fmla="*/ 2347803 w 4525035"/>
              <a:gd name="connsiteY208" fmla="*/ 497740 h 662520"/>
              <a:gd name="connsiteX209" fmla="*/ 2332510 w 4525035"/>
              <a:gd name="connsiteY209" fmla="*/ 449856 h 662520"/>
              <a:gd name="connsiteX210" fmla="*/ 2322930 w 4525035"/>
              <a:gd name="connsiteY210" fmla="*/ 395984 h 662520"/>
              <a:gd name="connsiteX211" fmla="*/ 2319616 w 4525035"/>
              <a:gd name="connsiteY211" fmla="*/ 336067 h 662520"/>
              <a:gd name="connsiteX212" fmla="*/ 2322855 w 4525035"/>
              <a:gd name="connsiteY212" fmla="*/ 276826 h 662520"/>
              <a:gd name="connsiteX213" fmla="*/ 2332217 w 4525035"/>
              <a:gd name="connsiteY213" fmla="*/ 223488 h 662520"/>
              <a:gd name="connsiteX214" fmla="*/ 2347169 w 4525035"/>
              <a:gd name="connsiteY214" fmla="*/ 175997 h 662520"/>
              <a:gd name="connsiteX215" fmla="*/ 2367177 w 4525035"/>
              <a:gd name="connsiteY215" fmla="*/ 134299 h 662520"/>
              <a:gd name="connsiteX216" fmla="*/ 2391708 w 4525035"/>
              <a:gd name="connsiteY216" fmla="*/ 98339 h 662520"/>
              <a:gd name="connsiteX217" fmla="*/ 2420230 w 4525035"/>
              <a:gd name="connsiteY217" fmla="*/ 68062 h 662520"/>
              <a:gd name="connsiteX218" fmla="*/ 2452208 w 4525035"/>
              <a:gd name="connsiteY218" fmla="*/ 43413 h 662520"/>
              <a:gd name="connsiteX219" fmla="*/ 2487111 w 4525035"/>
              <a:gd name="connsiteY219" fmla="*/ 24337 h 662520"/>
              <a:gd name="connsiteX220" fmla="*/ 2524405 w 4525035"/>
              <a:gd name="connsiteY220" fmla="*/ 10780 h 662520"/>
              <a:gd name="connsiteX221" fmla="*/ 2563557 w 4525035"/>
              <a:gd name="connsiteY221" fmla="*/ 2685 h 662520"/>
              <a:gd name="connsiteX222" fmla="*/ 2604033 w 4525035"/>
              <a:gd name="connsiteY222" fmla="*/ 0 h 662520"/>
              <a:gd name="connsiteX223" fmla="*/ 2644510 w 4525035"/>
              <a:gd name="connsiteY223" fmla="*/ 2685 h 662520"/>
              <a:gd name="connsiteX224" fmla="*/ 2683662 w 4525035"/>
              <a:gd name="connsiteY224" fmla="*/ 10780 h 662520"/>
              <a:gd name="connsiteX225" fmla="*/ 2720957 w 4525035"/>
              <a:gd name="connsiteY225" fmla="*/ 24337 h 662520"/>
              <a:gd name="connsiteX226" fmla="*/ 2755861 w 4525035"/>
              <a:gd name="connsiteY226" fmla="*/ 43413 h 662520"/>
              <a:gd name="connsiteX227" fmla="*/ 2787842 w 4525035"/>
              <a:gd name="connsiteY227" fmla="*/ 68062 h 662520"/>
              <a:gd name="connsiteX228" fmla="*/ 2816365 w 4525035"/>
              <a:gd name="connsiteY228" fmla="*/ 98339 h 662520"/>
              <a:gd name="connsiteX229" fmla="*/ 2840898 w 4525035"/>
              <a:gd name="connsiteY229" fmla="*/ 134299 h 662520"/>
              <a:gd name="connsiteX230" fmla="*/ 2860907 w 4525035"/>
              <a:gd name="connsiteY230" fmla="*/ 175997 h 662520"/>
              <a:gd name="connsiteX231" fmla="*/ 2875860 w 4525035"/>
              <a:gd name="connsiteY231" fmla="*/ 223488 h 662520"/>
              <a:gd name="connsiteX232" fmla="*/ 2885223 w 4525035"/>
              <a:gd name="connsiteY232" fmla="*/ 276826 h 662520"/>
              <a:gd name="connsiteX233" fmla="*/ 2888462 w 4525035"/>
              <a:gd name="connsiteY233" fmla="*/ 336067 h 662520"/>
              <a:gd name="connsiteX234" fmla="*/ 2885145 w 4525035"/>
              <a:gd name="connsiteY234" fmla="*/ 395987 h 662520"/>
              <a:gd name="connsiteX235" fmla="*/ 2875562 w 4525035"/>
              <a:gd name="connsiteY235" fmla="*/ 449861 h 662520"/>
              <a:gd name="connsiteX236" fmla="*/ 2860267 w 4525035"/>
              <a:gd name="connsiteY236" fmla="*/ 497745 h 662520"/>
              <a:gd name="connsiteX237" fmla="*/ 2839811 w 4525035"/>
              <a:gd name="connsiteY237" fmla="*/ 539698 h 662520"/>
              <a:gd name="connsiteX238" fmla="*/ 2814749 w 4525035"/>
              <a:gd name="connsiteY238" fmla="*/ 575776 h 662520"/>
              <a:gd name="connsiteX239" fmla="*/ 2785632 w 4525035"/>
              <a:gd name="connsiteY239" fmla="*/ 606036 h 662520"/>
              <a:gd name="connsiteX240" fmla="*/ 2753013 w 4525035"/>
              <a:gd name="connsiteY240" fmla="*/ 630536 h 662520"/>
              <a:gd name="connsiteX241" fmla="*/ 2717446 w 4525035"/>
              <a:gd name="connsiteY241" fmla="*/ 649332 h 662520"/>
              <a:gd name="connsiteX242" fmla="*/ 2679484 w 4525035"/>
              <a:gd name="connsiteY242" fmla="*/ 662482 h 662520"/>
              <a:gd name="connsiteX243" fmla="*/ 4525035 w 4525035"/>
              <a:gd name="connsiteY243" fmla="*/ 662482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234" fmla="*/ 2885145 w 2888462"/>
              <a:gd name="connsiteY234" fmla="*/ 395987 h 662520"/>
              <a:gd name="connsiteX235" fmla="*/ 2875562 w 2888462"/>
              <a:gd name="connsiteY235" fmla="*/ 449861 h 662520"/>
              <a:gd name="connsiteX236" fmla="*/ 2860267 w 2888462"/>
              <a:gd name="connsiteY236" fmla="*/ 497745 h 662520"/>
              <a:gd name="connsiteX237" fmla="*/ 2839811 w 2888462"/>
              <a:gd name="connsiteY237" fmla="*/ 539698 h 662520"/>
              <a:gd name="connsiteX238" fmla="*/ 2814749 w 2888462"/>
              <a:gd name="connsiteY238" fmla="*/ 575776 h 662520"/>
              <a:gd name="connsiteX239" fmla="*/ 2785632 w 2888462"/>
              <a:gd name="connsiteY239" fmla="*/ 606036 h 662520"/>
              <a:gd name="connsiteX240" fmla="*/ 2753013 w 2888462"/>
              <a:gd name="connsiteY240" fmla="*/ 630536 h 662520"/>
              <a:gd name="connsiteX241" fmla="*/ 2717446 w 2888462"/>
              <a:gd name="connsiteY241" fmla="*/ 649332 h 662520"/>
              <a:gd name="connsiteX242" fmla="*/ 2679484 w 2888462"/>
              <a:gd name="connsiteY242" fmla="*/ 662482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234" fmla="*/ 2885145 w 2888462"/>
              <a:gd name="connsiteY234" fmla="*/ 395987 h 662520"/>
              <a:gd name="connsiteX235" fmla="*/ 2875562 w 2888462"/>
              <a:gd name="connsiteY235" fmla="*/ 449861 h 662520"/>
              <a:gd name="connsiteX236" fmla="*/ 2860267 w 2888462"/>
              <a:gd name="connsiteY236" fmla="*/ 497745 h 662520"/>
              <a:gd name="connsiteX237" fmla="*/ 2839811 w 2888462"/>
              <a:gd name="connsiteY237" fmla="*/ 539698 h 662520"/>
              <a:gd name="connsiteX238" fmla="*/ 2814749 w 2888462"/>
              <a:gd name="connsiteY238" fmla="*/ 575776 h 662520"/>
              <a:gd name="connsiteX239" fmla="*/ 2785632 w 2888462"/>
              <a:gd name="connsiteY239" fmla="*/ 606036 h 662520"/>
              <a:gd name="connsiteX240" fmla="*/ 2753013 w 2888462"/>
              <a:gd name="connsiteY240" fmla="*/ 630536 h 662520"/>
              <a:gd name="connsiteX241" fmla="*/ 2717446 w 2888462"/>
              <a:gd name="connsiteY241" fmla="*/ 649332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234" fmla="*/ 2885145 w 2888462"/>
              <a:gd name="connsiteY234" fmla="*/ 395987 h 662520"/>
              <a:gd name="connsiteX235" fmla="*/ 2875562 w 2888462"/>
              <a:gd name="connsiteY235" fmla="*/ 449861 h 662520"/>
              <a:gd name="connsiteX236" fmla="*/ 2860267 w 2888462"/>
              <a:gd name="connsiteY236" fmla="*/ 497745 h 662520"/>
              <a:gd name="connsiteX237" fmla="*/ 2839811 w 2888462"/>
              <a:gd name="connsiteY237" fmla="*/ 539698 h 662520"/>
              <a:gd name="connsiteX238" fmla="*/ 2814749 w 2888462"/>
              <a:gd name="connsiteY238" fmla="*/ 575776 h 662520"/>
              <a:gd name="connsiteX239" fmla="*/ 2785632 w 2888462"/>
              <a:gd name="connsiteY239" fmla="*/ 606036 h 662520"/>
              <a:gd name="connsiteX240" fmla="*/ 2753013 w 2888462"/>
              <a:gd name="connsiteY240" fmla="*/ 630536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234" fmla="*/ 2885145 w 2888462"/>
              <a:gd name="connsiteY234" fmla="*/ 395987 h 662520"/>
              <a:gd name="connsiteX235" fmla="*/ 2875562 w 2888462"/>
              <a:gd name="connsiteY235" fmla="*/ 449861 h 662520"/>
              <a:gd name="connsiteX236" fmla="*/ 2860267 w 2888462"/>
              <a:gd name="connsiteY236" fmla="*/ 497745 h 662520"/>
              <a:gd name="connsiteX237" fmla="*/ 2839811 w 2888462"/>
              <a:gd name="connsiteY237" fmla="*/ 539698 h 662520"/>
              <a:gd name="connsiteX238" fmla="*/ 2814749 w 2888462"/>
              <a:gd name="connsiteY238" fmla="*/ 575776 h 662520"/>
              <a:gd name="connsiteX239" fmla="*/ 2785632 w 2888462"/>
              <a:gd name="connsiteY239" fmla="*/ 606036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234" fmla="*/ 2885145 w 2888462"/>
              <a:gd name="connsiteY234" fmla="*/ 395987 h 662520"/>
              <a:gd name="connsiteX235" fmla="*/ 2875562 w 2888462"/>
              <a:gd name="connsiteY235" fmla="*/ 449861 h 662520"/>
              <a:gd name="connsiteX236" fmla="*/ 2860267 w 2888462"/>
              <a:gd name="connsiteY236" fmla="*/ 497745 h 662520"/>
              <a:gd name="connsiteX237" fmla="*/ 2839811 w 2888462"/>
              <a:gd name="connsiteY237" fmla="*/ 539698 h 662520"/>
              <a:gd name="connsiteX238" fmla="*/ 2814749 w 2888462"/>
              <a:gd name="connsiteY238" fmla="*/ 575776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234" fmla="*/ 2885145 w 2888462"/>
              <a:gd name="connsiteY234" fmla="*/ 395987 h 662520"/>
              <a:gd name="connsiteX235" fmla="*/ 2875562 w 2888462"/>
              <a:gd name="connsiteY235" fmla="*/ 449861 h 662520"/>
              <a:gd name="connsiteX236" fmla="*/ 2860267 w 2888462"/>
              <a:gd name="connsiteY236" fmla="*/ 497745 h 662520"/>
              <a:gd name="connsiteX237" fmla="*/ 2839811 w 2888462"/>
              <a:gd name="connsiteY237" fmla="*/ 539698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234" fmla="*/ 2885145 w 2888462"/>
              <a:gd name="connsiteY234" fmla="*/ 395987 h 662520"/>
              <a:gd name="connsiteX235" fmla="*/ 2875562 w 2888462"/>
              <a:gd name="connsiteY235" fmla="*/ 449861 h 662520"/>
              <a:gd name="connsiteX236" fmla="*/ 2860267 w 2888462"/>
              <a:gd name="connsiteY236" fmla="*/ 497745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234" fmla="*/ 2885145 w 2888462"/>
              <a:gd name="connsiteY234" fmla="*/ 395987 h 662520"/>
              <a:gd name="connsiteX235" fmla="*/ 2875562 w 2888462"/>
              <a:gd name="connsiteY235" fmla="*/ 449861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234" fmla="*/ 2885145 w 2888462"/>
              <a:gd name="connsiteY234" fmla="*/ 395987 h 662520"/>
              <a:gd name="connsiteX0" fmla="*/ 74231 w 2888462"/>
              <a:gd name="connsiteY0" fmla="*/ 662482 h 662520"/>
              <a:gd name="connsiteX1" fmla="*/ 60344 w 2888462"/>
              <a:gd name="connsiteY1" fmla="*/ 659582 h 662520"/>
              <a:gd name="connsiteX2" fmla="*/ 47517 w 2888462"/>
              <a:gd name="connsiteY2" fmla="*/ 656437 h 662520"/>
              <a:gd name="connsiteX3" fmla="*/ 35823 w 2888462"/>
              <a:gd name="connsiteY3" fmla="*/ 653092 h 662520"/>
              <a:gd name="connsiteX4" fmla="*/ 25336 w 2888462"/>
              <a:gd name="connsiteY4" fmla="*/ 649592 h 662520"/>
              <a:gd name="connsiteX5" fmla="*/ 25336 w 2888462"/>
              <a:gd name="connsiteY5" fmla="*/ 533196 h 662520"/>
              <a:gd name="connsiteX6" fmla="*/ 104190 w 2888462"/>
              <a:gd name="connsiteY6" fmla="*/ 533196 h 662520"/>
              <a:gd name="connsiteX7" fmla="*/ 116931 w 2888462"/>
              <a:gd name="connsiteY7" fmla="*/ 550133 h 662520"/>
              <a:gd name="connsiteX8" fmla="*/ 135043 w 2888462"/>
              <a:gd name="connsiteY8" fmla="*/ 564522 h 662520"/>
              <a:gd name="connsiteX9" fmla="*/ 160020 w 2888462"/>
              <a:gd name="connsiteY9" fmla="*/ 574514 h 662520"/>
              <a:gd name="connsiteX10" fmla="*/ 193357 w 2888462"/>
              <a:gd name="connsiteY10" fmla="*/ 578256 h 662520"/>
              <a:gd name="connsiteX11" fmla="*/ 233829 w 2888462"/>
              <a:gd name="connsiteY11" fmla="*/ 573672 h 662520"/>
              <a:gd name="connsiteX12" fmla="*/ 297105 w 2888462"/>
              <a:gd name="connsiteY12" fmla="*/ 537246 h 662520"/>
              <a:gd name="connsiteX13" fmla="*/ 320040 w 2888462"/>
              <a:gd name="connsiteY13" fmla="*/ 505568 h 662520"/>
              <a:gd name="connsiteX14" fmla="*/ 337261 w 2888462"/>
              <a:gd name="connsiteY14" fmla="*/ 465022 h 662520"/>
              <a:gd name="connsiteX15" fmla="*/ 348834 w 2888462"/>
              <a:gd name="connsiteY15" fmla="*/ 415691 h 662520"/>
              <a:gd name="connsiteX16" fmla="*/ 354825 w 2888462"/>
              <a:gd name="connsiteY16" fmla="*/ 357657 h 662520"/>
              <a:gd name="connsiteX17" fmla="*/ 325357 w 2888462"/>
              <a:gd name="connsiteY17" fmla="*/ 385098 h 662520"/>
              <a:gd name="connsiteX18" fmla="*/ 289466 w 2888462"/>
              <a:gd name="connsiteY18" fmla="*/ 406117 h 662520"/>
              <a:gd name="connsiteX19" fmla="*/ 247767 w 2888462"/>
              <a:gd name="connsiteY19" fmla="*/ 419568 h 662520"/>
              <a:gd name="connsiteX20" fmla="*/ 200875 w 2888462"/>
              <a:gd name="connsiteY20" fmla="*/ 424306 h 662520"/>
              <a:gd name="connsiteX21" fmla="*/ 153099 w 2888462"/>
              <a:gd name="connsiteY21" fmla="*/ 420031 h 662520"/>
              <a:gd name="connsiteX22" fmla="*/ 110150 w 2888462"/>
              <a:gd name="connsiteY22" fmla="*/ 407348 h 662520"/>
              <a:gd name="connsiteX23" fmla="*/ 72948 w 2888462"/>
              <a:gd name="connsiteY23" fmla="*/ 386472 h 662520"/>
              <a:gd name="connsiteX24" fmla="*/ 42412 w 2888462"/>
              <a:gd name="connsiteY24" fmla="*/ 357614 h 662520"/>
              <a:gd name="connsiteX25" fmla="*/ 19463 w 2888462"/>
              <a:gd name="connsiteY25" fmla="*/ 320990 h 662520"/>
              <a:gd name="connsiteX26" fmla="*/ 5019 w 2888462"/>
              <a:gd name="connsiteY26" fmla="*/ 276814 h 662520"/>
              <a:gd name="connsiteX27" fmla="*/ 0 w 2888462"/>
              <a:gd name="connsiteY27" fmla="*/ 225297 h 662520"/>
              <a:gd name="connsiteX28" fmla="*/ 4447 w 2888462"/>
              <a:gd name="connsiteY28" fmla="*/ 178425 h 662520"/>
              <a:gd name="connsiteX29" fmla="*/ 17453 w 2888462"/>
              <a:gd name="connsiteY29" fmla="*/ 135445 h 662520"/>
              <a:gd name="connsiteX30" fmla="*/ 38511 w 2888462"/>
              <a:gd name="connsiteY30" fmla="*/ 97085 h 662520"/>
              <a:gd name="connsiteX31" fmla="*/ 67116 w 2888462"/>
              <a:gd name="connsiteY31" fmla="*/ 64071 h 662520"/>
              <a:gd name="connsiteX32" fmla="*/ 102760 w 2888462"/>
              <a:gd name="connsiteY32" fmla="*/ 37129 h 662520"/>
              <a:gd name="connsiteX33" fmla="*/ 144939 w 2888462"/>
              <a:gd name="connsiteY33" fmla="*/ 16986 h 662520"/>
              <a:gd name="connsiteX34" fmla="*/ 193146 w 2888462"/>
              <a:gd name="connsiteY34" fmla="*/ 4367 h 662520"/>
              <a:gd name="connsiteX35" fmla="*/ 246875 w 2888462"/>
              <a:gd name="connsiteY35" fmla="*/ 0 h 662520"/>
              <a:gd name="connsiteX36" fmla="*/ 290625 w 2888462"/>
              <a:gd name="connsiteY36" fmla="*/ 2882 h 662520"/>
              <a:gd name="connsiteX37" fmla="*/ 331492 w 2888462"/>
              <a:gd name="connsiteY37" fmla="*/ 11678 h 662520"/>
              <a:gd name="connsiteX38" fmla="*/ 369070 w 2888462"/>
              <a:gd name="connsiteY38" fmla="*/ 26614 h 662520"/>
              <a:gd name="connsiteX39" fmla="*/ 402953 w 2888462"/>
              <a:gd name="connsiteY39" fmla="*/ 47914 h 662520"/>
              <a:gd name="connsiteX40" fmla="*/ 432736 w 2888462"/>
              <a:gd name="connsiteY40" fmla="*/ 75804 h 662520"/>
              <a:gd name="connsiteX41" fmla="*/ 458013 w 2888462"/>
              <a:gd name="connsiteY41" fmla="*/ 110509 h 662520"/>
              <a:gd name="connsiteX42" fmla="*/ 478379 w 2888462"/>
              <a:gd name="connsiteY42" fmla="*/ 152255 h 662520"/>
              <a:gd name="connsiteX43" fmla="*/ 493429 w 2888462"/>
              <a:gd name="connsiteY43" fmla="*/ 201265 h 662520"/>
              <a:gd name="connsiteX44" fmla="*/ 502756 w 2888462"/>
              <a:gd name="connsiteY44" fmla="*/ 257766 h 662520"/>
              <a:gd name="connsiteX45" fmla="*/ 505955 w 2888462"/>
              <a:gd name="connsiteY45" fmla="*/ 321983 h 662520"/>
              <a:gd name="connsiteX46" fmla="*/ 503406 w 2888462"/>
              <a:gd name="connsiteY46" fmla="*/ 376707 h 662520"/>
              <a:gd name="connsiteX47" fmla="*/ 495858 w 2888462"/>
              <a:gd name="connsiteY47" fmla="*/ 427041 h 662520"/>
              <a:gd name="connsiteX48" fmla="*/ 483456 w 2888462"/>
              <a:gd name="connsiteY48" fmla="*/ 472909 h 662520"/>
              <a:gd name="connsiteX49" fmla="*/ 466346 w 2888462"/>
              <a:gd name="connsiteY49" fmla="*/ 514232 h 662520"/>
              <a:gd name="connsiteX50" fmla="*/ 444674 w 2888462"/>
              <a:gd name="connsiteY50" fmla="*/ 550937 h 662520"/>
              <a:gd name="connsiteX51" fmla="*/ 418587 w 2888462"/>
              <a:gd name="connsiteY51" fmla="*/ 582945 h 662520"/>
              <a:gd name="connsiteX52" fmla="*/ 388229 w 2888462"/>
              <a:gd name="connsiteY52" fmla="*/ 610181 h 662520"/>
              <a:gd name="connsiteX53" fmla="*/ 353748 w 2888462"/>
              <a:gd name="connsiteY53" fmla="*/ 632569 h 662520"/>
              <a:gd name="connsiteX54" fmla="*/ 315289 w 2888462"/>
              <a:gd name="connsiteY54" fmla="*/ 650033 h 662520"/>
              <a:gd name="connsiteX55" fmla="*/ 272999 w 2888462"/>
              <a:gd name="connsiteY55" fmla="*/ 662495 h 662520"/>
              <a:gd name="connsiteX56" fmla="*/ 592162 w 2888462"/>
              <a:gd name="connsiteY56" fmla="*/ 662520 h 662520"/>
              <a:gd name="connsiteX57" fmla="*/ 571167 w 2888462"/>
              <a:gd name="connsiteY57" fmla="*/ 658030 h 662520"/>
              <a:gd name="connsiteX58" fmla="*/ 551373 w 2888462"/>
              <a:gd name="connsiteY58" fmla="*/ 652783 h 662520"/>
              <a:gd name="connsiteX59" fmla="*/ 532537 w 2888462"/>
              <a:gd name="connsiteY59" fmla="*/ 646826 h 662520"/>
              <a:gd name="connsiteX60" fmla="*/ 514413 w 2888462"/>
              <a:gd name="connsiteY60" fmla="*/ 640206 h 662520"/>
              <a:gd name="connsiteX61" fmla="*/ 514413 w 2888462"/>
              <a:gd name="connsiteY61" fmla="*/ 516293 h 662520"/>
              <a:gd name="connsiteX62" fmla="*/ 596087 w 2888462"/>
              <a:gd name="connsiteY62" fmla="*/ 516293 h 662520"/>
              <a:gd name="connsiteX63" fmla="*/ 612203 w 2888462"/>
              <a:gd name="connsiteY63" fmla="*/ 539439 h 662520"/>
              <a:gd name="connsiteX64" fmla="*/ 635627 w 2888462"/>
              <a:gd name="connsiteY64" fmla="*/ 559242 h 662520"/>
              <a:gd name="connsiteX65" fmla="*/ 666972 w 2888462"/>
              <a:gd name="connsiteY65" fmla="*/ 573062 h 662520"/>
              <a:gd name="connsiteX66" fmla="*/ 706856 w 2888462"/>
              <a:gd name="connsiteY66" fmla="*/ 578256 h 662520"/>
              <a:gd name="connsiteX67" fmla="*/ 749359 w 2888462"/>
              <a:gd name="connsiteY67" fmla="*/ 571758 h 662520"/>
              <a:gd name="connsiteX68" fmla="*/ 784298 w 2888462"/>
              <a:gd name="connsiteY68" fmla="*/ 552322 h 662520"/>
              <a:gd name="connsiteX69" fmla="*/ 807972 w 2888462"/>
              <a:gd name="connsiteY69" fmla="*/ 520038 h 662520"/>
              <a:gd name="connsiteX70" fmla="*/ 816686 w 2888462"/>
              <a:gd name="connsiteY70" fmla="*/ 474992 h 662520"/>
              <a:gd name="connsiteX71" fmla="*/ 809424 w 2888462"/>
              <a:gd name="connsiteY71" fmla="*/ 430240 h 662520"/>
              <a:gd name="connsiteX72" fmla="*/ 787466 w 2888462"/>
              <a:gd name="connsiteY72" fmla="*/ 398602 h 662520"/>
              <a:gd name="connsiteX73" fmla="*/ 750549 w 2888462"/>
              <a:gd name="connsiteY73" fmla="*/ 379812 h 662520"/>
              <a:gd name="connsiteX74" fmla="*/ 698411 w 2888462"/>
              <a:gd name="connsiteY74" fmla="*/ 373608 h 662520"/>
              <a:gd name="connsiteX75" fmla="*/ 649592 w 2888462"/>
              <a:gd name="connsiteY75" fmla="*/ 373608 h 662520"/>
              <a:gd name="connsiteX76" fmla="*/ 649592 w 2888462"/>
              <a:gd name="connsiteY76" fmla="*/ 286308 h 662520"/>
              <a:gd name="connsiteX77" fmla="*/ 690892 w 2888462"/>
              <a:gd name="connsiteY77" fmla="*/ 286308 h 662520"/>
              <a:gd name="connsiteX78" fmla="*/ 744563 w 2888462"/>
              <a:gd name="connsiteY78" fmla="*/ 280133 h 662520"/>
              <a:gd name="connsiteX79" fmla="*/ 783007 w 2888462"/>
              <a:gd name="connsiteY79" fmla="*/ 261550 h 662520"/>
              <a:gd name="connsiteX80" fmla="*/ 806137 w 2888462"/>
              <a:gd name="connsiteY80" fmla="*/ 230469 h 662520"/>
              <a:gd name="connsiteX81" fmla="*/ 813866 w 2888462"/>
              <a:gd name="connsiteY81" fmla="*/ 186804 h 662520"/>
              <a:gd name="connsiteX82" fmla="*/ 808513 w 2888462"/>
              <a:gd name="connsiteY82" fmla="*/ 149115 h 662520"/>
              <a:gd name="connsiteX83" fmla="*/ 792160 w 2888462"/>
              <a:gd name="connsiteY83" fmla="*/ 121104 h 662520"/>
              <a:gd name="connsiteX84" fmla="*/ 764365 w 2888462"/>
              <a:gd name="connsiteY84" fmla="*/ 103651 h 662520"/>
              <a:gd name="connsiteX85" fmla="*/ 724687 w 2888462"/>
              <a:gd name="connsiteY85" fmla="*/ 97637 h 662520"/>
              <a:gd name="connsiteX86" fmla="*/ 687243 w 2888462"/>
              <a:gd name="connsiteY86" fmla="*/ 102374 h 662520"/>
              <a:gd name="connsiteX87" fmla="*/ 657456 w 2888462"/>
              <a:gd name="connsiteY87" fmla="*/ 115117 h 662520"/>
              <a:gd name="connsiteX88" fmla="*/ 634533 w 2888462"/>
              <a:gd name="connsiteY88" fmla="*/ 133668 h 662520"/>
              <a:gd name="connsiteX89" fmla="*/ 617677 w 2888462"/>
              <a:gd name="connsiteY89" fmla="*/ 155828 h 662520"/>
              <a:gd name="connsiteX90" fmla="*/ 539775 w 2888462"/>
              <a:gd name="connsiteY90" fmla="*/ 155828 h 662520"/>
              <a:gd name="connsiteX91" fmla="*/ 539775 w 2888462"/>
              <a:gd name="connsiteY91" fmla="*/ 33807 h 662520"/>
              <a:gd name="connsiteX92" fmla="*/ 584006 w 2888462"/>
              <a:gd name="connsiteY92" fmla="*/ 19813 h 662520"/>
              <a:gd name="connsiteX93" fmla="*/ 631056 w 2888462"/>
              <a:gd name="connsiteY93" fmla="*/ 9159 h 662520"/>
              <a:gd name="connsiteX94" fmla="*/ 681278 w 2888462"/>
              <a:gd name="connsiteY94" fmla="*/ 2378 h 662520"/>
              <a:gd name="connsiteX95" fmla="*/ 735025 w 2888462"/>
              <a:gd name="connsiteY95" fmla="*/ 0 h 662520"/>
              <a:gd name="connsiteX96" fmla="*/ 790395 w 2888462"/>
              <a:gd name="connsiteY96" fmla="*/ 3158 h 662520"/>
              <a:gd name="connsiteX97" fmla="*/ 838689 w 2888462"/>
              <a:gd name="connsiteY97" fmla="*/ 12853 h 662520"/>
              <a:gd name="connsiteX98" fmla="*/ 879380 w 2888462"/>
              <a:gd name="connsiteY98" fmla="*/ 29412 h 662520"/>
              <a:gd name="connsiteX99" fmla="*/ 911943 w 2888462"/>
              <a:gd name="connsiteY99" fmla="*/ 53163 h 662520"/>
              <a:gd name="connsiteX100" fmla="*/ 935853 w 2888462"/>
              <a:gd name="connsiteY100" fmla="*/ 84435 h 662520"/>
              <a:gd name="connsiteX101" fmla="*/ 950584 w 2888462"/>
              <a:gd name="connsiteY101" fmla="*/ 123555 h 662520"/>
              <a:gd name="connsiteX102" fmla="*/ 955611 w 2888462"/>
              <a:gd name="connsiteY102" fmla="*/ 170853 h 662520"/>
              <a:gd name="connsiteX103" fmla="*/ 949453 w 2888462"/>
              <a:gd name="connsiteY103" fmla="*/ 219568 h 662520"/>
              <a:gd name="connsiteX104" fmla="*/ 931581 w 2888462"/>
              <a:gd name="connsiteY104" fmla="*/ 258234 h 662520"/>
              <a:gd name="connsiteX105" fmla="*/ 902895 w 2888462"/>
              <a:gd name="connsiteY105" fmla="*/ 287843 h 662520"/>
              <a:gd name="connsiteX106" fmla="*/ 864296 w 2888462"/>
              <a:gd name="connsiteY106" fmla="*/ 309388 h 662520"/>
              <a:gd name="connsiteX107" fmla="*/ 816686 w 2888462"/>
              <a:gd name="connsiteY107" fmla="*/ 323862 h 662520"/>
              <a:gd name="connsiteX108" fmla="*/ 816686 w 2888462"/>
              <a:gd name="connsiteY108" fmla="*/ 327609 h 662520"/>
              <a:gd name="connsiteX109" fmla="*/ 870681 w 2888462"/>
              <a:gd name="connsiteY109" fmla="*/ 340566 h 662520"/>
              <a:gd name="connsiteX110" fmla="*/ 912283 w 2888462"/>
              <a:gd name="connsiteY110" fmla="*/ 362534 h 662520"/>
              <a:gd name="connsiteX111" fmla="*/ 941719 w 2888462"/>
              <a:gd name="connsiteY111" fmla="*/ 393513 h 662520"/>
              <a:gd name="connsiteX112" fmla="*/ 959215 w 2888462"/>
              <a:gd name="connsiteY112" fmla="*/ 433502 h 662520"/>
              <a:gd name="connsiteX113" fmla="*/ 964996 w 2888462"/>
              <a:gd name="connsiteY113" fmla="*/ 482498 h 662520"/>
              <a:gd name="connsiteX114" fmla="*/ 959936 w 2888462"/>
              <a:gd name="connsiteY114" fmla="*/ 527743 h 662520"/>
              <a:gd name="connsiteX115" fmla="*/ 944659 w 2888462"/>
              <a:gd name="connsiteY115" fmla="*/ 567021 h 662520"/>
              <a:gd name="connsiteX116" fmla="*/ 920122 w 2888462"/>
              <a:gd name="connsiteY116" fmla="*/ 600232 h 662520"/>
              <a:gd name="connsiteX117" fmla="*/ 887285 w 2888462"/>
              <a:gd name="connsiteY117" fmla="*/ 627278 h 662520"/>
              <a:gd name="connsiteX118" fmla="*/ 847106 w 2888462"/>
              <a:gd name="connsiteY118" fmla="*/ 648061 h 662520"/>
              <a:gd name="connsiteX119" fmla="*/ 800544 w 2888462"/>
              <a:gd name="connsiteY119" fmla="*/ 662482 h 662520"/>
              <a:gd name="connsiteX120" fmla="*/ 1360843 w 2888462"/>
              <a:gd name="connsiteY120" fmla="*/ 662495 h 662520"/>
              <a:gd name="connsiteX121" fmla="*/ 1322871 w 2888462"/>
              <a:gd name="connsiteY121" fmla="*/ 649352 h 662520"/>
              <a:gd name="connsiteX122" fmla="*/ 1287296 w 2888462"/>
              <a:gd name="connsiteY122" fmla="*/ 630560 h 662520"/>
              <a:gd name="connsiteX123" fmla="*/ 1254670 w 2888462"/>
              <a:gd name="connsiteY123" fmla="*/ 606062 h 662520"/>
              <a:gd name="connsiteX124" fmla="*/ 1225546 w 2888462"/>
              <a:gd name="connsiteY124" fmla="*/ 575802 h 662520"/>
              <a:gd name="connsiteX125" fmla="*/ 1200477 w 2888462"/>
              <a:gd name="connsiteY125" fmla="*/ 539722 h 662520"/>
              <a:gd name="connsiteX126" fmla="*/ 1180016 w 2888462"/>
              <a:gd name="connsiteY126" fmla="*/ 497766 h 662520"/>
              <a:gd name="connsiteX127" fmla="*/ 1164717 w 2888462"/>
              <a:gd name="connsiteY127" fmla="*/ 449876 h 662520"/>
              <a:gd name="connsiteX128" fmla="*/ 1155131 w 2888462"/>
              <a:gd name="connsiteY128" fmla="*/ 395995 h 662520"/>
              <a:gd name="connsiteX129" fmla="*/ 1151813 w 2888462"/>
              <a:gd name="connsiteY129" fmla="*/ 336067 h 662520"/>
              <a:gd name="connsiteX130" fmla="*/ 1155053 w 2888462"/>
              <a:gd name="connsiteY130" fmla="*/ 276826 h 662520"/>
              <a:gd name="connsiteX131" fmla="*/ 1164415 w 2888462"/>
              <a:gd name="connsiteY131" fmla="*/ 223488 h 662520"/>
              <a:gd name="connsiteX132" fmla="*/ 1179368 w 2888462"/>
              <a:gd name="connsiteY132" fmla="*/ 175997 h 662520"/>
              <a:gd name="connsiteX133" fmla="*/ 1199377 w 2888462"/>
              <a:gd name="connsiteY133" fmla="*/ 134299 h 662520"/>
              <a:gd name="connsiteX134" fmla="*/ 1223910 w 2888462"/>
              <a:gd name="connsiteY134" fmla="*/ 98339 h 662520"/>
              <a:gd name="connsiteX135" fmla="*/ 1252434 w 2888462"/>
              <a:gd name="connsiteY135" fmla="*/ 68062 h 662520"/>
              <a:gd name="connsiteX136" fmla="*/ 1284414 w 2888462"/>
              <a:gd name="connsiteY136" fmla="*/ 43413 h 662520"/>
              <a:gd name="connsiteX137" fmla="*/ 1319318 w 2888462"/>
              <a:gd name="connsiteY137" fmla="*/ 24337 h 662520"/>
              <a:gd name="connsiteX138" fmla="*/ 1356613 w 2888462"/>
              <a:gd name="connsiteY138" fmla="*/ 10780 h 662520"/>
              <a:gd name="connsiteX139" fmla="*/ 1395766 w 2888462"/>
              <a:gd name="connsiteY139" fmla="*/ 2685 h 662520"/>
              <a:gd name="connsiteX140" fmla="*/ 1436243 w 2888462"/>
              <a:gd name="connsiteY140" fmla="*/ 0 h 662520"/>
              <a:gd name="connsiteX141" fmla="*/ 1476722 w 2888462"/>
              <a:gd name="connsiteY141" fmla="*/ 2685 h 662520"/>
              <a:gd name="connsiteX142" fmla="*/ 1515876 w 2888462"/>
              <a:gd name="connsiteY142" fmla="*/ 10780 h 662520"/>
              <a:gd name="connsiteX143" fmla="*/ 1553172 w 2888462"/>
              <a:gd name="connsiteY143" fmla="*/ 24337 h 662520"/>
              <a:gd name="connsiteX144" fmla="*/ 1588076 w 2888462"/>
              <a:gd name="connsiteY144" fmla="*/ 43413 h 662520"/>
              <a:gd name="connsiteX145" fmla="*/ 1620056 w 2888462"/>
              <a:gd name="connsiteY145" fmla="*/ 68062 h 662520"/>
              <a:gd name="connsiteX146" fmla="*/ 1648579 w 2888462"/>
              <a:gd name="connsiteY146" fmla="*/ 98339 h 662520"/>
              <a:gd name="connsiteX147" fmla="*/ 1673111 w 2888462"/>
              <a:gd name="connsiteY147" fmla="*/ 134299 h 662520"/>
              <a:gd name="connsiteX148" fmla="*/ 1693119 w 2888462"/>
              <a:gd name="connsiteY148" fmla="*/ 175997 h 662520"/>
              <a:gd name="connsiteX149" fmla="*/ 1708071 w 2888462"/>
              <a:gd name="connsiteY149" fmla="*/ 223488 h 662520"/>
              <a:gd name="connsiteX150" fmla="*/ 1717433 w 2888462"/>
              <a:gd name="connsiteY150" fmla="*/ 276826 h 662520"/>
              <a:gd name="connsiteX151" fmla="*/ 1720672 w 2888462"/>
              <a:gd name="connsiteY151" fmla="*/ 336067 h 662520"/>
              <a:gd name="connsiteX152" fmla="*/ 1717354 w 2888462"/>
              <a:gd name="connsiteY152" fmla="*/ 395995 h 662520"/>
              <a:gd name="connsiteX153" fmla="*/ 1707768 w 2888462"/>
              <a:gd name="connsiteY153" fmla="*/ 449876 h 662520"/>
              <a:gd name="connsiteX154" fmla="*/ 1692469 w 2888462"/>
              <a:gd name="connsiteY154" fmla="*/ 497766 h 662520"/>
              <a:gd name="connsiteX155" fmla="*/ 1672008 w 2888462"/>
              <a:gd name="connsiteY155" fmla="*/ 539722 h 662520"/>
              <a:gd name="connsiteX156" fmla="*/ 1646939 w 2888462"/>
              <a:gd name="connsiteY156" fmla="*/ 575802 h 662520"/>
              <a:gd name="connsiteX157" fmla="*/ 1617815 w 2888462"/>
              <a:gd name="connsiteY157" fmla="*/ 606062 h 662520"/>
              <a:gd name="connsiteX158" fmla="*/ 1585189 w 2888462"/>
              <a:gd name="connsiteY158" fmla="*/ 630560 h 662520"/>
              <a:gd name="connsiteX159" fmla="*/ 1549614 w 2888462"/>
              <a:gd name="connsiteY159" fmla="*/ 649352 h 662520"/>
              <a:gd name="connsiteX160" fmla="*/ 1511642 w 2888462"/>
              <a:gd name="connsiteY160" fmla="*/ 662495 h 662520"/>
              <a:gd name="connsiteX161" fmla="*/ 1943430 w 2888462"/>
              <a:gd name="connsiteY161" fmla="*/ 662495 h 662520"/>
              <a:gd name="connsiteX162" fmla="*/ 1905459 w 2888462"/>
              <a:gd name="connsiteY162" fmla="*/ 649348 h 662520"/>
              <a:gd name="connsiteX163" fmla="*/ 1869885 w 2888462"/>
              <a:gd name="connsiteY163" fmla="*/ 630555 h 662520"/>
              <a:gd name="connsiteX164" fmla="*/ 1837261 w 2888462"/>
              <a:gd name="connsiteY164" fmla="*/ 606057 h 662520"/>
              <a:gd name="connsiteX165" fmla="*/ 1808138 w 2888462"/>
              <a:gd name="connsiteY165" fmla="*/ 575797 h 662520"/>
              <a:gd name="connsiteX166" fmla="*/ 1783072 w 2888462"/>
              <a:gd name="connsiteY166" fmla="*/ 539718 h 662520"/>
              <a:gd name="connsiteX167" fmla="*/ 1762613 w 2888462"/>
              <a:gd name="connsiteY167" fmla="*/ 497763 h 662520"/>
              <a:gd name="connsiteX168" fmla="*/ 1747315 w 2888462"/>
              <a:gd name="connsiteY168" fmla="*/ 449874 h 662520"/>
              <a:gd name="connsiteX169" fmla="*/ 1737731 w 2888462"/>
              <a:gd name="connsiteY169" fmla="*/ 395995 h 662520"/>
              <a:gd name="connsiteX170" fmla="*/ 1734413 w 2888462"/>
              <a:gd name="connsiteY170" fmla="*/ 336067 h 662520"/>
              <a:gd name="connsiteX171" fmla="*/ 1737652 w 2888462"/>
              <a:gd name="connsiteY171" fmla="*/ 276826 h 662520"/>
              <a:gd name="connsiteX172" fmla="*/ 1747014 w 2888462"/>
              <a:gd name="connsiteY172" fmla="*/ 223488 h 662520"/>
              <a:gd name="connsiteX173" fmla="*/ 1761965 w 2888462"/>
              <a:gd name="connsiteY173" fmla="*/ 175997 h 662520"/>
              <a:gd name="connsiteX174" fmla="*/ 1781973 w 2888462"/>
              <a:gd name="connsiteY174" fmla="*/ 134299 h 662520"/>
              <a:gd name="connsiteX175" fmla="*/ 1806505 w 2888462"/>
              <a:gd name="connsiteY175" fmla="*/ 98339 h 662520"/>
              <a:gd name="connsiteX176" fmla="*/ 1835026 w 2888462"/>
              <a:gd name="connsiteY176" fmla="*/ 68062 h 662520"/>
              <a:gd name="connsiteX177" fmla="*/ 1867005 w 2888462"/>
              <a:gd name="connsiteY177" fmla="*/ 43413 h 662520"/>
              <a:gd name="connsiteX178" fmla="*/ 1901908 w 2888462"/>
              <a:gd name="connsiteY178" fmla="*/ 24337 h 662520"/>
              <a:gd name="connsiteX179" fmla="*/ 1939202 w 2888462"/>
              <a:gd name="connsiteY179" fmla="*/ 10780 h 662520"/>
              <a:gd name="connsiteX180" fmla="*/ 1978353 w 2888462"/>
              <a:gd name="connsiteY180" fmla="*/ 2685 h 662520"/>
              <a:gd name="connsiteX181" fmla="*/ 2018830 w 2888462"/>
              <a:gd name="connsiteY181" fmla="*/ 0 h 662520"/>
              <a:gd name="connsiteX182" fmla="*/ 2059309 w 2888462"/>
              <a:gd name="connsiteY182" fmla="*/ 2685 h 662520"/>
              <a:gd name="connsiteX183" fmla="*/ 2098463 w 2888462"/>
              <a:gd name="connsiteY183" fmla="*/ 10780 h 662520"/>
              <a:gd name="connsiteX184" fmla="*/ 2135759 w 2888462"/>
              <a:gd name="connsiteY184" fmla="*/ 24337 h 662520"/>
              <a:gd name="connsiteX185" fmla="*/ 2170664 w 2888462"/>
              <a:gd name="connsiteY185" fmla="*/ 43413 h 662520"/>
              <a:gd name="connsiteX186" fmla="*/ 2202644 w 2888462"/>
              <a:gd name="connsiteY186" fmla="*/ 68062 h 662520"/>
              <a:gd name="connsiteX187" fmla="*/ 2231166 w 2888462"/>
              <a:gd name="connsiteY187" fmla="*/ 98339 h 662520"/>
              <a:gd name="connsiteX188" fmla="*/ 2255698 w 2888462"/>
              <a:gd name="connsiteY188" fmla="*/ 134299 h 662520"/>
              <a:gd name="connsiteX189" fmla="*/ 2275706 w 2888462"/>
              <a:gd name="connsiteY189" fmla="*/ 175997 h 662520"/>
              <a:gd name="connsiteX190" fmla="*/ 2290658 w 2888462"/>
              <a:gd name="connsiteY190" fmla="*/ 223488 h 662520"/>
              <a:gd name="connsiteX191" fmla="*/ 2300020 w 2888462"/>
              <a:gd name="connsiteY191" fmla="*/ 276826 h 662520"/>
              <a:gd name="connsiteX192" fmla="*/ 2303259 w 2888462"/>
              <a:gd name="connsiteY192" fmla="*/ 336067 h 662520"/>
              <a:gd name="connsiteX193" fmla="*/ 2299941 w 2888462"/>
              <a:gd name="connsiteY193" fmla="*/ 395991 h 662520"/>
              <a:gd name="connsiteX194" fmla="*/ 2290357 w 2888462"/>
              <a:gd name="connsiteY194" fmla="*/ 449869 h 662520"/>
              <a:gd name="connsiteX195" fmla="*/ 2275059 w 2888462"/>
              <a:gd name="connsiteY195" fmla="*/ 497757 h 662520"/>
              <a:gd name="connsiteX196" fmla="*/ 2254600 w 2888462"/>
              <a:gd name="connsiteY196" fmla="*/ 539713 h 662520"/>
              <a:gd name="connsiteX197" fmla="*/ 2229533 w 2888462"/>
              <a:gd name="connsiteY197" fmla="*/ 575793 h 662520"/>
              <a:gd name="connsiteX198" fmla="*/ 2200411 w 2888462"/>
              <a:gd name="connsiteY198" fmla="*/ 606054 h 662520"/>
              <a:gd name="connsiteX199" fmla="*/ 2167787 w 2888462"/>
              <a:gd name="connsiteY199" fmla="*/ 630553 h 662520"/>
              <a:gd name="connsiteX200" fmla="*/ 2132213 w 2888462"/>
              <a:gd name="connsiteY200" fmla="*/ 649348 h 662520"/>
              <a:gd name="connsiteX201" fmla="*/ 2094242 w 2888462"/>
              <a:gd name="connsiteY201" fmla="*/ 662495 h 662520"/>
              <a:gd name="connsiteX202" fmla="*/ 2528582 w 2888462"/>
              <a:gd name="connsiteY202" fmla="*/ 662482 h 662520"/>
              <a:gd name="connsiteX203" fmla="*/ 2490620 w 2888462"/>
              <a:gd name="connsiteY203" fmla="*/ 649332 h 662520"/>
              <a:gd name="connsiteX204" fmla="*/ 2455053 w 2888462"/>
              <a:gd name="connsiteY204" fmla="*/ 630534 h 662520"/>
              <a:gd name="connsiteX205" fmla="*/ 2422435 w 2888462"/>
              <a:gd name="connsiteY205" fmla="*/ 606033 h 662520"/>
              <a:gd name="connsiteX206" fmla="*/ 2393318 w 2888462"/>
              <a:gd name="connsiteY206" fmla="*/ 575772 h 662520"/>
              <a:gd name="connsiteX207" fmla="*/ 2368257 w 2888462"/>
              <a:gd name="connsiteY207" fmla="*/ 539693 h 662520"/>
              <a:gd name="connsiteX208" fmla="*/ 2347803 w 2888462"/>
              <a:gd name="connsiteY208" fmla="*/ 497740 h 662520"/>
              <a:gd name="connsiteX209" fmla="*/ 2332510 w 2888462"/>
              <a:gd name="connsiteY209" fmla="*/ 449856 h 662520"/>
              <a:gd name="connsiteX210" fmla="*/ 2322930 w 2888462"/>
              <a:gd name="connsiteY210" fmla="*/ 395984 h 662520"/>
              <a:gd name="connsiteX211" fmla="*/ 2319616 w 2888462"/>
              <a:gd name="connsiteY211" fmla="*/ 336067 h 662520"/>
              <a:gd name="connsiteX212" fmla="*/ 2322855 w 2888462"/>
              <a:gd name="connsiteY212" fmla="*/ 276826 h 662520"/>
              <a:gd name="connsiteX213" fmla="*/ 2332217 w 2888462"/>
              <a:gd name="connsiteY213" fmla="*/ 223488 h 662520"/>
              <a:gd name="connsiteX214" fmla="*/ 2347169 w 2888462"/>
              <a:gd name="connsiteY214" fmla="*/ 175997 h 662520"/>
              <a:gd name="connsiteX215" fmla="*/ 2367177 w 2888462"/>
              <a:gd name="connsiteY215" fmla="*/ 134299 h 662520"/>
              <a:gd name="connsiteX216" fmla="*/ 2391708 w 2888462"/>
              <a:gd name="connsiteY216" fmla="*/ 98339 h 662520"/>
              <a:gd name="connsiteX217" fmla="*/ 2420230 w 2888462"/>
              <a:gd name="connsiteY217" fmla="*/ 68062 h 662520"/>
              <a:gd name="connsiteX218" fmla="*/ 2452208 w 2888462"/>
              <a:gd name="connsiteY218" fmla="*/ 43413 h 662520"/>
              <a:gd name="connsiteX219" fmla="*/ 2487111 w 2888462"/>
              <a:gd name="connsiteY219" fmla="*/ 24337 h 662520"/>
              <a:gd name="connsiteX220" fmla="*/ 2524405 w 2888462"/>
              <a:gd name="connsiteY220" fmla="*/ 10780 h 662520"/>
              <a:gd name="connsiteX221" fmla="*/ 2563557 w 2888462"/>
              <a:gd name="connsiteY221" fmla="*/ 2685 h 662520"/>
              <a:gd name="connsiteX222" fmla="*/ 2604033 w 2888462"/>
              <a:gd name="connsiteY222" fmla="*/ 0 h 662520"/>
              <a:gd name="connsiteX223" fmla="*/ 2644510 w 2888462"/>
              <a:gd name="connsiteY223" fmla="*/ 2685 h 662520"/>
              <a:gd name="connsiteX224" fmla="*/ 2683662 w 2888462"/>
              <a:gd name="connsiteY224" fmla="*/ 10780 h 662520"/>
              <a:gd name="connsiteX225" fmla="*/ 2720957 w 2888462"/>
              <a:gd name="connsiteY225" fmla="*/ 24337 h 662520"/>
              <a:gd name="connsiteX226" fmla="*/ 2755861 w 2888462"/>
              <a:gd name="connsiteY226" fmla="*/ 43413 h 662520"/>
              <a:gd name="connsiteX227" fmla="*/ 2787842 w 2888462"/>
              <a:gd name="connsiteY227" fmla="*/ 68062 h 662520"/>
              <a:gd name="connsiteX228" fmla="*/ 2816365 w 2888462"/>
              <a:gd name="connsiteY228" fmla="*/ 98339 h 662520"/>
              <a:gd name="connsiteX229" fmla="*/ 2840898 w 2888462"/>
              <a:gd name="connsiteY229" fmla="*/ 134299 h 662520"/>
              <a:gd name="connsiteX230" fmla="*/ 2860907 w 2888462"/>
              <a:gd name="connsiteY230" fmla="*/ 175997 h 662520"/>
              <a:gd name="connsiteX231" fmla="*/ 2875860 w 2888462"/>
              <a:gd name="connsiteY231" fmla="*/ 223488 h 662520"/>
              <a:gd name="connsiteX232" fmla="*/ 2885223 w 2888462"/>
              <a:gd name="connsiteY232" fmla="*/ 276826 h 662520"/>
              <a:gd name="connsiteX233" fmla="*/ 2888462 w 2888462"/>
              <a:gd name="connsiteY233" fmla="*/ 336067 h 662520"/>
              <a:gd name="connsiteX0" fmla="*/ 74231 w 2885223"/>
              <a:gd name="connsiteY0" fmla="*/ 662482 h 662520"/>
              <a:gd name="connsiteX1" fmla="*/ 60344 w 2885223"/>
              <a:gd name="connsiteY1" fmla="*/ 659582 h 662520"/>
              <a:gd name="connsiteX2" fmla="*/ 47517 w 2885223"/>
              <a:gd name="connsiteY2" fmla="*/ 656437 h 662520"/>
              <a:gd name="connsiteX3" fmla="*/ 35823 w 2885223"/>
              <a:gd name="connsiteY3" fmla="*/ 653092 h 662520"/>
              <a:gd name="connsiteX4" fmla="*/ 25336 w 2885223"/>
              <a:gd name="connsiteY4" fmla="*/ 649592 h 662520"/>
              <a:gd name="connsiteX5" fmla="*/ 25336 w 2885223"/>
              <a:gd name="connsiteY5" fmla="*/ 533196 h 662520"/>
              <a:gd name="connsiteX6" fmla="*/ 104190 w 2885223"/>
              <a:gd name="connsiteY6" fmla="*/ 533196 h 662520"/>
              <a:gd name="connsiteX7" fmla="*/ 116931 w 2885223"/>
              <a:gd name="connsiteY7" fmla="*/ 550133 h 662520"/>
              <a:gd name="connsiteX8" fmla="*/ 135043 w 2885223"/>
              <a:gd name="connsiteY8" fmla="*/ 564522 h 662520"/>
              <a:gd name="connsiteX9" fmla="*/ 160020 w 2885223"/>
              <a:gd name="connsiteY9" fmla="*/ 574514 h 662520"/>
              <a:gd name="connsiteX10" fmla="*/ 193357 w 2885223"/>
              <a:gd name="connsiteY10" fmla="*/ 578256 h 662520"/>
              <a:gd name="connsiteX11" fmla="*/ 233829 w 2885223"/>
              <a:gd name="connsiteY11" fmla="*/ 573672 h 662520"/>
              <a:gd name="connsiteX12" fmla="*/ 297105 w 2885223"/>
              <a:gd name="connsiteY12" fmla="*/ 537246 h 662520"/>
              <a:gd name="connsiteX13" fmla="*/ 320040 w 2885223"/>
              <a:gd name="connsiteY13" fmla="*/ 505568 h 662520"/>
              <a:gd name="connsiteX14" fmla="*/ 337261 w 2885223"/>
              <a:gd name="connsiteY14" fmla="*/ 465022 h 662520"/>
              <a:gd name="connsiteX15" fmla="*/ 348834 w 2885223"/>
              <a:gd name="connsiteY15" fmla="*/ 415691 h 662520"/>
              <a:gd name="connsiteX16" fmla="*/ 354825 w 2885223"/>
              <a:gd name="connsiteY16" fmla="*/ 357657 h 662520"/>
              <a:gd name="connsiteX17" fmla="*/ 325357 w 2885223"/>
              <a:gd name="connsiteY17" fmla="*/ 385098 h 662520"/>
              <a:gd name="connsiteX18" fmla="*/ 289466 w 2885223"/>
              <a:gd name="connsiteY18" fmla="*/ 406117 h 662520"/>
              <a:gd name="connsiteX19" fmla="*/ 247767 w 2885223"/>
              <a:gd name="connsiteY19" fmla="*/ 419568 h 662520"/>
              <a:gd name="connsiteX20" fmla="*/ 200875 w 2885223"/>
              <a:gd name="connsiteY20" fmla="*/ 424306 h 662520"/>
              <a:gd name="connsiteX21" fmla="*/ 153099 w 2885223"/>
              <a:gd name="connsiteY21" fmla="*/ 420031 h 662520"/>
              <a:gd name="connsiteX22" fmla="*/ 110150 w 2885223"/>
              <a:gd name="connsiteY22" fmla="*/ 407348 h 662520"/>
              <a:gd name="connsiteX23" fmla="*/ 72948 w 2885223"/>
              <a:gd name="connsiteY23" fmla="*/ 386472 h 662520"/>
              <a:gd name="connsiteX24" fmla="*/ 42412 w 2885223"/>
              <a:gd name="connsiteY24" fmla="*/ 357614 h 662520"/>
              <a:gd name="connsiteX25" fmla="*/ 19463 w 2885223"/>
              <a:gd name="connsiteY25" fmla="*/ 320990 h 662520"/>
              <a:gd name="connsiteX26" fmla="*/ 5019 w 2885223"/>
              <a:gd name="connsiteY26" fmla="*/ 276814 h 662520"/>
              <a:gd name="connsiteX27" fmla="*/ 0 w 2885223"/>
              <a:gd name="connsiteY27" fmla="*/ 225297 h 662520"/>
              <a:gd name="connsiteX28" fmla="*/ 4447 w 2885223"/>
              <a:gd name="connsiteY28" fmla="*/ 178425 h 662520"/>
              <a:gd name="connsiteX29" fmla="*/ 17453 w 2885223"/>
              <a:gd name="connsiteY29" fmla="*/ 135445 h 662520"/>
              <a:gd name="connsiteX30" fmla="*/ 38511 w 2885223"/>
              <a:gd name="connsiteY30" fmla="*/ 97085 h 662520"/>
              <a:gd name="connsiteX31" fmla="*/ 67116 w 2885223"/>
              <a:gd name="connsiteY31" fmla="*/ 64071 h 662520"/>
              <a:gd name="connsiteX32" fmla="*/ 102760 w 2885223"/>
              <a:gd name="connsiteY32" fmla="*/ 37129 h 662520"/>
              <a:gd name="connsiteX33" fmla="*/ 144939 w 2885223"/>
              <a:gd name="connsiteY33" fmla="*/ 16986 h 662520"/>
              <a:gd name="connsiteX34" fmla="*/ 193146 w 2885223"/>
              <a:gd name="connsiteY34" fmla="*/ 4367 h 662520"/>
              <a:gd name="connsiteX35" fmla="*/ 246875 w 2885223"/>
              <a:gd name="connsiteY35" fmla="*/ 0 h 662520"/>
              <a:gd name="connsiteX36" fmla="*/ 290625 w 2885223"/>
              <a:gd name="connsiteY36" fmla="*/ 2882 h 662520"/>
              <a:gd name="connsiteX37" fmla="*/ 331492 w 2885223"/>
              <a:gd name="connsiteY37" fmla="*/ 11678 h 662520"/>
              <a:gd name="connsiteX38" fmla="*/ 369070 w 2885223"/>
              <a:gd name="connsiteY38" fmla="*/ 26614 h 662520"/>
              <a:gd name="connsiteX39" fmla="*/ 402953 w 2885223"/>
              <a:gd name="connsiteY39" fmla="*/ 47914 h 662520"/>
              <a:gd name="connsiteX40" fmla="*/ 432736 w 2885223"/>
              <a:gd name="connsiteY40" fmla="*/ 75804 h 662520"/>
              <a:gd name="connsiteX41" fmla="*/ 458013 w 2885223"/>
              <a:gd name="connsiteY41" fmla="*/ 110509 h 662520"/>
              <a:gd name="connsiteX42" fmla="*/ 478379 w 2885223"/>
              <a:gd name="connsiteY42" fmla="*/ 152255 h 662520"/>
              <a:gd name="connsiteX43" fmla="*/ 493429 w 2885223"/>
              <a:gd name="connsiteY43" fmla="*/ 201265 h 662520"/>
              <a:gd name="connsiteX44" fmla="*/ 502756 w 2885223"/>
              <a:gd name="connsiteY44" fmla="*/ 257766 h 662520"/>
              <a:gd name="connsiteX45" fmla="*/ 505955 w 2885223"/>
              <a:gd name="connsiteY45" fmla="*/ 321983 h 662520"/>
              <a:gd name="connsiteX46" fmla="*/ 503406 w 2885223"/>
              <a:gd name="connsiteY46" fmla="*/ 376707 h 662520"/>
              <a:gd name="connsiteX47" fmla="*/ 495858 w 2885223"/>
              <a:gd name="connsiteY47" fmla="*/ 427041 h 662520"/>
              <a:gd name="connsiteX48" fmla="*/ 483456 w 2885223"/>
              <a:gd name="connsiteY48" fmla="*/ 472909 h 662520"/>
              <a:gd name="connsiteX49" fmla="*/ 466346 w 2885223"/>
              <a:gd name="connsiteY49" fmla="*/ 514232 h 662520"/>
              <a:gd name="connsiteX50" fmla="*/ 444674 w 2885223"/>
              <a:gd name="connsiteY50" fmla="*/ 550937 h 662520"/>
              <a:gd name="connsiteX51" fmla="*/ 418587 w 2885223"/>
              <a:gd name="connsiteY51" fmla="*/ 582945 h 662520"/>
              <a:gd name="connsiteX52" fmla="*/ 388229 w 2885223"/>
              <a:gd name="connsiteY52" fmla="*/ 610181 h 662520"/>
              <a:gd name="connsiteX53" fmla="*/ 353748 w 2885223"/>
              <a:gd name="connsiteY53" fmla="*/ 632569 h 662520"/>
              <a:gd name="connsiteX54" fmla="*/ 315289 w 2885223"/>
              <a:gd name="connsiteY54" fmla="*/ 650033 h 662520"/>
              <a:gd name="connsiteX55" fmla="*/ 272999 w 2885223"/>
              <a:gd name="connsiteY55" fmla="*/ 662495 h 662520"/>
              <a:gd name="connsiteX56" fmla="*/ 592162 w 2885223"/>
              <a:gd name="connsiteY56" fmla="*/ 662520 h 662520"/>
              <a:gd name="connsiteX57" fmla="*/ 571167 w 2885223"/>
              <a:gd name="connsiteY57" fmla="*/ 658030 h 662520"/>
              <a:gd name="connsiteX58" fmla="*/ 551373 w 2885223"/>
              <a:gd name="connsiteY58" fmla="*/ 652783 h 662520"/>
              <a:gd name="connsiteX59" fmla="*/ 532537 w 2885223"/>
              <a:gd name="connsiteY59" fmla="*/ 646826 h 662520"/>
              <a:gd name="connsiteX60" fmla="*/ 514413 w 2885223"/>
              <a:gd name="connsiteY60" fmla="*/ 640206 h 662520"/>
              <a:gd name="connsiteX61" fmla="*/ 514413 w 2885223"/>
              <a:gd name="connsiteY61" fmla="*/ 516293 h 662520"/>
              <a:gd name="connsiteX62" fmla="*/ 596087 w 2885223"/>
              <a:gd name="connsiteY62" fmla="*/ 516293 h 662520"/>
              <a:gd name="connsiteX63" fmla="*/ 612203 w 2885223"/>
              <a:gd name="connsiteY63" fmla="*/ 539439 h 662520"/>
              <a:gd name="connsiteX64" fmla="*/ 635627 w 2885223"/>
              <a:gd name="connsiteY64" fmla="*/ 559242 h 662520"/>
              <a:gd name="connsiteX65" fmla="*/ 666972 w 2885223"/>
              <a:gd name="connsiteY65" fmla="*/ 573062 h 662520"/>
              <a:gd name="connsiteX66" fmla="*/ 706856 w 2885223"/>
              <a:gd name="connsiteY66" fmla="*/ 578256 h 662520"/>
              <a:gd name="connsiteX67" fmla="*/ 749359 w 2885223"/>
              <a:gd name="connsiteY67" fmla="*/ 571758 h 662520"/>
              <a:gd name="connsiteX68" fmla="*/ 784298 w 2885223"/>
              <a:gd name="connsiteY68" fmla="*/ 552322 h 662520"/>
              <a:gd name="connsiteX69" fmla="*/ 807972 w 2885223"/>
              <a:gd name="connsiteY69" fmla="*/ 520038 h 662520"/>
              <a:gd name="connsiteX70" fmla="*/ 816686 w 2885223"/>
              <a:gd name="connsiteY70" fmla="*/ 474992 h 662520"/>
              <a:gd name="connsiteX71" fmla="*/ 809424 w 2885223"/>
              <a:gd name="connsiteY71" fmla="*/ 430240 h 662520"/>
              <a:gd name="connsiteX72" fmla="*/ 787466 w 2885223"/>
              <a:gd name="connsiteY72" fmla="*/ 398602 h 662520"/>
              <a:gd name="connsiteX73" fmla="*/ 750549 w 2885223"/>
              <a:gd name="connsiteY73" fmla="*/ 379812 h 662520"/>
              <a:gd name="connsiteX74" fmla="*/ 698411 w 2885223"/>
              <a:gd name="connsiteY74" fmla="*/ 373608 h 662520"/>
              <a:gd name="connsiteX75" fmla="*/ 649592 w 2885223"/>
              <a:gd name="connsiteY75" fmla="*/ 373608 h 662520"/>
              <a:gd name="connsiteX76" fmla="*/ 649592 w 2885223"/>
              <a:gd name="connsiteY76" fmla="*/ 286308 h 662520"/>
              <a:gd name="connsiteX77" fmla="*/ 690892 w 2885223"/>
              <a:gd name="connsiteY77" fmla="*/ 286308 h 662520"/>
              <a:gd name="connsiteX78" fmla="*/ 744563 w 2885223"/>
              <a:gd name="connsiteY78" fmla="*/ 280133 h 662520"/>
              <a:gd name="connsiteX79" fmla="*/ 783007 w 2885223"/>
              <a:gd name="connsiteY79" fmla="*/ 261550 h 662520"/>
              <a:gd name="connsiteX80" fmla="*/ 806137 w 2885223"/>
              <a:gd name="connsiteY80" fmla="*/ 230469 h 662520"/>
              <a:gd name="connsiteX81" fmla="*/ 813866 w 2885223"/>
              <a:gd name="connsiteY81" fmla="*/ 186804 h 662520"/>
              <a:gd name="connsiteX82" fmla="*/ 808513 w 2885223"/>
              <a:gd name="connsiteY82" fmla="*/ 149115 h 662520"/>
              <a:gd name="connsiteX83" fmla="*/ 792160 w 2885223"/>
              <a:gd name="connsiteY83" fmla="*/ 121104 h 662520"/>
              <a:gd name="connsiteX84" fmla="*/ 764365 w 2885223"/>
              <a:gd name="connsiteY84" fmla="*/ 103651 h 662520"/>
              <a:gd name="connsiteX85" fmla="*/ 724687 w 2885223"/>
              <a:gd name="connsiteY85" fmla="*/ 97637 h 662520"/>
              <a:gd name="connsiteX86" fmla="*/ 687243 w 2885223"/>
              <a:gd name="connsiteY86" fmla="*/ 102374 h 662520"/>
              <a:gd name="connsiteX87" fmla="*/ 657456 w 2885223"/>
              <a:gd name="connsiteY87" fmla="*/ 115117 h 662520"/>
              <a:gd name="connsiteX88" fmla="*/ 634533 w 2885223"/>
              <a:gd name="connsiteY88" fmla="*/ 133668 h 662520"/>
              <a:gd name="connsiteX89" fmla="*/ 617677 w 2885223"/>
              <a:gd name="connsiteY89" fmla="*/ 155828 h 662520"/>
              <a:gd name="connsiteX90" fmla="*/ 539775 w 2885223"/>
              <a:gd name="connsiteY90" fmla="*/ 155828 h 662520"/>
              <a:gd name="connsiteX91" fmla="*/ 539775 w 2885223"/>
              <a:gd name="connsiteY91" fmla="*/ 33807 h 662520"/>
              <a:gd name="connsiteX92" fmla="*/ 584006 w 2885223"/>
              <a:gd name="connsiteY92" fmla="*/ 19813 h 662520"/>
              <a:gd name="connsiteX93" fmla="*/ 631056 w 2885223"/>
              <a:gd name="connsiteY93" fmla="*/ 9159 h 662520"/>
              <a:gd name="connsiteX94" fmla="*/ 681278 w 2885223"/>
              <a:gd name="connsiteY94" fmla="*/ 2378 h 662520"/>
              <a:gd name="connsiteX95" fmla="*/ 735025 w 2885223"/>
              <a:gd name="connsiteY95" fmla="*/ 0 h 662520"/>
              <a:gd name="connsiteX96" fmla="*/ 790395 w 2885223"/>
              <a:gd name="connsiteY96" fmla="*/ 3158 h 662520"/>
              <a:gd name="connsiteX97" fmla="*/ 838689 w 2885223"/>
              <a:gd name="connsiteY97" fmla="*/ 12853 h 662520"/>
              <a:gd name="connsiteX98" fmla="*/ 879380 w 2885223"/>
              <a:gd name="connsiteY98" fmla="*/ 29412 h 662520"/>
              <a:gd name="connsiteX99" fmla="*/ 911943 w 2885223"/>
              <a:gd name="connsiteY99" fmla="*/ 53163 h 662520"/>
              <a:gd name="connsiteX100" fmla="*/ 935853 w 2885223"/>
              <a:gd name="connsiteY100" fmla="*/ 84435 h 662520"/>
              <a:gd name="connsiteX101" fmla="*/ 950584 w 2885223"/>
              <a:gd name="connsiteY101" fmla="*/ 123555 h 662520"/>
              <a:gd name="connsiteX102" fmla="*/ 955611 w 2885223"/>
              <a:gd name="connsiteY102" fmla="*/ 170853 h 662520"/>
              <a:gd name="connsiteX103" fmla="*/ 949453 w 2885223"/>
              <a:gd name="connsiteY103" fmla="*/ 219568 h 662520"/>
              <a:gd name="connsiteX104" fmla="*/ 931581 w 2885223"/>
              <a:gd name="connsiteY104" fmla="*/ 258234 h 662520"/>
              <a:gd name="connsiteX105" fmla="*/ 902895 w 2885223"/>
              <a:gd name="connsiteY105" fmla="*/ 287843 h 662520"/>
              <a:gd name="connsiteX106" fmla="*/ 864296 w 2885223"/>
              <a:gd name="connsiteY106" fmla="*/ 309388 h 662520"/>
              <a:gd name="connsiteX107" fmla="*/ 816686 w 2885223"/>
              <a:gd name="connsiteY107" fmla="*/ 323862 h 662520"/>
              <a:gd name="connsiteX108" fmla="*/ 816686 w 2885223"/>
              <a:gd name="connsiteY108" fmla="*/ 327609 h 662520"/>
              <a:gd name="connsiteX109" fmla="*/ 870681 w 2885223"/>
              <a:gd name="connsiteY109" fmla="*/ 340566 h 662520"/>
              <a:gd name="connsiteX110" fmla="*/ 912283 w 2885223"/>
              <a:gd name="connsiteY110" fmla="*/ 362534 h 662520"/>
              <a:gd name="connsiteX111" fmla="*/ 941719 w 2885223"/>
              <a:gd name="connsiteY111" fmla="*/ 393513 h 662520"/>
              <a:gd name="connsiteX112" fmla="*/ 959215 w 2885223"/>
              <a:gd name="connsiteY112" fmla="*/ 433502 h 662520"/>
              <a:gd name="connsiteX113" fmla="*/ 964996 w 2885223"/>
              <a:gd name="connsiteY113" fmla="*/ 482498 h 662520"/>
              <a:gd name="connsiteX114" fmla="*/ 959936 w 2885223"/>
              <a:gd name="connsiteY114" fmla="*/ 527743 h 662520"/>
              <a:gd name="connsiteX115" fmla="*/ 944659 w 2885223"/>
              <a:gd name="connsiteY115" fmla="*/ 567021 h 662520"/>
              <a:gd name="connsiteX116" fmla="*/ 920122 w 2885223"/>
              <a:gd name="connsiteY116" fmla="*/ 600232 h 662520"/>
              <a:gd name="connsiteX117" fmla="*/ 887285 w 2885223"/>
              <a:gd name="connsiteY117" fmla="*/ 627278 h 662520"/>
              <a:gd name="connsiteX118" fmla="*/ 847106 w 2885223"/>
              <a:gd name="connsiteY118" fmla="*/ 648061 h 662520"/>
              <a:gd name="connsiteX119" fmla="*/ 800544 w 2885223"/>
              <a:gd name="connsiteY119" fmla="*/ 662482 h 662520"/>
              <a:gd name="connsiteX120" fmla="*/ 1360843 w 2885223"/>
              <a:gd name="connsiteY120" fmla="*/ 662495 h 662520"/>
              <a:gd name="connsiteX121" fmla="*/ 1322871 w 2885223"/>
              <a:gd name="connsiteY121" fmla="*/ 649352 h 662520"/>
              <a:gd name="connsiteX122" fmla="*/ 1287296 w 2885223"/>
              <a:gd name="connsiteY122" fmla="*/ 630560 h 662520"/>
              <a:gd name="connsiteX123" fmla="*/ 1254670 w 2885223"/>
              <a:gd name="connsiteY123" fmla="*/ 606062 h 662520"/>
              <a:gd name="connsiteX124" fmla="*/ 1225546 w 2885223"/>
              <a:gd name="connsiteY124" fmla="*/ 575802 h 662520"/>
              <a:gd name="connsiteX125" fmla="*/ 1200477 w 2885223"/>
              <a:gd name="connsiteY125" fmla="*/ 539722 h 662520"/>
              <a:gd name="connsiteX126" fmla="*/ 1180016 w 2885223"/>
              <a:gd name="connsiteY126" fmla="*/ 497766 h 662520"/>
              <a:gd name="connsiteX127" fmla="*/ 1164717 w 2885223"/>
              <a:gd name="connsiteY127" fmla="*/ 449876 h 662520"/>
              <a:gd name="connsiteX128" fmla="*/ 1155131 w 2885223"/>
              <a:gd name="connsiteY128" fmla="*/ 395995 h 662520"/>
              <a:gd name="connsiteX129" fmla="*/ 1151813 w 2885223"/>
              <a:gd name="connsiteY129" fmla="*/ 336067 h 662520"/>
              <a:gd name="connsiteX130" fmla="*/ 1155053 w 2885223"/>
              <a:gd name="connsiteY130" fmla="*/ 276826 h 662520"/>
              <a:gd name="connsiteX131" fmla="*/ 1164415 w 2885223"/>
              <a:gd name="connsiteY131" fmla="*/ 223488 h 662520"/>
              <a:gd name="connsiteX132" fmla="*/ 1179368 w 2885223"/>
              <a:gd name="connsiteY132" fmla="*/ 175997 h 662520"/>
              <a:gd name="connsiteX133" fmla="*/ 1199377 w 2885223"/>
              <a:gd name="connsiteY133" fmla="*/ 134299 h 662520"/>
              <a:gd name="connsiteX134" fmla="*/ 1223910 w 2885223"/>
              <a:gd name="connsiteY134" fmla="*/ 98339 h 662520"/>
              <a:gd name="connsiteX135" fmla="*/ 1252434 w 2885223"/>
              <a:gd name="connsiteY135" fmla="*/ 68062 h 662520"/>
              <a:gd name="connsiteX136" fmla="*/ 1284414 w 2885223"/>
              <a:gd name="connsiteY136" fmla="*/ 43413 h 662520"/>
              <a:gd name="connsiteX137" fmla="*/ 1319318 w 2885223"/>
              <a:gd name="connsiteY137" fmla="*/ 24337 h 662520"/>
              <a:gd name="connsiteX138" fmla="*/ 1356613 w 2885223"/>
              <a:gd name="connsiteY138" fmla="*/ 10780 h 662520"/>
              <a:gd name="connsiteX139" fmla="*/ 1395766 w 2885223"/>
              <a:gd name="connsiteY139" fmla="*/ 2685 h 662520"/>
              <a:gd name="connsiteX140" fmla="*/ 1436243 w 2885223"/>
              <a:gd name="connsiteY140" fmla="*/ 0 h 662520"/>
              <a:gd name="connsiteX141" fmla="*/ 1476722 w 2885223"/>
              <a:gd name="connsiteY141" fmla="*/ 2685 h 662520"/>
              <a:gd name="connsiteX142" fmla="*/ 1515876 w 2885223"/>
              <a:gd name="connsiteY142" fmla="*/ 10780 h 662520"/>
              <a:gd name="connsiteX143" fmla="*/ 1553172 w 2885223"/>
              <a:gd name="connsiteY143" fmla="*/ 24337 h 662520"/>
              <a:gd name="connsiteX144" fmla="*/ 1588076 w 2885223"/>
              <a:gd name="connsiteY144" fmla="*/ 43413 h 662520"/>
              <a:gd name="connsiteX145" fmla="*/ 1620056 w 2885223"/>
              <a:gd name="connsiteY145" fmla="*/ 68062 h 662520"/>
              <a:gd name="connsiteX146" fmla="*/ 1648579 w 2885223"/>
              <a:gd name="connsiteY146" fmla="*/ 98339 h 662520"/>
              <a:gd name="connsiteX147" fmla="*/ 1673111 w 2885223"/>
              <a:gd name="connsiteY147" fmla="*/ 134299 h 662520"/>
              <a:gd name="connsiteX148" fmla="*/ 1693119 w 2885223"/>
              <a:gd name="connsiteY148" fmla="*/ 175997 h 662520"/>
              <a:gd name="connsiteX149" fmla="*/ 1708071 w 2885223"/>
              <a:gd name="connsiteY149" fmla="*/ 223488 h 662520"/>
              <a:gd name="connsiteX150" fmla="*/ 1717433 w 2885223"/>
              <a:gd name="connsiteY150" fmla="*/ 276826 h 662520"/>
              <a:gd name="connsiteX151" fmla="*/ 1720672 w 2885223"/>
              <a:gd name="connsiteY151" fmla="*/ 336067 h 662520"/>
              <a:gd name="connsiteX152" fmla="*/ 1717354 w 2885223"/>
              <a:gd name="connsiteY152" fmla="*/ 395995 h 662520"/>
              <a:gd name="connsiteX153" fmla="*/ 1707768 w 2885223"/>
              <a:gd name="connsiteY153" fmla="*/ 449876 h 662520"/>
              <a:gd name="connsiteX154" fmla="*/ 1692469 w 2885223"/>
              <a:gd name="connsiteY154" fmla="*/ 497766 h 662520"/>
              <a:gd name="connsiteX155" fmla="*/ 1672008 w 2885223"/>
              <a:gd name="connsiteY155" fmla="*/ 539722 h 662520"/>
              <a:gd name="connsiteX156" fmla="*/ 1646939 w 2885223"/>
              <a:gd name="connsiteY156" fmla="*/ 575802 h 662520"/>
              <a:gd name="connsiteX157" fmla="*/ 1617815 w 2885223"/>
              <a:gd name="connsiteY157" fmla="*/ 606062 h 662520"/>
              <a:gd name="connsiteX158" fmla="*/ 1585189 w 2885223"/>
              <a:gd name="connsiteY158" fmla="*/ 630560 h 662520"/>
              <a:gd name="connsiteX159" fmla="*/ 1549614 w 2885223"/>
              <a:gd name="connsiteY159" fmla="*/ 649352 h 662520"/>
              <a:gd name="connsiteX160" fmla="*/ 1511642 w 2885223"/>
              <a:gd name="connsiteY160" fmla="*/ 662495 h 662520"/>
              <a:gd name="connsiteX161" fmla="*/ 1943430 w 2885223"/>
              <a:gd name="connsiteY161" fmla="*/ 662495 h 662520"/>
              <a:gd name="connsiteX162" fmla="*/ 1905459 w 2885223"/>
              <a:gd name="connsiteY162" fmla="*/ 649348 h 662520"/>
              <a:gd name="connsiteX163" fmla="*/ 1869885 w 2885223"/>
              <a:gd name="connsiteY163" fmla="*/ 630555 h 662520"/>
              <a:gd name="connsiteX164" fmla="*/ 1837261 w 2885223"/>
              <a:gd name="connsiteY164" fmla="*/ 606057 h 662520"/>
              <a:gd name="connsiteX165" fmla="*/ 1808138 w 2885223"/>
              <a:gd name="connsiteY165" fmla="*/ 575797 h 662520"/>
              <a:gd name="connsiteX166" fmla="*/ 1783072 w 2885223"/>
              <a:gd name="connsiteY166" fmla="*/ 539718 h 662520"/>
              <a:gd name="connsiteX167" fmla="*/ 1762613 w 2885223"/>
              <a:gd name="connsiteY167" fmla="*/ 497763 h 662520"/>
              <a:gd name="connsiteX168" fmla="*/ 1747315 w 2885223"/>
              <a:gd name="connsiteY168" fmla="*/ 449874 h 662520"/>
              <a:gd name="connsiteX169" fmla="*/ 1737731 w 2885223"/>
              <a:gd name="connsiteY169" fmla="*/ 395995 h 662520"/>
              <a:gd name="connsiteX170" fmla="*/ 1734413 w 2885223"/>
              <a:gd name="connsiteY170" fmla="*/ 336067 h 662520"/>
              <a:gd name="connsiteX171" fmla="*/ 1737652 w 2885223"/>
              <a:gd name="connsiteY171" fmla="*/ 276826 h 662520"/>
              <a:gd name="connsiteX172" fmla="*/ 1747014 w 2885223"/>
              <a:gd name="connsiteY172" fmla="*/ 223488 h 662520"/>
              <a:gd name="connsiteX173" fmla="*/ 1761965 w 2885223"/>
              <a:gd name="connsiteY173" fmla="*/ 175997 h 662520"/>
              <a:gd name="connsiteX174" fmla="*/ 1781973 w 2885223"/>
              <a:gd name="connsiteY174" fmla="*/ 134299 h 662520"/>
              <a:gd name="connsiteX175" fmla="*/ 1806505 w 2885223"/>
              <a:gd name="connsiteY175" fmla="*/ 98339 h 662520"/>
              <a:gd name="connsiteX176" fmla="*/ 1835026 w 2885223"/>
              <a:gd name="connsiteY176" fmla="*/ 68062 h 662520"/>
              <a:gd name="connsiteX177" fmla="*/ 1867005 w 2885223"/>
              <a:gd name="connsiteY177" fmla="*/ 43413 h 662520"/>
              <a:gd name="connsiteX178" fmla="*/ 1901908 w 2885223"/>
              <a:gd name="connsiteY178" fmla="*/ 24337 h 662520"/>
              <a:gd name="connsiteX179" fmla="*/ 1939202 w 2885223"/>
              <a:gd name="connsiteY179" fmla="*/ 10780 h 662520"/>
              <a:gd name="connsiteX180" fmla="*/ 1978353 w 2885223"/>
              <a:gd name="connsiteY180" fmla="*/ 2685 h 662520"/>
              <a:gd name="connsiteX181" fmla="*/ 2018830 w 2885223"/>
              <a:gd name="connsiteY181" fmla="*/ 0 h 662520"/>
              <a:gd name="connsiteX182" fmla="*/ 2059309 w 2885223"/>
              <a:gd name="connsiteY182" fmla="*/ 2685 h 662520"/>
              <a:gd name="connsiteX183" fmla="*/ 2098463 w 2885223"/>
              <a:gd name="connsiteY183" fmla="*/ 10780 h 662520"/>
              <a:gd name="connsiteX184" fmla="*/ 2135759 w 2885223"/>
              <a:gd name="connsiteY184" fmla="*/ 24337 h 662520"/>
              <a:gd name="connsiteX185" fmla="*/ 2170664 w 2885223"/>
              <a:gd name="connsiteY185" fmla="*/ 43413 h 662520"/>
              <a:gd name="connsiteX186" fmla="*/ 2202644 w 2885223"/>
              <a:gd name="connsiteY186" fmla="*/ 68062 h 662520"/>
              <a:gd name="connsiteX187" fmla="*/ 2231166 w 2885223"/>
              <a:gd name="connsiteY187" fmla="*/ 98339 h 662520"/>
              <a:gd name="connsiteX188" fmla="*/ 2255698 w 2885223"/>
              <a:gd name="connsiteY188" fmla="*/ 134299 h 662520"/>
              <a:gd name="connsiteX189" fmla="*/ 2275706 w 2885223"/>
              <a:gd name="connsiteY189" fmla="*/ 175997 h 662520"/>
              <a:gd name="connsiteX190" fmla="*/ 2290658 w 2885223"/>
              <a:gd name="connsiteY190" fmla="*/ 223488 h 662520"/>
              <a:gd name="connsiteX191" fmla="*/ 2300020 w 2885223"/>
              <a:gd name="connsiteY191" fmla="*/ 276826 h 662520"/>
              <a:gd name="connsiteX192" fmla="*/ 2303259 w 2885223"/>
              <a:gd name="connsiteY192" fmla="*/ 336067 h 662520"/>
              <a:gd name="connsiteX193" fmla="*/ 2299941 w 2885223"/>
              <a:gd name="connsiteY193" fmla="*/ 395991 h 662520"/>
              <a:gd name="connsiteX194" fmla="*/ 2290357 w 2885223"/>
              <a:gd name="connsiteY194" fmla="*/ 449869 h 662520"/>
              <a:gd name="connsiteX195" fmla="*/ 2275059 w 2885223"/>
              <a:gd name="connsiteY195" fmla="*/ 497757 h 662520"/>
              <a:gd name="connsiteX196" fmla="*/ 2254600 w 2885223"/>
              <a:gd name="connsiteY196" fmla="*/ 539713 h 662520"/>
              <a:gd name="connsiteX197" fmla="*/ 2229533 w 2885223"/>
              <a:gd name="connsiteY197" fmla="*/ 575793 h 662520"/>
              <a:gd name="connsiteX198" fmla="*/ 2200411 w 2885223"/>
              <a:gd name="connsiteY198" fmla="*/ 606054 h 662520"/>
              <a:gd name="connsiteX199" fmla="*/ 2167787 w 2885223"/>
              <a:gd name="connsiteY199" fmla="*/ 630553 h 662520"/>
              <a:gd name="connsiteX200" fmla="*/ 2132213 w 2885223"/>
              <a:gd name="connsiteY200" fmla="*/ 649348 h 662520"/>
              <a:gd name="connsiteX201" fmla="*/ 2094242 w 2885223"/>
              <a:gd name="connsiteY201" fmla="*/ 662495 h 662520"/>
              <a:gd name="connsiteX202" fmla="*/ 2528582 w 2885223"/>
              <a:gd name="connsiteY202" fmla="*/ 662482 h 662520"/>
              <a:gd name="connsiteX203" fmla="*/ 2490620 w 2885223"/>
              <a:gd name="connsiteY203" fmla="*/ 649332 h 662520"/>
              <a:gd name="connsiteX204" fmla="*/ 2455053 w 2885223"/>
              <a:gd name="connsiteY204" fmla="*/ 630534 h 662520"/>
              <a:gd name="connsiteX205" fmla="*/ 2422435 w 2885223"/>
              <a:gd name="connsiteY205" fmla="*/ 606033 h 662520"/>
              <a:gd name="connsiteX206" fmla="*/ 2393318 w 2885223"/>
              <a:gd name="connsiteY206" fmla="*/ 575772 h 662520"/>
              <a:gd name="connsiteX207" fmla="*/ 2368257 w 2885223"/>
              <a:gd name="connsiteY207" fmla="*/ 539693 h 662520"/>
              <a:gd name="connsiteX208" fmla="*/ 2347803 w 2885223"/>
              <a:gd name="connsiteY208" fmla="*/ 497740 h 662520"/>
              <a:gd name="connsiteX209" fmla="*/ 2332510 w 2885223"/>
              <a:gd name="connsiteY209" fmla="*/ 449856 h 662520"/>
              <a:gd name="connsiteX210" fmla="*/ 2322930 w 2885223"/>
              <a:gd name="connsiteY210" fmla="*/ 395984 h 662520"/>
              <a:gd name="connsiteX211" fmla="*/ 2319616 w 2885223"/>
              <a:gd name="connsiteY211" fmla="*/ 336067 h 662520"/>
              <a:gd name="connsiteX212" fmla="*/ 2322855 w 2885223"/>
              <a:gd name="connsiteY212" fmla="*/ 276826 h 662520"/>
              <a:gd name="connsiteX213" fmla="*/ 2332217 w 2885223"/>
              <a:gd name="connsiteY213" fmla="*/ 223488 h 662520"/>
              <a:gd name="connsiteX214" fmla="*/ 2347169 w 2885223"/>
              <a:gd name="connsiteY214" fmla="*/ 175997 h 662520"/>
              <a:gd name="connsiteX215" fmla="*/ 2367177 w 2885223"/>
              <a:gd name="connsiteY215" fmla="*/ 134299 h 662520"/>
              <a:gd name="connsiteX216" fmla="*/ 2391708 w 2885223"/>
              <a:gd name="connsiteY216" fmla="*/ 98339 h 662520"/>
              <a:gd name="connsiteX217" fmla="*/ 2420230 w 2885223"/>
              <a:gd name="connsiteY217" fmla="*/ 68062 h 662520"/>
              <a:gd name="connsiteX218" fmla="*/ 2452208 w 2885223"/>
              <a:gd name="connsiteY218" fmla="*/ 43413 h 662520"/>
              <a:gd name="connsiteX219" fmla="*/ 2487111 w 2885223"/>
              <a:gd name="connsiteY219" fmla="*/ 24337 h 662520"/>
              <a:gd name="connsiteX220" fmla="*/ 2524405 w 2885223"/>
              <a:gd name="connsiteY220" fmla="*/ 10780 h 662520"/>
              <a:gd name="connsiteX221" fmla="*/ 2563557 w 2885223"/>
              <a:gd name="connsiteY221" fmla="*/ 2685 h 662520"/>
              <a:gd name="connsiteX222" fmla="*/ 2604033 w 2885223"/>
              <a:gd name="connsiteY222" fmla="*/ 0 h 662520"/>
              <a:gd name="connsiteX223" fmla="*/ 2644510 w 2885223"/>
              <a:gd name="connsiteY223" fmla="*/ 2685 h 662520"/>
              <a:gd name="connsiteX224" fmla="*/ 2683662 w 2885223"/>
              <a:gd name="connsiteY224" fmla="*/ 10780 h 662520"/>
              <a:gd name="connsiteX225" fmla="*/ 2720957 w 2885223"/>
              <a:gd name="connsiteY225" fmla="*/ 24337 h 662520"/>
              <a:gd name="connsiteX226" fmla="*/ 2755861 w 2885223"/>
              <a:gd name="connsiteY226" fmla="*/ 43413 h 662520"/>
              <a:gd name="connsiteX227" fmla="*/ 2787842 w 2885223"/>
              <a:gd name="connsiteY227" fmla="*/ 68062 h 662520"/>
              <a:gd name="connsiteX228" fmla="*/ 2816365 w 2885223"/>
              <a:gd name="connsiteY228" fmla="*/ 98339 h 662520"/>
              <a:gd name="connsiteX229" fmla="*/ 2840898 w 2885223"/>
              <a:gd name="connsiteY229" fmla="*/ 134299 h 662520"/>
              <a:gd name="connsiteX230" fmla="*/ 2860907 w 2885223"/>
              <a:gd name="connsiteY230" fmla="*/ 175997 h 662520"/>
              <a:gd name="connsiteX231" fmla="*/ 2875860 w 2885223"/>
              <a:gd name="connsiteY231" fmla="*/ 223488 h 662520"/>
              <a:gd name="connsiteX232" fmla="*/ 2885223 w 2885223"/>
              <a:gd name="connsiteY232" fmla="*/ 276826 h 662520"/>
              <a:gd name="connsiteX0" fmla="*/ 74231 w 2875860"/>
              <a:gd name="connsiteY0" fmla="*/ 662482 h 662520"/>
              <a:gd name="connsiteX1" fmla="*/ 60344 w 2875860"/>
              <a:gd name="connsiteY1" fmla="*/ 659582 h 662520"/>
              <a:gd name="connsiteX2" fmla="*/ 47517 w 2875860"/>
              <a:gd name="connsiteY2" fmla="*/ 656437 h 662520"/>
              <a:gd name="connsiteX3" fmla="*/ 35823 w 2875860"/>
              <a:gd name="connsiteY3" fmla="*/ 653092 h 662520"/>
              <a:gd name="connsiteX4" fmla="*/ 25336 w 2875860"/>
              <a:gd name="connsiteY4" fmla="*/ 649592 h 662520"/>
              <a:gd name="connsiteX5" fmla="*/ 25336 w 2875860"/>
              <a:gd name="connsiteY5" fmla="*/ 533196 h 662520"/>
              <a:gd name="connsiteX6" fmla="*/ 104190 w 2875860"/>
              <a:gd name="connsiteY6" fmla="*/ 533196 h 662520"/>
              <a:gd name="connsiteX7" fmla="*/ 116931 w 2875860"/>
              <a:gd name="connsiteY7" fmla="*/ 550133 h 662520"/>
              <a:gd name="connsiteX8" fmla="*/ 135043 w 2875860"/>
              <a:gd name="connsiteY8" fmla="*/ 564522 h 662520"/>
              <a:gd name="connsiteX9" fmla="*/ 160020 w 2875860"/>
              <a:gd name="connsiteY9" fmla="*/ 574514 h 662520"/>
              <a:gd name="connsiteX10" fmla="*/ 193357 w 2875860"/>
              <a:gd name="connsiteY10" fmla="*/ 578256 h 662520"/>
              <a:gd name="connsiteX11" fmla="*/ 233829 w 2875860"/>
              <a:gd name="connsiteY11" fmla="*/ 573672 h 662520"/>
              <a:gd name="connsiteX12" fmla="*/ 297105 w 2875860"/>
              <a:gd name="connsiteY12" fmla="*/ 537246 h 662520"/>
              <a:gd name="connsiteX13" fmla="*/ 320040 w 2875860"/>
              <a:gd name="connsiteY13" fmla="*/ 505568 h 662520"/>
              <a:gd name="connsiteX14" fmla="*/ 337261 w 2875860"/>
              <a:gd name="connsiteY14" fmla="*/ 465022 h 662520"/>
              <a:gd name="connsiteX15" fmla="*/ 348834 w 2875860"/>
              <a:gd name="connsiteY15" fmla="*/ 415691 h 662520"/>
              <a:gd name="connsiteX16" fmla="*/ 354825 w 2875860"/>
              <a:gd name="connsiteY16" fmla="*/ 357657 h 662520"/>
              <a:gd name="connsiteX17" fmla="*/ 325357 w 2875860"/>
              <a:gd name="connsiteY17" fmla="*/ 385098 h 662520"/>
              <a:gd name="connsiteX18" fmla="*/ 289466 w 2875860"/>
              <a:gd name="connsiteY18" fmla="*/ 406117 h 662520"/>
              <a:gd name="connsiteX19" fmla="*/ 247767 w 2875860"/>
              <a:gd name="connsiteY19" fmla="*/ 419568 h 662520"/>
              <a:gd name="connsiteX20" fmla="*/ 200875 w 2875860"/>
              <a:gd name="connsiteY20" fmla="*/ 424306 h 662520"/>
              <a:gd name="connsiteX21" fmla="*/ 153099 w 2875860"/>
              <a:gd name="connsiteY21" fmla="*/ 420031 h 662520"/>
              <a:gd name="connsiteX22" fmla="*/ 110150 w 2875860"/>
              <a:gd name="connsiteY22" fmla="*/ 407348 h 662520"/>
              <a:gd name="connsiteX23" fmla="*/ 72948 w 2875860"/>
              <a:gd name="connsiteY23" fmla="*/ 386472 h 662520"/>
              <a:gd name="connsiteX24" fmla="*/ 42412 w 2875860"/>
              <a:gd name="connsiteY24" fmla="*/ 357614 h 662520"/>
              <a:gd name="connsiteX25" fmla="*/ 19463 w 2875860"/>
              <a:gd name="connsiteY25" fmla="*/ 320990 h 662520"/>
              <a:gd name="connsiteX26" fmla="*/ 5019 w 2875860"/>
              <a:gd name="connsiteY26" fmla="*/ 276814 h 662520"/>
              <a:gd name="connsiteX27" fmla="*/ 0 w 2875860"/>
              <a:gd name="connsiteY27" fmla="*/ 225297 h 662520"/>
              <a:gd name="connsiteX28" fmla="*/ 4447 w 2875860"/>
              <a:gd name="connsiteY28" fmla="*/ 178425 h 662520"/>
              <a:gd name="connsiteX29" fmla="*/ 17453 w 2875860"/>
              <a:gd name="connsiteY29" fmla="*/ 135445 h 662520"/>
              <a:gd name="connsiteX30" fmla="*/ 38511 w 2875860"/>
              <a:gd name="connsiteY30" fmla="*/ 97085 h 662520"/>
              <a:gd name="connsiteX31" fmla="*/ 67116 w 2875860"/>
              <a:gd name="connsiteY31" fmla="*/ 64071 h 662520"/>
              <a:gd name="connsiteX32" fmla="*/ 102760 w 2875860"/>
              <a:gd name="connsiteY32" fmla="*/ 37129 h 662520"/>
              <a:gd name="connsiteX33" fmla="*/ 144939 w 2875860"/>
              <a:gd name="connsiteY33" fmla="*/ 16986 h 662520"/>
              <a:gd name="connsiteX34" fmla="*/ 193146 w 2875860"/>
              <a:gd name="connsiteY34" fmla="*/ 4367 h 662520"/>
              <a:gd name="connsiteX35" fmla="*/ 246875 w 2875860"/>
              <a:gd name="connsiteY35" fmla="*/ 0 h 662520"/>
              <a:gd name="connsiteX36" fmla="*/ 290625 w 2875860"/>
              <a:gd name="connsiteY36" fmla="*/ 2882 h 662520"/>
              <a:gd name="connsiteX37" fmla="*/ 331492 w 2875860"/>
              <a:gd name="connsiteY37" fmla="*/ 11678 h 662520"/>
              <a:gd name="connsiteX38" fmla="*/ 369070 w 2875860"/>
              <a:gd name="connsiteY38" fmla="*/ 26614 h 662520"/>
              <a:gd name="connsiteX39" fmla="*/ 402953 w 2875860"/>
              <a:gd name="connsiteY39" fmla="*/ 47914 h 662520"/>
              <a:gd name="connsiteX40" fmla="*/ 432736 w 2875860"/>
              <a:gd name="connsiteY40" fmla="*/ 75804 h 662520"/>
              <a:gd name="connsiteX41" fmla="*/ 458013 w 2875860"/>
              <a:gd name="connsiteY41" fmla="*/ 110509 h 662520"/>
              <a:gd name="connsiteX42" fmla="*/ 478379 w 2875860"/>
              <a:gd name="connsiteY42" fmla="*/ 152255 h 662520"/>
              <a:gd name="connsiteX43" fmla="*/ 493429 w 2875860"/>
              <a:gd name="connsiteY43" fmla="*/ 201265 h 662520"/>
              <a:gd name="connsiteX44" fmla="*/ 502756 w 2875860"/>
              <a:gd name="connsiteY44" fmla="*/ 257766 h 662520"/>
              <a:gd name="connsiteX45" fmla="*/ 505955 w 2875860"/>
              <a:gd name="connsiteY45" fmla="*/ 321983 h 662520"/>
              <a:gd name="connsiteX46" fmla="*/ 503406 w 2875860"/>
              <a:gd name="connsiteY46" fmla="*/ 376707 h 662520"/>
              <a:gd name="connsiteX47" fmla="*/ 495858 w 2875860"/>
              <a:gd name="connsiteY47" fmla="*/ 427041 h 662520"/>
              <a:gd name="connsiteX48" fmla="*/ 483456 w 2875860"/>
              <a:gd name="connsiteY48" fmla="*/ 472909 h 662520"/>
              <a:gd name="connsiteX49" fmla="*/ 466346 w 2875860"/>
              <a:gd name="connsiteY49" fmla="*/ 514232 h 662520"/>
              <a:gd name="connsiteX50" fmla="*/ 444674 w 2875860"/>
              <a:gd name="connsiteY50" fmla="*/ 550937 h 662520"/>
              <a:gd name="connsiteX51" fmla="*/ 418587 w 2875860"/>
              <a:gd name="connsiteY51" fmla="*/ 582945 h 662520"/>
              <a:gd name="connsiteX52" fmla="*/ 388229 w 2875860"/>
              <a:gd name="connsiteY52" fmla="*/ 610181 h 662520"/>
              <a:gd name="connsiteX53" fmla="*/ 353748 w 2875860"/>
              <a:gd name="connsiteY53" fmla="*/ 632569 h 662520"/>
              <a:gd name="connsiteX54" fmla="*/ 315289 w 2875860"/>
              <a:gd name="connsiteY54" fmla="*/ 650033 h 662520"/>
              <a:gd name="connsiteX55" fmla="*/ 272999 w 2875860"/>
              <a:gd name="connsiteY55" fmla="*/ 662495 h 662520"/>
              <a:gd name="connsiteX56" fmla="*/ 592162 w 2875860"/>
              <a:gd name="connsiteY56" fmla="*/ 662520 h 662520"/>
              <a:gd name="connsiteX57" fmla="*/ 571167 w 2875860"/>
              <a:gd name="connsiteY57" fmla="*/ 658030 h 662520"/>
              <a:gd name="connsiteX58" fmla="*/ 551373 w 2875860"/>
              <a:gd name="connsiteY58" fmla="*/ 652783 h 662520"/>
              <a:gd name="connsiteX59" fmla="*/ 532537 w 2875860"/>
              <a:gd name="connsiteY59" fmla="*/ 646826 h 662520"/>
              <a:gd name="connsiteX60" fmla="*/ 514413 w 2875860"/>
              <a:gd name="connsiteY60" fmla="*/ 640206 h 662520"/>
              <a:gd name="connsiteX61" fmla="*/ 514413 w 2875860"/>
              <a:gd name="connsiteY61" fmla="*/ 516293 h 662520"/>
              <a:gd name="connsiteX62" fmla="*/ 596087 w 2875860"/>
              <a:gd name="connsiteY62" fmla="*/ 516293 h 662520"/>
              <a:gd name="connsiteX63" fmla="*/ 612203 w 2875860"/>
              <a:gd name="connsiteY63" fmla="*/ 539439 h 662520"/>
              <a:gd name="connsiteX64" fmla="*/ 635627 w 2875860"/>
              <a:gd name="connsiteY64" fmla="*/ 559242 h 662520"/>
              <a:gd name="connsiteX65" fmla="*/ 666972 w 2875860"/>
              <a:gd name="connsiteY65" fmla="*/ 573062 h 662520"/>
              <a:gd name="connsiteX66" fmla="*/ 706856 w 2875860"/>
              <a:gd name="connsiteY66" fmla="*/ 578256 h 662520"/>
              <a:gd name="connsiteX67" fmla="*/ 749359 w 2875860"/>
              <a:gd name="connsiteY67" fmla="*/ 571758 h 662520"/>
              <a:gd name="connsiteX68" fmla="*/ 784298 w 2875860"/>
              <a:gd name="connsiteY68" fmla="*/ 552322 h 662520"/>
              <a:gd name="connsiteX69" fmla="*/ 807972 w 2875860"/>
              <a:gd name="connsiteY69" fmla="*/ 520038 h 662520"/>
              <a:gd name="connsiteX70" fmla="*/ 816686 w 2875860"/>
              <a:gd name="connsiteY70" fmla="*/ 474992 h 662520"/>
              <a:gd name="connsiteX71" fmla="*/ 809424 w 2875860"/>
              <a:gd name="connsiteY71" fmla="*/ 430240 h 662520"/>
              <a:gd name="connsiteX72" fmla="*/ 787466 w 2875860"/>
              <a:gd name="connsiteY72" fmla="*/ 398602 h 662520"/>
              <a:gd name="connsiteX73" fmla="*/ 750549 w 2875860"/>
              <a:gd name="connsiteY73" fmla="*/ 379812 h 662520"/>
              <a:gd name="connsiteX74" fmla="*/ 698411 w 2875860"/>
              <a:gd name="connsiteY74" fmla="*/ 373608 h 662520"/>
              <a:gd name="connsiteX75" fmla="*/ 649592 w 2875860"/>
              <a:gd name="connsiteY75" fmla="*/ 373608 h 662520"/>
              <a:gd name="connsiteX76" fmla="*/ 649592 w 2875860"/>
              <a:gd name="connsiteY76" fmla="*/ 286308 h 662520"/>
              <a:gd name="connsiteX77" fmla="*/ 690892 w 2875860"/>
              <a:gd name="connsiteY77" fmla="*/ 286308 h 662520"/>
              <a:gd name="connsiteX78" fmla="*/ 744563 w 2875860"/>
              <a:gd name="connsiteY78" fmla="*/ 280133 h 662520"/>
              <a:gd name="connsiteX79" fmla="*/ 783007 w 2875860"/>
              <a:gd name="connsiteY79" fmla="*/ 261550 h 662520"/>
              <a:gd name="connsiteX80" fmla="*/ 806137 w 2875860"/>
              <a:gd name="connsiteY80" fmla="*/ 230469 h 662520"/>
              <a:gd name="connsiteX81" fmla="*/ 813866 w 2875860"/>
              <a:gd name="connsiteY81" fmla="*/ 186804 h 662520"/>
              <a:gd name="connsiteX82" fmla="*/ 808513 w 2875860"/>
              <a:gd name="connsiteY82" fmla="*/ 149115 h 662520"/>
              <a:gd name="connsiteX83" fmla="*/ 792160 w 2875860"/>
              <a:gd name="connsiteY83" fmla="*/ 121104 h 662520"/>
              <a:gd name="connsiteX84" fmla="*/ 764365 w 2875860"/>
              <a:gd name="connsiteY84" fmla="*/ 103651 h 662520"/>
              <a:gd name="connsiteX85" fmla="*/ 724687 w 2875860"/>
              <a:gd name="connsiteY85" fmla="*/ 97637 h 662520"/>
              <a:gd name="connsiteX86" fmla="*/ 687243 w 2875860"/>
              <a:gd name="connsiteY86" fmla="*/ 102374 h 662520"/>
              <a:gd name="connsiteX87" fmla="*/ 657456 w 2875860"/>
              <a:gd name="connsiteY87" fmla="*/ 115117 h 662520"/>
              <a:gd name="connsiteX88" fmla="*/ 634533 w 2875860"/>
              <a:gd name="connsiteY88" fmla="*/ 133668 h 662520"/>
              <a:gd name="connsiteX89" fmla="*/ 617677 w 2875860"/>
              <a:gd name="connsiteY89" fmla="*/ 155828 h 662520"/>
              <a:gd name="connsiteX90" fmla="*/ 539775 w 2875860"/>
              <a:gd name="connsiteY90" fmla="*/ 155828 h 662520"/>
              <a:gd name="connsiteX91" fmla="*/ 539775 w 2875860"/>
              <a:gd name="connsiteY91" fmla="*/ 33807 h 662520"/>
              <a:gd name="connsiteX92" fmla="*/ 584006 w 2875860"/>
              <a:gd name="connsiteY92" fmla="*/ 19813 h 662520"/>
              <a:gd name="connsiteX93" fmla="*/ 631056 w 2875860"/>
              <a:gd name="connsiteY93" fmla="*/ 9159 h 662520"/>
              <a:gd name="connsiteX94" fmla="*/ 681278 w 2875860"/>
              <a:gd name="connsiteY94" fmla="*/ 2378 h 662520"/>
              <a:gd name="connsiteX95" fmla="*/ 735025 w 2875860"/>
              <a:gd name="connsiteY95" fmla="*/ 0 h 662520"/>
              <a:gd name="connsiteX96" fmla="*/ 790395 w 2875860"/>
              <a:gd name="connsiteY96" fmla="*/ 3158 h 662520"/>
              <a:gd name="connsiteX97" fmla="*/ 838689 w 2875860"/>
              <a:gd name="connsiteY97" fmla="*/ 12853 h 662520"/>
              <a:gd name="connsiteX98" fmla="*/ 879380 w 2875860"/>
              <a:gd name="connsiteY98" fmla="*/ 29412 h 662520"/>
              <a:gd name="connsiteX99" fmla="*/ 911943 w 2875860"/>
              <a:gd name="connsiteY99" fmla="*/ 53163 h 662520"/>
              <a:gd name="connsiteX100" fmla="*/ 935853 w 2875860"/>
              <a:gd name="connsiteY100" fmla="*/ 84435 h 662520"/>
              <a:gd name="connsiteX101" fmla="*/ 950584 w 2875860"/>
              <a:gd name="connsiteY101" fmla="*/ 123555 h 662520"/>
              <a:gd name="connsiteX102" fmla="*/ 955611 w 2875860"/>
              <a:gd name="connsiteY102" fmla="*/ 170853 h 662520"/>
              <a:gd name="connsiteX103" fmla="*/ 949453 w 2875860"/>
              <a:gd name="connsiteY103" fmla="*/ 219568 h 662520"/>
              <a:gd name="connsiteX104" fmla="*/ 931581 w 2875860"/>
              <a:gd name="connsiteY104" fmla="*/ 258234 h 662520"/>
              <a:gd name="connsiteX105" fmla="*/ 902895 w 2875860"/>
              <a:gd name="connsiteY105" fmla="*/ 287843 h 662520"/>
              <a:gd name="connsiteX106" fmla="*/ 864296 w 2875860"/>
              <a:gd name="connsiteY106" fmla="*/ 309388 h 662520"/>
              <a:gd name="connsiteX107" fmla="*/ 816686 w 2875860"/>
              <a:gd name="connsiteY107" fmla="*/ 323862 h 662520"/>
              <a:gd name="connsiteX108" fmla="*/ 816686 w 2875860"/>
              <a:gd name="connsiteY108" fmla="*/ 327609 h 662520"/>
              <a:gd name="connsiteX109" fmla="*/ 870681 w 2875860"/>
              <a:gd name="connsiteY109" fmla="*/ 340566 h 662520"/>
              <a:gd name="connsiteX110" fmla="*/ 912283 w 2875860"/>
              <a:gd name="connsiteY110" fmla="*/ 362534 h 662520"/>
              <a:gd name="connsiteX111" fmla="*/ 941719 w 2875860"/>
              <a:gd name="connsiteY111" fmla="*/ 393513 h 662520"/>
              <a:gd name="connsiteX112" fmla="*/ 959215 w 2875860"/>
              <a:gd name="connsiteY112" fmla="*/ 433502 h 662520"/>
              <a:gd name="connsiteX113" fmla="*/ 964996 w 2875860"/>
              <a:gd name="connsiteY113" fmla="*/ 482498 h 662520"/>
              <a:gd name="connsiteX114" fmla="*/ 959936 w 2875860"/>
              <a:gd name="connsiteY114" fmla="*/ 527743 h 662520"/>
              <a:gd name="connsiteX115" fmla="*/ 944659 w 2875860"/>
              <a:gd name="connsiteY115" fmla="*/ 567021 h 662520"/>
              <a:gd name="connsiteX116" fmla="*/ 920122 w 2875860"/>
              <a:gd name="connsiteY116" fmla="*/ 600232 h 662520"/>
              <a:gd name="connsiteX117" fmla="*/ 887285 w 2875860"/>
              <a:gd name="connsiteY117" fmla="*/ 627278 h 662520"/>
              <a:gd name="connsiteX118" fmla="*/ 847106 w 2875860"/>
              <a:gd name="connsiteY118" fmla="*/ 648061 h 662520"/>
              <a:gd name="connsiteX119" fmla="*/ 800544 w 2875860"/>
              <a:gd name="connsiteY119" fmla="*/ 662482 h 662520"/>
              <a:gd name="connsiteX120" fmla="*/ 1360843 w 2875860"/>
              <a:gd name="connsiteY120" fmla="*/ 662495 h 662520"/>
              <a:gd name="connsiteX121" fmla="*/ 1322871 w 2875860"/>
              <a:gd name="connsiteY121" fmla="*/ 649352 h 662520"/>
              <a:gd name="connsiteX122" fmla="*/ 1287296 w 2875860"/>
              <a:gd name="connsiteY122" fmla="*/ 630560 h 662520"/>
              <a:gd name="connsiteX123" fmla="*/ 1254670 w 2875860"/>
              <a:gd name="connsiteY123" fmla="*/ 606062 h 662520"/>
              <a:gd name="connsiteX124" fmla="*/ 1225546 w 2875860"/>
              <a:gd name="connsiteY124" fmla="*/ 575802 h 662520"/>
              <a:gd name="connsiteX125" fmla="*/ 1200477 w 2875860"/>
              <a:gd name="connsiteY125" fmla="*/ 539722 h 662520"/>
              <a:gd name="connsiteX126" fmla="*/ 1180016 w 2875860"/>
              <a:gd name="connsiteY126" fmla="*/ 497766 h 662520"/>
              <a:gd name="connsiteX127" fmla="*/ 1164717 w 2875860"/>
              <a:gd name="connsiteY127" fmla="*/ 449876 h 662520"/>
              <a:gd name="connsiteX128" fmla="*/ 1155131 w 2875860"/>
              <a:gd name="connsiteY128" fmla="*/ 395995 h 662520"/>
              <a:gd name="connsiteX129" fmla="*/ 1151813 w 2875860"/>
              <a:gd name="connsiteY129" fmla="*/ 336067 h 662520"/>
              <a:gd name="connsiteX130" fmla="*/ 1155053 w 2875860"/>
              <a:gd name="connsiteY130" fmla="*/ 276826 h 662520"/>
              <a:gd name="connsiteX131" fmla="*/ 1164415 w 2875860"/>
              <a:gd name="connsiteY131" fmla="*/ 223488 h 662520"/>
              <a:gd name="connsiteX132" fmla="*/ 1179368 w 2875860"/>
              <a:gd name="connsiteY132" fmla="*/ 175997 h 662520"/>
              <a:gd name="connsiteX133" fmla="*/ 1199377 w 2875860"/>
              <a:gd name="connsiteY133" fmla="*/ 134299 h 662520"/>
              <a:gd name="connsiteX134" fmla="*/ 1223910 w 2875860"/>
              <a:gd name="connsiteY134" fmla="*/ 98339 h 662520"/>
              <a:gd name="connsiteX135" fmla="*/ 1252434 w 2875860"/>
              <a:gd name="connsiteY135" fmla="*/ 68062 h 662520"/>
              <a:gd name="connsiteX136" fmla="*/ 1284414 w 2875860"/>
              <a:gd name="connsiteY136" fmla="*/ 43413 h 662520"/>
              <a:gd name="connsiteX137" fmla="*/ 1319318 w 2875860"/>
              <a:gd name="connsiteY137" fmla="*/ 24337 h 662520"/>
              <a:gd name="connsiteX138" fmla="*/ 1356613 w 2875860"/>
              <a:gd name="connsiteY138" fmla="*/ 10780 h 662520"/>
              <a:gd name="connsiteX139" fmla="*/ 1395766 w 2875860"/>
              <a:gd name="connsiteY139" fmla="*/ 2685 h 662520"/>
              <a:gd name="connsiteX140" fmla="*/ 1436243 w 2875860"/>
              <a:gd name="connsiteY140" fmla="*/ 0 h 662520"/>
              <a:gd name="connsiteX141" fmla="*/ 1476722 w 2875860"/>
              <a:gd name="connsiteY141" fmla="*/ 2685 h 662520"/>
              <a:gd name="connsiteX142" fmla="*/ 1515876 w 2875860"/>
              <a:gd name="connsiteY142" fmla="*/ 10780 h 662520"/>
              <a:gd name="connsiteX143" fmla="*/ 1553172 w 2875860"/>
              <a:gd name="connsiteY143" fmla="*/ 24337 h 662520"/>
              <a:gd name="connsiteX144" fmla="*/ 1588076 w 2875860"/>
              <a:gd name="connsiteY144" fmla="*/ 43413 h 662520"/>
              <a:gd name="connsiteX145" fmla="*/ 1620056 w 2875860"/>
              <a:gd name="connsiteY145" fmla="*/ 68062 h 662520"/>
              <a:gd name="connsiteX146" fmla="*/ 1648579 w 2875860"/>
              <a:gd name="connsiteY146" fmla="*/ 98339 h 662520"/>
              <a:gd name="connsiteX147" fmla="*/ 1673111 w 2875860"/>
              <a:gd name="connsiteY147" fmla="*/ 134299 h 662520"/>
              <a:gd name="connsiteX148" fmla="*/ 1693119 w 2875860"/>
              <a:gd name="connsiteY148" fmla="*/ 175997 h 662520"/>
              <a:gd name="connsiteX149" fmla="*/ 1708071 w 2875860"/>
              <a:gd name="connsiteY149" fmla="*/ 223488 h 662520"/>
              <a:gd name="connsiteX150" fmla="*/ 1717433 w 2875860"/>
              <a:gd name="connsiteY150" fmla="*/ 276826 h 662520"/>
              <a:gd name="connsiteX151" fmla="*/ 1720672 w 2875860"/>
              <a:gd name="connsiteY151" fmla="*/ 336067 h 662520"/>
              <a:gd name="connsiteX152" fmla="*/ 1717354 w 2875860"/>
              <a:gd name="connsiteY152" fmla="*/ 395995 h 662520"/>
              <a:gd name="connsiteX153" fmla="*/ 1707768 w 2875860"/>
              <a:gd name="connsiteY153" fmla="*/ 449876 h 662520"/>
              <a:gd name="connsiteX154" fmla="*/ 1692469 w 2875860"/>
              <a:gd name="connsiteY154" fmla="*/ 497766 h 662520"/>
              <a:gd name="connsiteX155" fmla="*/ 1672008 w 2875860"/>
              <a:gd name="connsiteY155" fmla="*/ 539722 h 662520"/>
              <a:gd name="connsiteX156" fmla="*/ 1646939 w 2875860"/>
              <a:gd name="connsiteY156" fmla="*/ 575802 h 662520"/>
              <a:gd name="connsiteX157" fmla="*/ 1617815 w 2875860"/>
              <a:gd name="connsiteY157" fmla="*/ 606062 h 662520"/>
              <a:gd name="connsiteX158" fmla="*/ 1585189 w 2875860"/>
              <a:gd name="connsiteY158" fmla="*/ 630560 h 662520"/>
              <a:gd name="connsiteX159" fmla="*/ 1549614 w 2875860"/>
              <a:gd name="connsiteY159" fmla="*/ 649352 h 662520"/>
              <a:gd name="connsiteX160" fmla="*/ 1511642 w 2875860"/>
              <a:gd name="connsiteY160" fmla="*/ 662495 h 662520"/>
              <a:gd name="connsiteX161" fmla="*/ 1943430 w 2875860"/>
              <a:gd name="connsiteY161" fmla="*/ 662495 h 662520"/>
              <a:gd name="connsiteX162" fmla="*/ 1905459 w 2875860"/>
              <a:gd name="connsiteY162" fmla="*/ 649348 h 662520"/>
              <a:gd name="connsiteX163" fmla="*/ 1869885 w 2875860"/>
              <a:gd name="connsiteY163" fmla="*/ 630555 h 662520"/>
              <a:gd name="connsiteX164" fmla="*/ 1837261 w 2875860"/>
              <a:gd name="connsiteY164" fmla="*/ 606057 h 662520"/>
              <a:gd name="connsiteX165" fmla="*/ 1808138 w 2875860"/>
              <a:gd name="connsiteY165" fmla="*/ 575797 h 662520"/>
              <a:gd name="connsiteX166" fmla="*/ 1783072 w 2875860"/>
              <a:gd name="connsiteY166" fmla="*/ 539718 h 662520"/>
              <a:gd name="connsiteX167" fmla="*/ 1762613 w 2875860"/>
              <a:gd name="connsiteY167" fmla="*/ 497763 h 662520"/>
              <a:gd name="connsiteX168" fmla="*/ 1747315 w 2875860"/>
              <a:gd name="connsiteY168" fmla="*/ 449874 h 662520"/>
              <a:gd name="connsiteX169" fmla="*/ 1737731 w 2875860"/>
              <a:gd name="connsiteY169" fmla="*/ 395995 h 662520"/>
              <a:gd name="connsiteX170" fmla="*/ 1734413 w 2875860"/>
              <a:gd name="connsiteY170" fmla="*/ 336067 h 662520"/>
              <a:gd name="connsiteX171" fmla="*/ 1737652 w 2875860"/>
              <a:gd name="connsiteY171" fmla="*/ 276826 h 662520"/>
              <a:gd name="connsiteX172" fmla="*/ 1747014 w 2875860"/>
              <a:gd name="connsiteY172" fmla="*/ 223488 h 662520"/>
              <a:gd name="connsiteX173" fmla="*/ 1761965 w 2875860"/>
              <a:gd name="connsiteY173" fmla="*/ 175997 h 662520"/>
              <a:gd name="connsiteX174" fmla="*/ 1781973 w 2875860"/>
              <a:gd name="connsiteY174" fmla="*/ 134299 h 662520"/>
              <a:gd name="connsiteX175" fmla="*/ 1806505 w 2875860"/>
              <a:gd name="connsiteY175" fmla="*/ 98339 h 662520"/>
              <a:gd name="connsiteX176" fmla="*/ 1835026 w 2875860"/>
              <a:gd name="connsiteY176" fmla="*/ 68062 h 662520"/>
              <a:gd name="connsiteX177" fmla="*/ 1867005 w 2875860"/>
              <a:gd name="connsiteY177" fmla="*/ 43413 h 662520"/>
              <a:gd name="connsiteX178" fmla="*/ 1901908 w 2875860"/>
              <a:gd name="connsiteY178" fmla="*/ 24337 h 662520"/>
              <a:gd name="connsiteX179" fmla="*/ 1939202 w 2875860"/>
              <a:gd name="connsiteY179" fmla="*/ 10780 h 662520"/>
              <a:gd name="connsiteX180" fmla="*/ 1978353 w 2875860"/>
              <a:gd name="connsiteY180" fmla="*/ 2685 h 662520"/>
              <a:gd name="connsiteX181" fmla="*/ 2018830 w 2875860"/>
              <a:gd name="connsiteY181" fmla="*/ 0 h 662520"/>
              <a:gd name="connsiteX182" fmla="*/ 2059309 w 2875860"/>
              <a:gd name="connsiteY182" fmla="*/ 2685 h 662520"/>
              <a:gd name="connsiteX183" fmla="*/ 2098463 w 2875860"/>
              <a:gd name="connsiteY183" fmla="*/ 10780 h 662520"/>
              <a:gd name="connsiteX184" fmla="*/ 2135759 w 2875860"/>
              <a:gd name="connsiteY184" fmla="*/ 24337 h 662520"/>
              <a:gd name="connsiteX185" fmla="*/ 2170664 w 2875860"/>
              <a:gd name="connsiteY185" fmla="*/ 43413 h 662520"/>
              <a:gd name="connsiteX186" fmla="*/ 2202644 w 2875860"/>
              <a:gd name="connsiteY186" fmla="*/ 68062 h 662520"/>
              <a:gd name="connsiteX187" fmla="*/ 2231166 w 2875860"/>
              <a:gd name="connsiteY187" fmla="*/ 98339 h 662520"/>
              <a:gd name="connsiteX188" fmla="*/ 2255698 w 2875860"/>
              <a:gd name="connsiteY188" fmla="*/ 134299 h 662520"/>
              <a:gd name="connsiteX189" fmla="*/ 2275706 w 2875860"/>
              <a:gd name="connsiteY189" fmla="*/ 175997 h 662520"/>
              <a:gd name="connsiteX190" fmla="*/ 2290658 w 2875860"/>
              <a:gd name="connsiteY190" fmla="*/ 223488 h 662520"/>
              <a:gd name="connsiteX191" fmla="*/ 2300020 w 2875860"/>
              <a:gd name="connsiteY191" fmla="*/ 276826 h 662520"/>
              <a:gd name="connsiteX192" fmla="*/ 2303259 w 2875860"/>
              <a:gd name="connsiteY192" fmla="*/ 336067 h 662520"/>
              <a:gd name="connsiteX193" fmla="*/ 2299941 w 2875860"/>
              <a:gd name="connsiteY193" fmla="*/ 395991 h 662520"/>
              <a:gd name="connsiteX194" fmla="*/ 2290357 w 2875860"/>
              <a:gd name="connsiteY194" fmla="*/ 449869 h 662520"/>
              <a:gd name="connsiteX195" fmla="*/ 2275059 w 2875860"/>
              <a:gd name="connsiteY195" fmla="*/ 497757 h 662520"/>
              <a:gd name="connsiteX196" fmla="*/ 2254600 w 2875860"/>
              <a:gd name="connsiteY196" fmla="*/ 539713 h 662520"/>
              <a:gd name="connsiteX197" fmla="*/ 2229533 w 2875860"/>
              <a:gd name="connsiteY197" fmla="*/ 575793 h 662520"/>
              <a:gd name="connsiteX198" fmla="*/ 2200411 w 2875860"/>
              <a:gd name="connsiteY198" fmla="*/ 606054 h 662520"/>
              <a:gd name="connsiteX199" fmla="*/ 2167787 w 2875860"/>
              <a:gd name="connsiteY199" fmla="*/ 630553 h 662520"/>
              <a:gd name="connsiteX200" fmla="*/ 2132213 w 2875860"/>
              <a:gd name="connsiteY200" fmla="*/ 649348 h 662520"/>
              <a:gd name="connsiteX201" fmla="*/ 2094242 w 2875860"/>
              <a:gd name="connsiteY201" fmla="*/ 662495 h 662520"/>
              <a:gd name="connsiteX202" fmla="*/ 2528582 w 2875860"/>
              <a:gd name="connsiteY202" fmla="*/ 662482 h 662520"/>
              <a:gd name="connsiteX203" fmla="*/ 2490620 w 2875860"/>
              <a:gd name="connsiteY203" fmla="*/ 649332 h 662520"/>
              <a:gd name="connsiteX204" fmla="*/ 2455053 w 2875860"/>
              <a:gd name="connsiteY204" fmla="*/ 630534 h 662520"/>
              <a:gd name="connsiteX205" fmla="*/ 2422435 w 2875860"/>
              <a:gd name="connsiteY205" fmla="*/ 606033 h 662520"/>
              <a:gd name="connsiteX206" fmla="*/ 2393318 w 2875860"/>
              <a:gd name="connsiteY206" fmla="*/ 575772 h 662520"/>
              <a:gd name="connsiteX207" fmla="*/ 2368257 w 2875860"/>
              <a:gd name="connsiteY207" fmla="*/ 539693 h 662520"/>
              <a:gd name="connsiteX208" fmla="*/ 2347803 w 2875860"/>
              <a:gd name="connsiteY208" fmla="*/ 497740 h 662520"/>
              <a:gd name="connsiteX209" fmla="*/ 2332510 w 2875860"/>
              <a:gd name="connsiteY209" fmla="*/ 449856 h 662520"/>
              <a:gd name="connsiteX210" fmla="*/ 2322930 w 2875860"/>
              <a:gd name="connsiteY210" fmla="*/ 395984 h 662520"/>
              <a:gd name="connsiteX211" fmla="*/ 2319616 w 2875860"/>
              <a:gd name="connsiteY211" fmla="*/ 336067 h 662520"/>
              <a:gd name="connsiteX212" fmla="*/ 2322855 w 2875860"/>
              <a:gd name="connsiteY212" fmla="*/ 276826 h 662520"/>
              <a:gd name="connsiteX213" fmla="*/ 2332217 w 2875860"/>
              <a:gd name="connsiteY213" fmla="*/ 223488 h 662520"/>
              <a:gd name="connsiteX214" fmla="*/ 2347169 w 2875860"/>
              <a:gd name="connsiteY214" fmla="*/ 175997 h 662520"/>
              <a:gd name="connsiteX215" fmla="*/ 2367177 w 2875860"/>
              <a:gd name="connsiteY215" fmla="*/ 134299 h 662520"/>
              <a:gd name="connsiteX216" fmla="*/ 2391708 w 2875860"/>
              <a:gd name="connsiteY216" fmla="*/ 98339 h 662520"/>
              <a:gd name="connsiteX217" fmla="*/ 2420230 w 2875860"/>
              <a:gd name="connsiteY217" fmla="*/ 68062 h 662520"/>
              <a:gd name="connsiteX218" fmla="*/ 2452208 w 2875860"/>
              <a:gd name="connsiteY218" fmla="*/ 43413 h 662520"/>
              <a:gd name="connsiteX219" fmla="*/ 2487111 w 2875860"/>
              <a:gd name="connsiteY219" fmla="*/ 24337 h 662520"/>
              <a:gd name="connsiteX220" fmla="*/ 2524405 w 2875860"/>
              <a:gd name="connsiteY220" fmla="*/ 10780 h 662520"/>
              <a:gd name="connsiteX221" fmla="*/ 2563557 w 2875860"/>
              <a:gd name="connsiteY221" fmla="*/ 2685 h 662520"/>
              <a:gd name="connsiteX222" fmla="*/ 2604033 w 2875860"/>
              <a:gd name="connsiteY222" fmla="*/ 0 h 662520"/>
              <a:gd name="connsiteX223" fmla="*/ 2644510 w 2875860"/>
              <a:gd name="connsiteY223" fmla="*/ 2685 h 662520"/>
              <a:gd name="connsiteX224" fmla="*/ 2683662 w 2875860"/>
              <a:gd name="connsiteY224" fmla="*/ 10780 h 662520"/>
              <a:gd name="connsiteX225" fmla="*/ 2720957 w 2875860"/>
              <a:gd name="connsiteY225" fmla="*/ 24337 h 662520"/>
              <a:gd name="connsiteX226" fmla="*/ 2755861 w 2875860"/>
              <a:gd name="connsiteY226" fmla="*/ 43413 h 662520"/>
              <a:gd name="connsiteX227" fmla="*/ 2787842 w 2875860"/>
              <a:gd name="connsiteY227" fmla="*/ 68062 h 662520"/>
              <a:gd name="connsiteX228" fmla="*/ 2816365 w 2875860"/>
              <a:gd name="connsiteY228" fmla="*/ 98339 h 662520"/>
              <a:gd name="connsiteX229" fmla="*/ 2840898 w 2875860"/>
              <a:gd name="connsiteY229" fmla="*/ 134299 h 662520"/>
              <a:gd name="connsiteX230" fmla="*/ 2860907 w 2875860"/>
              <a:gd name="connsiteY230" fmla="*/ 175997 h 662520"/>
              <a:gd name="connsiteX231" fmla="*/ 2875860 w 2875860"/>
              <a:gd name="connsiteY231" fmla="*/ 223488 h 662520"/>
              <a:gd name="connsiteX0" fmla="*/ 74231 w 2860907"/>
              <a:gd name="connsiteY0" fmla="*/ 662482 h 662520"/>
              <a:gd name="connsiteX1" fmla="*/ 60344 w 2860907"/>
              <a:gd name="connsiteY1" fmla="*/ 659582 h 662520"/>
              <a:gd name="connsiteX2" fmla="*/ 47517 w 2860907"/>
              <a:gd name="connsiteY2" fmla="*/ 656437 h 662520"/>
              <a:gd name="connsiteX3" fmla="*/ 35823 w 2860907"/>
              <a:gd name="connsiteY3" fmla="*/ 653092 h 662520"/>
              <a:gd name="connsiteX4" fmla="*/ 25336 w 2860907"/>
              <a:gd name="connsiteY4" fmla="*/ 649592 h 662520"/>
              <a:gd name="connsiteX5" fmla="*/ 25336 w 2860907"/>
              <a:gd name="connsiteY5" fmla="*/ 533196 h 662520"/>
              <a:gd name="connsiteX6" fmla="*/ 104190 w 2860907"/>
              <a:gd name="connsiteY6" fmla="*/ 533196 h 662520"/>
              <a:gd name="connsiteX7" fmla="*/ 116931 w 2860907"/>
              <a:gd name="connsiteY7" fmla="*/ 550133 h 662520"/>
              <a:gd name="connsiteX8" fmla="*/ 135043 w 2860907"/>
              <a:gd name="connsiteY8" fmla="*/ 564522 h 662520"/>
              <a:gd name="connsiteX9" fmla="*/ 160020 w 2860907"/>
              <a:gd name="connsiteY9" fmla="*/ 574514 h 662520"/>
              <a:gd name="connsiteX10" fmla="*/ 193357 w 2860907"/>
              <a:gd name="connsiteY10" fmla="*/ 578256 h 662520"/>
              <a:gd name="connsiteX11" fmla="*/ 233829 w 2860907"/>
              <a:gd name="connsiteY11" fmla="*/ 573672 h 662520"/>
              <a:gd name="connsiteX12" fmla="*/ 297105 w 2860907"/>
              <a:gd name="connsiteY12" fmla="*/ 537246 h 662520"/>
              <a:gd name="connsiteX13" fmla="*/ 320040 w 2860907"/>
              <a:gd name="connsiteY13" fmla="*/ 505568 h 662520"/>
              <a:gd name="connsiteX14" fmla="*/ 337261 w 2860907"/>
              <a:gd name="connsiteY14" fmla="*/ 465022 h 662520"/>
              <a:gd name="connsiteX15" fmla="*/ 348834 w 2860907"/>
              <a:gd name="connsiteY15" fmla="*/ 415691 h 662520"/>
              <a:gd name="connsiteX16" fmla="*/ 354825 w 2860907"/>
              <a:gd name="connsiteY16" fmla="*/ 357657 h 662520"/>
              <a:gd name="connsiteX17" fmla="*/ 325357 w 2860907"/>
              <a:gd name="connsiteY17" fmla="*/ 385098 h 662520"/>
              <a:gd name="connsiteX18" fmla="*/ 289466 w 2860907"/>
              <a:gd name="connsiteY18" fmla="*/ 406117 h 662520"/>
              <a:gd name="connsiteX19" fmla="*/ 247767 w 2860907"/>
              <a:gd name="connsiteY19" fmla="*/ 419568 h 662520"/>
              <a:gd name="connsiteX20" fmla="*/ 200875 w 2860907"/>
              <a:gd name="connsiteY20" fmla="*/ 424306 h 662520"/>
              <a:gd name="connsiteX21" fmla="*/ 153099 w 2860907"/>
              <a:gd name="connsiteY21" fmla="*/ 420031 h 662520"/>
              <a:gd name="connsiteX22" fmla="*/ 110150 w 2860907"/>
              <a:gd name="connsiteY22" fmla="*/ 407348 h 662520"/>
              <a:gd name="connsiteX23" fmla="*/ 72948 w 2860907"/>
              <a:gd name="connsiteY23" fmla="*/ 386472 h 662520"/>
              <a:gd name="connsiteX24" fmla="*/ 42412 w 2860907"/>
              <a:gd name="connsiteY24" fmla="*/ 357614 h 662520"/>
              <a:gd name="connsiteX25" fmla="*/ 19463 w 2860907"/>
              <a:gd name="connsiteY25" fmla="*/ 320990 h 662520"/>
              <a:gd name="connsiteX26" fmla="*/ 5019 w 2860907"/>
              <a:gd name="connsiteY26" fmla="*/ 276814 h 662520"/>
              <a:gd name="connsiteX27" fmla="*/ 0 w 2860907"/>
              <a:gd name="connsiteY27" fmla="*/ 225297 h 662520"/>
              <a:gd name="connsiteX28" fmla="*/ 4447 w 2860907"/>
              <a:gd name="connsiteY28" fmla="*/ 178425 h 662520"/>
              <a:gd name="connsiteX29" fmla="*/ 17453 w 2860907"/>
              <a:gd name="connsiteY29" fmla="*/ 135445 h 662520"/>
              <a:gd name="connsiteX30" fmla="*/ 38511 w 2860907"/>
              <a:gd name="connsiteY30" fmla="*/ 97085 h 662520"/>
              <a:gd name="connsiteX31" fmla="*/ 67116 w 2860907"/>
              <a:gd name="connsiteY31" fmla="*/ 64071 h 662520"/>
              <a:gd name="connsiteX32" fmla="*/ 102760 w 2860907"/>
              <a:gd name="connsiteY32" fmla="*/ 37129 h 662520"/>
              <a:gd name="connsiteX33" fmla="*/ 144939 w 2860907"/>
              <a:gd name="connsiteY33" fmla="*/ 16986 h 662520"/>
              <a:gd name="connsiteX34" fmla="*/ 193146 w 2860907"/>
              <a:gd name="connsiteY34" fmla="*/ 4367 h 662520"/>
              <a:gd name="connsiteX35" fmla="*/ 246875 w 2860907"/>
              <a:gd name="connsiteY35" fmla="*/ 0 h 662520"/>
              <a:gd name="connsiteX36" fmla="*/ 290625 w 2860907"/>
              <a:gd name="connsiteY36" fmla="*/ 2882 h 662520"/>
              <a:gd name="connsiteX37" fmla="*/ 331492 w 2860907"/>
              <a:gd name="connsiteY37" fmla="*/ 11678 h 662520"/>
              <a:gd name="connsiteX38" fmla="*/ 369070 w 2860907"/>
              <a:gd name="connsiteY38" fmla="*/ 26614 h 662520"/>
              <a:gd name="connsiteX39" fmla="*/ 402953 w 2860907"/>
              <a:gd name="connsiteY39" fmla="*/ 47914 h 662520"/>
              <a:gd name="connsiteX40" fmla="*/ 432736 w 2860907"/>
              <a:gd name="connsiteY40" fmla="*/ 75804 h 662520"/>
              <a:gd name="connsiteX41" fmla="*/ 458013 w 2860907"/>
              <a:gd name="connsiteY41" fmla="*/ 110509 h 662520"/>
              <a:gd name="connsiteX42" fmla="*/ 478379 w 2860907"/>
              <a:gd name="connsiteY42" fmla="*/ 152255 h 662520"/>
              <a:gd name="connsiteX43" fmla="*/ 493429 w 2860907"/>
              <a:gd name="connsiteY43" fmla="*/ 201265 h 662520"/>
              <a:gd name="connsiteX44" fmla="*/ 502756 w 2860907"/>
              <a:gd name="connsiteY44" fmla="*/ 257766 h 662520"/>
              <a:gd name="connsiteX45" fmla="*/ 505955 w 2860907"/>
              <a:gd name="connsiteY45" fmla="*/ 321983 h 662520"/>
              <a:gd name="connsiteX46" fmla="*/ 503406 w 2860907"/>
              <a:gd name="connsiteY46" fmla="*/ 376707 h 662520"/>
              <a:gd name="connsiteX47" fmla="*/ 495858 w 2860907"/>
              <a:gd name="connsiteY47" fmla="*/ 427041 h 662520"/>
              <a:gd name="connsiteX48" fmla="*/ 483456 w 2860907"/>
              <a:gd name="connsiteY48" fmla="*/ 472909 h 662520"/>
              <a:gd name="connsiteX49" fmla="*/ 466346 w 2860907"/>
              <a:gd name="connsiteY49" fmla="*/ 514232 h 662520"/>
              <a:gd name="connsiteX50" fmla="*/ 444674 w 2860907"/>
              <a:gd name="connsiteY50" fmla="*/ 550937 h 662520"/>
              <a:gd name="connsiteX51" fmla="*/ 418587 w 2860907"/>
              <a:gd name="connsiteY51" fmla="*/ 582945 h 662520"/>
              <a:gd name="connsiteX52" fmla="*/ 388229 w 2860907"/>
              <a:gd name="connsiteY52" fmla="*/ 610181 h 662520"/>
              <a:gd name="connsiteX53" fmla="*/ 353748 w 2860907"/>
              <a:gd name="connsiteY53" fmla="*/ 632569 h 662520"/>
              <a:gd name="connsiteX54" fmla="*/ 315289 w 2860907"/>
              <a:gd name="connsiteY54" fmla="*/ 650033 h 662520"/>
              <a:gd name="connsiteX55" fmla="*/ 272999 w 2860907"/>
              <a:gd name="connsiteY55" fmla="*/ 662495 h 662520"/>
              <a:gd name="connsiteX56" fmla="*/ 592162 w 2860907"/>
              <a:gd name="connsiteY56" fmla="*/ 662520 h 662520"/>
              <a:gd name="connsiteX57" fmla="*/ 571167 w 2860907"/>
              <a:gd name="connsiteY57" fmla="*/ 658030 h 662520"/>
              <a:gd name="connsiteX58" fmla="*/ 551373 w 2860907"/>
              <a:gd name="connsiteY58" fmla="*/ 652783 h 662520"/>
              <a:gd name="connsiteX59" fmla="*/ 532537 w 2860907"/>
              <a:gd name="connsiteY59" fmla="*/ 646826 h 662520"/>
              <a:gd name="connsiteX60" fmla="*/ 514413 w 2860907"/>
              <a:gd name="connsiteY60" fmla="*/ 640206 h 662520"/>
              <a:gd name="connsiteX61" fmla="*/ 514413 w 2860907"/>
              <a:gd name="connsiteY61" fmla="*/ 516293 h 662520"/>
              <a:gd name="connsiteX62" fmla="*/ 596087 w 2860907"/>
              <a:gd name="connsiteY62" fmla="*/ 516293 h 662520"/>
              <a:gd name="connsiteX63" fmla="*/ 612203 w 2860907"/>
              <a:gd name="connsiteY63" fmla="*/ 539439 h 662520"/>
              <a:gd name="connsiteX64" fmla="*/ 635627 w 2860907"/>
              <a:gd name="connsiteY64" fmla="*/ 559242 h 662520"/>
              <a:gd name="connsiteX65" fmla="*/ 666972 w 2860907"/>
              <a:gd name="connsiteY65" fmla="*/ 573062 h 662520"/>
              <a:gd name="connsiteX66" fmla="*/ 706856 w 2860907"/>
              <a:gd name="connsiteY66" fmla="*/ 578256 h 662520"/>
              <a:gd name="connsiteX67" fmla="*/ 749359 w 2860907"/>
              <a:gd name="connsiteY67" fmla="*/ 571758 h 662520"/>
              <a:gd name="connsiteX68" fmla="*/ 784298 w 2860907"/>
              <a:gd name="connsiteY68" fmla="*/ 552322 h 662520"/>
              <a:gd name="connsiteX69" fmla="*/ 807972 w 2860907"/>
              <a:gd name="connsiteY69" fmla="*/ 520038 h 662520"/>
              <a:gd name="connsiteX70" fmla="*/ 816686 w 2860907"/>
              <a:gd name="connsiteY70" fmla="*/ 474992 h 662520"/>
              <a:gd name="connsiteX71" fmla="*/ 809424 w 2860907"/>
              <a:gd name="connsiteY71" fmla="*/ 430240 h 662520"/>
              <a:gd name="connsiteX72" fmla="*/ 787466 w 2860907"/>
              <a:gd name="connsiteY72" fmla="*/ 398602 h 662520"/>
              <a:gd name="connsiteX73" fmla="*/ 750549 w 2860907"/>
              <a:gd name="connsiteY73" fmla="*/ 379812 h 662520"/>
              <a:gd name="connsiteX74" fmla="*/ 698411 w 2860907"/>
              <a:gd name="connsiteY74" fmla="*/ 373608 h 662520"/>
              <a:gd name="connsiteX75" fmla="*/ 649592 w 2860907"/>
              <a:gd name="connsiteY75" fmla="*/ 373608 h 662520"/>
              <a:gd name="connsiteX76" fmla="*/ 649592 w 2860907"/>
              <a:gd name="connsiteY76" fmla="*/ 286308 h 662520"/>
              <a:gd name="connsiteX77" fmla="*/ 690892 w 2860907"/>
              <a:gd name="connsiteY77" fmla="*/ 286308 h 662520"/>
              <a:gd name="connsiteX78" fmla="*/ 744563 w 2860907"/>
              <a:gd name="connsiteY78" fmla="*/ 280133 h 662520"/>
              <a:gd name="connsiteX79" fmla="*/ 783007 w 2860907"/>
              <a:gd name="connsiteY79" fmla="*/ 261550 h 662520"/>
              <a:gd name="connsiteX80" fmla="*/ 806137 w 2860907"/>
              <a:gd name="connsiteY80" fmla="*/ 230469 h 662520"/>
              <a:gd name="connsiteX81" fmla="*/ 813866 w 2860907"/>
              <a:gd name="connsiteY81" fmla="*/ 186804 h 662520"/>
              <a:gd name="connsiteX82" fmla="*/ 808513 w 2860907"/>
              <a:gd name="connsiteY82" fmla="*/ 149115 h 662520"/>
              <a:gd name="connsiteX83" fmla="*/ 792160 w 2860907"/>
              <a:gd name="connsiteY83" fmla="*/ 121104 h 662520"/>
              <a:gd name="connsiteX84" fmla="*/ 764365 w 2860907"/>
              <a:gd name="connsiteY84" fmla="*/ 103651 h 662520"/>
              <a:gd name="connsiteX85" fmla="*/ 724687 w 2860907"/>
              <a:gd name="connsiteY85" fmla="*/ 97637 h 662520"/>
              <a:gd name="connsiteX86" fmla="*/ 687243 w 2860907"/>
              <a:gd name="connsiteY86" fmla="*/ 102374 h 662520"/>
              <a:gd name="connsiteX87" fmla="*/ 657456 w 2860907"/>
              <a:gd name="connsiteY87" fmla="*/ 115117 h 662520"/>
              <a:gd name="connsiteX88" fmla="*/ 634533 w 2860907"/>
              <a:gd name="connsiteY88" fmla="*/ 133668 h 662520"/>
              <a:gd name="connsiteX89" fmla="*/ 617677 w 2860907"/>
              <a:gd name="connsiteY89" fmla="*/ 155828 h 662520"/>
              <a:gd name="connsiteX90" fmla="*/ 539775 w 2860907"/>
              <a:gd name="connsiteY90" fmla="*/ 155828 h 662520"/>
              <a:gd name="connsiteX91" fmla="*/ 539775 w 2860907"/>
              <a:gd name="connsiteY91" fmla="*/ 33807 h 662520"/>
              <a:gd name="connsiteX92" fmla="*/ 584006 w 2860907"/>
              <a:gd name="connsiteY92" fmla="*/ 19813 h 662520"/>
              <a:gd name="connsiteX93" fmla="*/ 631056 w 2860907"/>
              <a:gd name="connsiteY93" fmla="*/ 9159 h 662520"/>
              <a:gd name="connsiteX94" fmla="*/ 681278 w 2860907"/>
              <a:gd name="connsiteY94" fmla="*/ 2378 h 662520"/>
              <a:gd name="connsiteX95" fmla="*/ 735025 w 2860907"/>
              <a:gd name="connsiteY95" fmla="*/ 0 h 662520"/>
              <a:gd name="connsiteX96" fmla="*/ 790395 w 2860907"/>
              <a:gd name="connsiteY96" fmla="*/ 3158 h 662520"/>
              <a:gd name="connsiteX97" fmla="*/ 838689 w 2860907"/>
              <a:gd name="connsiteY97" fmla="*/ 12853 h 662520"/>
              <a:gd name="connsiteX98" fmla="*/ 879380 w 2860907"/>
              <a:gd name="connsiteY98" fmla="*/ 29412 h 662520"/>
              <a:gd name="connsiteX99" fmla="*/ 911943 w 2860907"/>
              <a:gd name="connsiteY99" fmla="*/ 53163 h 662520"/>
              <a:gd name="connsiteX100" fmla="*/ 935853 w 2860907"/>
              <a:gd name="connsiteY100" fmla="*/ 84435 h 662520"/>
              <a:gd name="connsiteX101" fmla="*/ 950584 w 2860907"/>
              <a:gd name="connsiteY101" fmla="*/ 123555 h 662520"/>
              <a:gd name="connsiteX102" fmla="*/ 955611 w 2860907"/>
              <a:gd name="connsiteY102" fmla="*/ 170853 h 662520"/>
              <a:gd name="connsiteX103" fmla="*/ 949453 w 2860907"/>
              <a:gd name="connsiteY103" fmla="*/ 219568 h 662520"/>
              <a:gd name="connsiteX104" fmla="*/ 931581 w 2860907"/>
              <a:gd name="connsiteY104" fmla="*/ 258234 h 662520"/>
              <a:gd name="connsiteX105" fmla="*/ 902895 w 2860907"/>
              <a:gd name="connsiteY105" fmla="*/ 287843 h 662520"/>
              <a:gd name="connsiteX106" fmla="*/ 864296 w 2860907"/>
              <a:gd name="connsiteY106" fmla="*/ 309388 h 662520"/>
              <a:gd name="connsiteX107" fmla="*/ 816686 w 2860907"/>
              <a:gd name="connsiteY107" fmla="*/ 323862 h 662520"/>
              <a:gd name="connsiteX108" fmla="*/ 816686 w 2860907"/>
              <a:gd name="connsiteY108" fmla="*/ 327609 h 662520"/>
              <a:gd name="connsiteX109" fmla="*/ 870681 w 2860907"/>
              <a:gd name="connsiteY109" fmla="*/ 340566 h 662520"/>
              <a:gd name="connsiteX110" fmla="*/ 912283 w 2860907"/>
              <a:gd name="connsiteY110" fmla="*/ 362534 h 662520"/>
              <a:gd name="connsiteX111" fmla="*/ 941719 w 2860907"/>
              <a:gd name="connsiteY111" fmla="*/ 393513 h 662520"/>
              <a:gd name="connsiteX112" fmla="*/ 959215 w 2860907"/>
              <a:gd name="connsiteY112" fmla="*/ 433502 h 662520"/>
              <a:gd name="connsiteX113" fmla="*/ 964996 w 2860907"/>
              <a:gd name="connsiteY113" fmla="*/ 482498 h 662520"/>
              <a:gd name="connsiteX114" fmla="*/ 959936 w 2860907"/>
              <a:gd name="connsiteY114" fmla="*/ 527743 h 662520"/>
              <a:gd name="connsiteX115" fmla="*/ 944659 w 2860907"/>
              <a:gd name="connsiteY115" fmla="*/ 567021 h 662520"/>
              <a:gd name="connsiteX116" fmla="*/ 920122 w 2860907"/>
              <a:gd name="connsiteY116" fmla="*/ 600232 h 662520"/>
              <a:gd name="connsiteX117" fmla="*/ 887285 w 2860907"/>
              <a:gd name="connsiteY117" fmla="*/ 627278 h 662520"/>
              <a:gd name="connsiteX118" fmla="*/ 847106 w 2860907"/>
              <a:gd name="connsiteY118" fmla="*/ 648061 h 662520"/>
              <a:gd name="connsiteX119" fmla="*/ 800544 w 2860907"/>
              <a:gd name="connsiteY119" fmla="*/ 662482 h 662520"/>
              <a:gd name="connsiteX120" fmla="*/ 1360843 w 2860907"/>
              <a:gd name="connsiteY120" fmla="*/ 662495 h 662520"/>
              <a:gd name="connsiteX121" fmla="*/ 1322871 w 2860907"/>
              <a:gd name="connsiteY121" fmla="*/ 649352 h 662520"/>
              <a:gd name="connsiteX122" fmla="*/ 1287296 w 2860907"/>
              <a:gd name="connsiteY122" fmla="*/ 630560 h 662520"/>
              <a:gd name="connsiteX123" fmla="*/ 1254670 w 2860907"/>
              <a:gd name="connsiteY123" fmla="*/ 606062 h 662520"/>
              <a:gd name="connsiteX124" fmla="*/ 1225546 w 2860907"/>
              <a:gd name="connsiteY124" fmla="*/ 575802 h 662520"/>
              <a:gd name="connsiteX125" fmla="*/ 1200477 w 2860907"/>
              <a:gd name="connsiteY125" fmla="*/ 539722 h 662520"/>
              <a:gd name="connsiteX126" fmla="*/ 1180016 w 2860907"/>
              <a:gd name="connsiteY126" fmla="*/ 497766 h 662520"/>
              <a:gd name="connsiteX127" fmla="*/ 1164717 w 2860907"/>
              <a:gd name="connsiteY127" fmla="*/ 449876 h 662520"/>
              <a:gd name="connsiteX128" fmla="*/ 1155131 w 2860907"/>
              <a:gd name="connsiteY128" fmla="*/ 395995 h 662520"/>
              <a:gd name="connsiteX129" fmla="*/ 1151813 w 2860907"/>
              <a:gd name="connsiteY129" fmla="*/ 336067 h 662520"/>
              <a:gd name="connsiteX130" fmla="*/ 1155053 w 2860907"/>
              <a:gd name="connsiteY130" fmla="*/ 276826 h 662520"/>
              <a:gd name="connsiteX131" fmla="*/ 1164415 w 2860907"/>
              <a:gd name="connsiteY131" fmla="*/ 223488 h 662520"/>
              <a:gd name="connsiteX132" fmla="*/ 1179368 w 2860907"/>
              <a:gd name="connsiteY132" fmla="*/ 175997 h 662520"/>
              <a:gd name="connsiteX133" fmla="*/ 1199377 w 2860907"/>
              <a:gd name="connsiteY133" fmla="*/ 134299 h 662520"/>
              <a:gd name="connsiteX134" fmla="*/ 1223910 w 2860907"/>
              <a:gd name="connsiteY134" fmla="*/ 98339 h 662520"/>
              <a:gd name="connsiteX135" fmla="*/ 1252434 w 2860907"/>
              <a:gd name="connsiteY135" fmla="*/ 68062 h 662520"/>
              <a:gd name="connsiteX136" fmla="*/ 1284414 w 2860907"/>
              <a:gd name="connsiteY136" fmla="*/ 43413 h 662520"/>
              <a:gd name="connsiteX137" fmla="*/ 1319318 w 2860907"/>
              <a:gd name="connsiteY137" fmla="*/ 24337 h 662520"/>
              <a:gd name="connsiteX138" fmla="*/ 1356613 w 2860907"/>
              <a:gd name="connsiteY138" fmla="*/ 10780 h 662520"/>
              <a:gd name="connsiteX139" fmla="*/ 1395766 w 2860907"/>
              <a:gd name="connsiteY139" fmla="*/ 2685 h 662520"/>
              <a:gd name="connsiteX140" fmla="*/ 1436243 w 2860907"/>
              <a:gd name="connsiteY140" fmla="*/ 0 h 662520"/>
              <a:gd name="connsiteX141" fmla="*/ 1476722 w 2860907"/>
              <a:gd name="connsiteY141" fmla="*/ 2685 h 662520"/>
              <a:gd name="connsiteX142" fmla="*/ 1515876 w 2860907"/>
              <a:gd name="connsiteY142" fmla="*/ 10780 h 662520"/>
              <a:gd name="connsiteX143" fmla="*/ 1553172 w 2860907"/>
              <a:gd name="connsiteY143" fmla="*/ 24337 h 662520"/>
              <a:gd name="connsiteX144" fmla="*/ 1588076 w 2860907"/>
              <a:gd name="connsiteY144" fmla="*/ 43413 h 662520"/>
              <a:gd name="connsiteX145" fmla="*/ 1620056 w 2860907"/>
              <a:gd name="connsiteY145" fmla="*/ 68062 h 662520"/>
              <a:gd name="connsiteX146" fmla="*/ 1648579 w 2860907"/>
              <a:gd name="connsiteY146" fmla="*/ 98339 h 662520"/>
              <a:gd name="connsiteX147" fmla="*/ 1673111 w 2860907"/>
              <a:gd name="connsiteY147" fmla="*/ 134299 h 662520"/>
              <a:gd name="connsiteX148" fmla="*/ 1693119 w 2860907"/>
              <a:gd name="connsiteY148" fmla="*/ 175997 h 662520"/>
              <a:gd name="connsiteX149" fmla="*/ 1708071 w 2860907"/>
              <a:gd name="connsiteY149" fmla="*/ 223488 h 662520"/>
              <a:gd name="connsiteX150" fmla="*/ 1717433 w 2860907"/>
              <a:gd name="connsiteY150" fmla="*/ 276826 h 662520"/>
              <a:gd name="connsiteX151" fmla="*/ 1720672 w 2860907"/>
              <a:gd name="connsiteY151" fmla="*/ 336067 h 662520"/>
              <a:gd name="connsiteX152" fmla="*/ 1717354 w 2860907"/>
              <a:gd name="connsiteY152" fmla="*/ 395995 h 662520"/>
              <a:gd name="connsiteX153" fmla="*/ 1707768 w 2860907"/>
              <a:gd name="connsiteY153" fmla="*/ 449876 h 662520"/>
              <a:gd name="connsiteX154" fmla="*/ 1692469 w 2860907"/>
              <a:gd name="connsiteY154" fmla="*/ 497766 h 662520"/>
              <a:gd name="connsiteX155" fmla="*/ 1672008 w 2860907"/>
              <a:gd name="connsiteY155" fmla="*/ 539722 h 662520"/>
              <a:gd name="connsiteX156" fmla="*/ 1646939 w 2860907"/>
              <a:gd name="connsiteY156" fmla="*/ 575802 h 662520"/>
              <a:gd name="connsiteX157" fmla="*/ 1617815 w 2860907"/>
              <a:gd name="connsiteY157" fmla="*/ 606062 h 662520"/>
              <a:gd name="connsiteX158" fmla="*/ 1585189 w 2860907"/>
              <a:gd name="connsiteY158" fmla="*/ 630560 h 662520"/>
              <a:gd name="connsiteX159" fmla="*/ 1549614 w 2860907"/>
              <a:gd name="connsiteY159" fmla="*/ 649352 h 662520"/>
              <a:gd name="connsiteX160" fmla="*/ 1511642 w 2860907"/>
              <a:gd name="connsiteY160" fmla="*/ 662495 h 662520"/>
              <a:gd name="connsiteX161" fmla="*/ 1943430 w 2860907"/>
              <a:gd name="connsiteY161" fmla="*/ 662495 h 662520"/>
              <a:gd name="connsiteX162" fmla="*/ 1905459 w 2860907"/>
              <a:gd name="connsiteY162" fmla="*/ 649348 h 662520"/>
              <a:gd name="connsiteX163" fmla="*/ 1869885 w 2860907"/>
              <a:gd name="connsiteY163" fmla="*/ 630555 h 662520"/>
              <a:gd name="connsiteX164" fmla="*/ 1837261 w 2860907"/>
              <a:gd name="connsiteY164" fmla="*/ 606057 h 662520"/>
              <a:gd name="connsiteX165" fmla="*/ 1808138 w 2860907"/>
              <a:gd name="connsiteY165" fmla="*/ 575797 h 662520"/>
              <a:gd name="connsiteX166" fmla="*/ 1783072 w 2860907"/>
              <a:gd name="connsiteY166" fmla="*/ 539718 h 662520"/>
              <a:gd name="connsiteX167" fmla="*/ 1762613 w 2860907"/>
              <a:gd name="connsiteY167" fmla="*/ 497763 h 662520"/>
              <a:gd name="connsiteX168" fmla="*/ 1747315 w 2860907"/>
              <a:gd name="connsiteY168" fmla="*/ 449874 h 662520"/>
              <a:gd name="connsiteX169" fmla="*/ 1737731 w 2860907"/>
              <a:gd name="connsiteY169" fmla="*/ 395995 h 662520"/>
              <a:gd name="connsiteX170" fmla="*/ 1734413 w 2860907"/>
              <a:gd name="connsiteY170" fmla="*/ 336067 h 662520"/>
              <a:gd name="connsiteX171" fmla="*/ 1737652 w 2860907"/>
              <a:gd name="connsiteY171" fmla="*/ 276826 h 662520"/>
              <a:gd name="connsiteX172" fmla="*/ 1747014 w 2860907"/>
              <a:gd name="connsiteY172" fmla="*/ 223488 h 662520"/>
              <a:gd name="connsiteX173" fmla="*/ 1761965 w 2860907"/>
              <a:gd name="connsiteY173" fmla="*/ 175997 h 662520"/>
              <a:gd name="connsiteX174" fmla="*/ 1781973 w 2860907"/>
              <a:gd name="connsiteY174" fmla="*/ 134299 h 662520"/>
              <a:gd name="connsiteX175" fmla="*/ 1806505 w 2860907"/>
              <a:gd name="connsiteY175" fmla="*/ 98339 h 662520"/>
              <a:gd name="connsiteX176" fmla="*/ 1835026 w 2860907"/>
              <a:gd name="connsiteY176" fmla="*/ 68062 h 662520"/>
              <a:gd name="connsiteX177" fmla="*/ 1867005 w 2860907"/>
              <a:gd name="connsiteY177" fmla="*/ 43413 h 662520"/>
              <a:gd name="connsiteX178" fmla="*/ 1901908 w 2860907"/>
              <a:gd name="connsiteY178" fmla="*/ 24337 h 662520"/>
              <a:gd name="connsiteX179" fmla="*/ 1939202 w 2860907"/>
              <a:gd name="connsiteY179" fmla="*/ 10780 h 662520"/>
              <a:gd name="connsiteX180" fmla="*/ 1978353 w 2860907"/>
              <a:gd name="connsiteY180" fmla="*/ 2685 h 662520"/>
              <a:gd name="connsiteX181" fmla="*/ 2018830 w 2860907"/>
              <a:gd name="connsiteY181" fmla="*/ 0 h 662520"/>
              <a:gd name="connsiteX182" fmla="*/ 2059309 w 2860907"/>
              <a:gd name="connsiteY182" fmla="*/ 2685 h 662520"/>
              <a:gd name="connsiteX183" fmla="*/ 2098463 w 2860907"/>
              <a:gd name="connsiteY183" fmla="*/ 10780 h 662520"/>
              <a:gd name="connsiteX184" fmla="*/ 2135759 w 2860907"/>
              <a:gd name="connsiteY184" fmla="*/ 24337 h 662520"/>
              <a:gd name="connsiteX185" fmla="*/ 2170664 w 2860907"/>
              <a:gd name="connsiteY185" fmla="*/ 43413 h 662520"/>
              <a:gd name="connsiteX186" fmla="*/ 2202644 w 2860907"/>
              <a:gd name="connsiteY186" fmla="*/ 68062 h 662520"/>
              <a:gd name="connsiteX187" fmla="*/ 2231166 w 2860907"/>
              <a:gd name="connsiteY187" fmla="*/ 98339 h 662520"/>
              <a:gd name="connsiteX188" fmla="*/ 2255698 w 2860907"/>
              <a:gd name="connsiteY188" fmla="*/ 134299 h 662520"/>
              <a:gd name="connsiteX189" fmla="*/ 2275706 w 2860907"/>
              <a:gd name="connsiteY189" fmla="*/ 175997 h 662520"/>
              <a:gd name="connsiteX190" fmla="*/ 2290658 w 2860907"/>
              <a:gd name="connsiteY190" fmla="*/ 223488 h 662520"/>
              <a:gd name="connsiteX191" fmla="*/ 2300020 w 2860907"/>
              <a:gd name="connsiteY191" fmla="*/ 276826 h 662520"/>
              <a:gd name="connsiteX192" fmla="*/ 2303259 w 2860907"/>
              <a:gd name="connsiteY192" fmla="*/ 336067 h 662520"/>
              <a:gd name="connsiteX193" fmla="*/ 2299941 w 2860907"/>
              <a:gd name="connsiteY193" fmla="*/ 395991 h 662520"/>
              <a:gd name="connsiteX194" fmla="*/ 2290357 w 2860907"/>
              <a:gd name="connsiteY194" fmla="*/ 449869 h 662520"/>
              <a:gd name="connsiteX195" fmla="*/ 2275059 w 2860907"/>
              <a:gd name="connsiteY195" fmla="*/ 497757 h 662520"/>
              <a:gd name="connsiteX196" fmla="*/ 2254600 w 2860907"/>
              <a:gd name="connsiteY196" fmla="*/ 539713 h 662520"/>
              <a:gd name="connsiteX197" fmla="*/ 2229533 w 2860907"/>
              <a:gd name="connsiteY197" fmla="*/ 575793 h 662520"/>
              <a:gd name="connsiteX198" fmla="*/ 2200411 w 2860907"/>
              <a:gd name="connsiteY198" fmla="*/ 606054 h 662520"/>
              <a:gd name="connsiteX199" fmla="*/ 2167787 w 2860907"/>
              <a:gd name="connsiteY199" fmla="*/ 630553 h 662520"/>
              <a:gd name="connsiteX200" fmla="*/ 2132213 w 2860907"/>
              <a:gd name="connsiteY200" fmla="*/ 649348 h 662520"/>
              <a:gd name="connsiteX201" fmla="*/ 2094242 w 2860907"/>
              <a:gd name="connsiteY201" fmla="*/ 662495 h 662520"/>
              <a:gd name="connsiteX202" fmla="*/ 2528582 w 2860907"/>
              <a:gd name="connsiteY202" fmla="*/ 662482 h 662520"/>
              <a:gd name="connsiteX203" fmla="*/ 2490620 w 2860907"/>
              <a:gd name="connsiteY203" fmla="*/ 649332 h 662520"/>
              <a:gd name="connsiteX204" fmla="*/ 2455053 w 2860907"/>
              <a:gd name="connsiteY204" fmla="*/ 630534 h 662520"/>
              <a:gd name="connsiteX205" fmla="*/ 2422435 w 2860907"/>
              <a:gd name="connsiteY205" fmla="*/ 606033 h 662520"/>
              <a:gd name="connsiteX206" fmla="*/ 2393318 w 2860907"/>
              <a:gd name="connsiteY206" fmla="*/ 575772 h 662520"/>
              <a:gd name="connsiteX207" fmla="*/ 2368257 w 2860907"/>
              <a:gd name="connsiteY207" fmla="*/ 539693 h 662520"/>
              <a:gd name="connsiteX208" fmla="*/ 2347803 w 2860907"/>
              <a:gd name="connsiteY208" fmla="*/ 497740 h 662520"/>
              <a:gd name="connsiteX209" fmla="*/ 2332510 w 2860907"/>
              <a:gd name="connsiteY209" fmla="*/ 449856 h 662520"/>
              <a:gd name="connsiteX210" fmla="*/ 2322930 w 2860907"/>
              <a:gd name="connsiteY210" fmla="*/ 395984 h 662520"/>
              <a:gd name="connsiteX211" fmla="*/ 2319616 w 2860907"/>
              <a:gd name="connsiteY211" fmla="*/ 336067 h 662520"/>
              <a:gd name="connsiteX212" fmla="*/ 2322855 w 2860907"/>
              <a:gd name="connsiteY212" fmla="*/ 276826 h 662520"/>
              <a:gd name="connsiteX213" fmla="*/ 2332217 w 2860907"/>
              <a:gd name="connsiteY213" fmla="*/ 223488 h 662520"/>
              <a:gd name="connsiteX214" fmla="*/ 2347169 w 2860907"/>
              <a:gd name="connsiteY214" fmla="*/ 175997 h 662520"/>
              <a:gd name="connsiteX215" fmla="*/ 2367177 w 2860907"/>
              <a:gd name="connsiteY215" fmla="*/ 134299 h 662520"/>
              <a:gd name="connsiteX216" fmla="*/ 2391708 w 2860907"/>
              <a:gd name="connsiteY216" fmla="*/ 98339 h 662520"/>
              <a:gd name="connsiteX217" fmla="*/ 2420230 w 2860907"/>
              <a:gd name="connsiteY217" fmla="*/ 68062 h 662520"/>
              <a:gd name="connsiteX218" fmla="*/ 2452208 w 2860907"/>
              <a:gd name="connsiteY218" fmla="*/ 43413 h 662520"/>
              <a:gd name="connsiteX219" fmla="*/ 2487111 w 2860907"/>
              <a:gd name="connsiteY219" fmla="*/ 24337 h 662520"/>
              <a:gd name="connsiteX220" fmla="*/ 2524405 w 2860907"/>
              <a:gd name="connsiteY220" fmla="*/ 10780 h 662520"/>
              <a:gd name="connsiteX221" fmla="*/ 2563557 w 2860907"/>
              <a:gd name="connsiteY221" fmla="*/ 2685 h 662520"/>
              <a:gd name="connsiteX222" fmla="*/ 2604033 w 2860907"/>
              <a:gd name="connsiteY222" fmla="*/ 0 h 662520"/>
              <a:gd name="connsiteX223" fmla="*/ 2644510 w 2860907"/>
              <a:gd name="connsiteY223" fmla="*/ 2685 h 662520"/>
              <a:gd name="connsiteX224" fmla="*/ 2683662 w 2860907"/>
              <a:gd name="connsiteY224" fmla="*/ 10780 h 662520"/>
              <a:gd name="connsiteX225" fmla="*/ 2720957 w 2860907"/>
              <a:gd name="connsiteY225" fmla="*/ 24337 h 662520"/>
              <a:gd name="connsiteX226" fmla="*/ 2755861 w 2860907"/>
              <a:gd name="connsiteY226" fmla="*/ 43413 h 662520"/>
              <a:gd name="connsiteX227" fmla="*/ 2787842 w 2860907"/>
              <a:gd name="connsiteY227" fmla="*/ 68062 h 662520"/>
              <a:gd name="connsiteX228" fmla="*/ 2816365 w 2860907"/>
              <a:gd name="connsiteY228" fmla="*/ 98339 h 662520"/>
              <a:gd name="connsiteX229" fmla="*/ 2840898 w 2860907"/>
              <a:gd name="connsiteY229" fmla="*/ 134299 h 662520"/>
              <a:gd name="connsiteX230" fmla="*/ 2860907 w 2860907"/>
              <a:gd name="connsiteY230" fmla="*/ 175997 h 662520"/>
              <a:gd name="connsiteX0" fmla="*/ 74231 w 2840898"/>
              <a:gd name="connsiteY0" fmla="*/ 662482 h 662520"/>
              <a:gd name="connsiteX1" fmla="*/ 60344 w 2840898"/>
              <a:gd name="connsiteY1" fmla="*/ 659582 h 662520"/>
              <a:gd name="connsiteX2" fmla="*/ 47517 w 2840898"/>
              <a:gd name="connsiteY2" fmla="*/ 656437 h 662520"/>
              <a:gd name="connsiteX3" fmla="*/ 35823 w 2840898"/>
              <a:gd name="connsiteY3" fmla="*/ 653092 h 662520"/>
              <a:gd name="connsiteX4" fmla="*/ 25336 w 2840898"/>
              <a:gd name="connsiteY4" fmla="*/ 649592 h 662520"/>
              <a:gd name="connsiteX5" fmla="*/ 25336 w 2840898"/>
              <a:gd name="connsiteY5" fmla="*/ 533196 h 662520"/>
              <a:gd name="connsiteX6" fmla="*/ 104190 w 2840898"/>
              <a:gd name="connsiteY6" fmla="*/ 533196 h 662520"/>
              <a:gd name="connsiteX7" fmla="*/ 116931 w 2840898"/>
              <a:gd name="connsiteY7" fmla="*/ 550133 h 662520"/>
              <a:gd name="connsiteX8" fmla="*/ 135043 w 2840898"/>
              <a:gd name="connsiteY8" fmla="*/ 564522 h 662520"/>
              <a:gd name="connsiteX9" fmla="*/ 160020 w 2840898"/>
              <a:gd name="connsiteY9" fmla="*/ 574514 h 662520"/>
              <a:gd name="connsiteX10" fmla="*/ 193357 w 2840898"/>
              <a:gd name="connsiteY10" fmla="*/ 578256 h 662520"/>
              <a:gd name="connsiteX11" fmla="*/ 233829 w 2840898"/>
              <a:gd name="connsiteY11" fmla="*/ 573672 h 662520"/>
              <a:gd name="connsiteX12" fmla="*/ 297105 w 2840898"/>
              <a:gd name="connsiteY12" fmla="*/ 537246 h 662520"/>
              <a:gd name="connsiteX13" fmla="*/ 320040 w 2840898"/>
              <a:gd name="connsiteY13" fmla="*/ 505568 h 662520"/>
              <a:gd name="connsiteX14" fmla="*/ 337261 w 2840898"/>
              <a:gd name="connsiteY14" fmla="*/ 465022 h 662520"/>
              <a:gd name="connsiteX15" fmla="*/ 348834 w 2840898"/>
              <a:gd name="connsiteY15" fmla="*/ 415691 h 662520"/>
              <a:gd name="connsiteX16" fmla="*/ 354825 w 2840898"/>
              <a:gd name="connsiteY16" fmla="*/ 357657 h 662520"/>
              <a:gd name="connsiteX17" fmla="*/ 325357 w 2840898"/>
              <a:gd name="connsiteY17" fmla="*/ 385098 h 662520"/>
              <a:gd name="connsiteX18" fmla="*/ 289466 w 2840898"/>
              <a:gd name="connsiteY18" fmla="*/ 406117 h 662520"/>
              <a:gd name="connsiteX19" fmla="*/ 247767 w 2840898"/>
              <a:gd name="connsiteY19" fmla="*/ 419568 h 662520"/>
              <a:gd name="connsiteX20" fmla="*/ 200875 w 2840898"/>
              <a:gd name="connsiteY20" fmla="*/ 424306 h 662520"/>
              <a:gd name="connsiteX21" fmla="*/ 153099 w 2840898"/>
              <a:gd name="connsiteY21" fmla="*/ 420031 h 662520"/>
              <a:gd name="connsiteX22" fmla="*/ 110150 w 2840898"/>
              <a:gd name="connsiteY22" fmla="*/ 407348 h 662520"/>
              <a:gd name="connsiteX23" fmla="*/ 72948 w 2840898"/>
              <a:gd name="connsiteY23" fmla="*/ 386472 h 662520"/>
              <a:gd name="connsiteX24" fmla="*/ 42412 w 2840898"/>
              <a:gd name="connsiteY24" fmla="*/ 357614 h 662520"/>
              <a:gd name="connsiteX25" fmla="*/ 19463 w 2840898"/>
              <a:gd name="connsiteY25" fmla="*/ 320990 h 662520"/>
              <a:gd name="connsiteX26" fmla="*/ 5019 w 2840898"/>
              <a:gd name="connsiteY26" fmla="*/ 276814 h 662520"/>
              <a:gd name="connsiteX27" fmla="*/ 0 w 2840898"/>
              <a:gd name="connsiteY27" fmla="*/ 225297 h 662520"/>
              <a:gd name="connsiteX28" fmla="*/ 4447 w 2840898"/>
              <a:gd name="connsiteY28" fmla="*/ 178425 h 662520"/>
              <a:gd name="connsiteX29" fmla="*/ 17453 w 2840898"/>
              <a:gd name="connsiteY29" fmla="*/ 135445 h 662520"/>
              <a:gd name="connsiteX30" fmla="*/ 38511 w 2840898"/>
              <a:gd name="connsiteY30" fmla="*/ 97085 h 662520"/>
              <a:gd name="connsiteX31" fmla="*/ 67116 w 2840898"/>
              <a:gd name="connsiteY31" fmla="*/ 64071 h 662520"/>
              <a:gd name="connsiteX32" fmla="*/ 102760 w 2840898"/>
              <a:gd name="connsiteY32" fmla="*/ 37129 h 662520"/>
              <a:gd name="connsiteX33" fmla="*/ 144939 w 2840898"/>
              <a:gd name="connsiteY33" fmla="*/ 16986 h 662520"/>
              <a:gd name="connsiteX34" fmla="*/ 193146 w 2840898"/>
              <a:gd name="connsiteY34" fmla="*/ 4367 h 662520"/>
              <a:gd name="connsiteX35" fmla="*/ 246875 w 2840898"/>
              <a:gd name="connsiteY35" fmla="*/ 0 h 662520"/>
              <a:gd name="connsiteX36" fmla="*/ 290625 w 2840898"/>
              <a:gd name="connsiteY36" fmla="*/ 2882 h 662520"/>
              <a:gd name="connsiteX37" fmla="*/ 331492 w 2840898"/>
              <a:gd name="connsiteY37" fmla="*/ 11678 h 662520"/>
              <a:gd name="connsiteX38" fmla="*/ 369070 w 2840898"/>
              <a:gd name="connsiteY38" fmla="*/ 26614 h 662520"/>
              <a:gd name="connsiteX39" fmla="*/ 402953 w 2840898"/>
              <a:gd name="connsiteY39" fmla="*/ 47914 h 662520"/>
              <a:gd name="connsiteX40" fmla="*/ 432736 w 2840898"/>
              <a:gd name="connsiteY40" fmla="*/ 75804 h 662520"/>
              <a:gd name="connsiteX41" fmla="*/ 458013 w 2840898"/>
              <a:gd name="connsiteY41" fmla="*/ 110509 h 662520"/>
              <a:gd name="connsiteX42" fmla="*/ 478379 w 2840898"/>
              <a:gd name="connsiteY42" fmla="*/ 152255 h 662520"/>
              <a:gd name="connsiteX43" fmla="*/ 493429 w 2840898"/>
              <a:gd name="connsiteY43" fmla="*/ 201265 h 662520"/>
              <a:gd name="connsiteX44" fmla="*/ 502756 w 2840898"/>
              <a:gd name="connsiteY44" fmla="*/ 257766 h 662520"/>
              <a:gd name="connsiteX45" fmla="*/ 505955 w 2840898"/>
              <a:gd name="connsiteY45" fmla="*/ 321983 h 662520"/>
              <a:gd name="connsiteX46" fmla="*/ 503406 w 2840898"/>
              <a:gd name="connsiteY46" fmla="*/ 376707 h 662520"/>
              <a:gd name="connsiteX47" fmla="*/ 495858 w 2840898"/>
              <a:gd name="connsiteY47" fmla="*/ 427041 h 662520"/>
              <a:gd name="connsiteX48" fmla="*/ 483456 w 2840898"/>
              <a:gd name="connsiteY48" fmla="*/ 472909 h 662520"/>
              <a:gd name="connsiteX49" fmla="*/ 466346 w 2840898"/>
              <a:gd name="connsiteY49" fmla="*/ 514232 h 662520"/>
              <a:gd name="connsiteX50" fmla="*/ 444674 w 2840898"/>
              <a:gd name="connsiteY50" fmla="*/ 550937 h 662520"/>
              <a:gd name="connsiteX51" fmla="*/ 418587 w 2840898"/>
              <a:gd name="connsiteY51" fmla="*/ 582945 h 662520"/>
              <a:gd name="connsiteX52" fmla="*/ 388229 w 2840898"/>
              <a:gd name="connsiteY52" fmla="*/ 610181 h 662520"/>
              <a:gd name="connsiteX53" fmla="*/ 353748 w 2840898"/>
              <a:gd name="connsiteY53" fmla="*/ 632569 h 662520"/>
              <a:gd name="connsiteX54" fmla="*/ 315289 w 2840898"/>
              <a:gd name="connsiteY54" fmla="*/ 650033 h 662520"/>
              <a:gd name="connsiteX55" fmla="*/ 272999 w 2840898"/>
              <a:gd name="connsiteY55" fmla="*/ 662495 h 662520"/>
              <a:gd name="connsiteX56" fmla="*/ 592162 w 2840898"/>
              <a:gd name="connsiteY56" fmla="*/ 662520 h 662520"/>
              <a:gd name="connsiteX57" fmla="*/ 571167 w 2840898"/>
              <a:gd name="connsiteY57" fmla="*/ 658030 h 662520"/>
              <a:gd name="connsiteX58" fmla="*/ 551373 w 2840898"/>
              <a:gd name="connsiteY58" fmla="*/ 652783 h 662520"/>
              <a:gd name="connsiteX59" fmla="*/ 532537 w 2840898"/>
              <a:gd name="connsiteY59" fmla="*/ 646826 h 662520"/>
              <a:gd name="connsiteX60" fmla="*/ 514413 w 2840898"/>
              <a:gd name="connsiteY60" fmla="*/ 640206 h 662520"/>
              <a:gd name="connsiteX61" fmla="*/ 514413 w 2840898"/>
              <a:gd name="connsiteY61" fmla="*/ 516293 h 662520"/>
              <a:gd name="connsiteX62" fmla="*/ 596087 w 2840898"/>
              <a:gd name="connsiteY62" fmla="*/ 516293 h 662520"/>
              <a:gd name="connsiteX63" fmla="*/ 612203 w 2840898"/>
              <a:gd name="connsiteY63" fmla="*/ 539439 h 662520"/>
              <a:gd name="connsiteX64" fmla="*/ 635627 w 2840898"/>
              <a:gd name="connsiteY64" fmla="*/ 559242 h 662520"/>
              <a:gd name="connsiteX65" fmla="*/ 666972 w 2840898"/>
              <a:gd name="connsiteY65" fmla="*/ 573062 h 662520"/>
              <a:gd name="connsiteX66" fmla="*/ 706856 w 2840898"/>
              <a:gd name="connsiteY66" fmla="*/ 578256 h 662520"/>
              <a:gd name="connsiteX67" fmla="*/ 749359 w 2840898"/>
              <a:gd name="connsiteY67" fmla="*/ 571758 h 662520"/>
              <a:gd name="connsiteX68" fmla="*/ 784298 w 2840898"/>
              <a:gd name="connsiteY68" fmla="*/ 552322 h 662520"/>
              <a:gd name="connsiteX69" fmla="*/ 807972 w 2840898"/>
              <a:gd name="connsiteY69" fmla="*/ 520038 h 662520"/>
              <a:gd name="connsiteX70" fmla="*/ 816686 w 2840898"/>
              <a:gd name="connsiteY70" fmla="*/ 474992 h 662520"/>
              <a:gd name="connsiteX71" fmla="*/ 809424 w 2840898"/>
              <a:gd name="connsiteY71" fmla="*/ 430240 h 662520"/>
              <a:gd name="connsiteX72" fmla="*/ 787466 w 2840898"/>
              <a:gd name="connsiteY72" fmla="*/ 398602 h 662520"/>
              <a:gd name="connsiteX73" fmla="*/ 750549 w 2840898"/>
              <a:gd name="connsiteY73" fmla="*/ 379812 h 662520"/>
              <a:gd name="connsiteX74" fmla="*/ 698411 w 2840898"/>
              <a:gd name="connsiteY74" fmla="*/ 373608 h 662520"/>
              <a:gd name="connsiteX75" fmla="*/ 649592 w 2840898"/>
              <a:gd name="connsiteY75" fmla="*/ 373608 h 662520"/>
              <a:gd name="connsiteX76" fmla="*/ 649592 w 2840898"/>
              <a:gd name="connsiteY76" fmla="*/ 286308 h 662520"/>
              <a:gd name="connsiteX77" fmla="*/ 690892 w 2840898"/>
              <a:gd name="connsiteY77" fmla="*/ 286308 h 662520"/>
              <a:gd name="connsiteX78" fmla="*/ 744563 w 2840898"/>
              <a:gd name="connsiteY78" fmla="*/ 280133 h 662520"/>
              <a:gd name="connsiteX79" fmla="*/ 783007 w 2840898"/>
              <a:gd name="connsiteY79" fmla="*/ 261550 h 662520"/>
              <a:gd name="connsiteX80" fmla="*/ 806137 w 2840898"/>
              <a:gd name="connsiteY80" fmla="*/ 230469 h 662520"/>
              <a:gd name="connsiteX81" fmla="*/ 813866 w 2840898"/>
              <a:gd name="connsiteY81" fmla="*/ 186804 h 662520"/>
              <a:gd name="connsiteX82" fmla="*/ 808513 w 2840898"/>
              <a:gd name="connsiteY82" fmla="*/ 149115 h 662520"/>
              <a:gd name="connsiteX83" fmla="*/ 792160 w 2840898"/>
              <a:gd name="connsiteY83" fmla="*/ 121104 h 662520"/>
              <a:gd name="connsiteX84" fmla="*/ 764365 w 2840898"/>
              <a:gd name="connsiteY84" fmla="*/ 103651 h 662520"/>
              <a:gd name="connsiteX85" fmla="*/ 724687 w 2840898"/>
              <a:gd name="connsiteY85" fmla="*/ 97637 h 662520"/>
              <a:gd name="connsiteX86" fmla="*/ 687243 w 2840898"/>
              <a:gd name="connsiteY86" fmla="*/ 102374 h 662520"/>
              <a:gd name="connsiteX87" fmla="*/ 657456 w 2840898"/>
              <a:gd name="connsiteY87" fmla="*/ 115117 h 662520"/>
              <a:gd name="connsiteX88" fmla="*/ 634533 w 2840898"/>
              <a:gd name="connsiteY88" fmla="*/ 133668 h 662520"/>
              <a:gd name="connsiteX89" fmla="*/ 617677 w 2840898"/>
              <a:gd name="connsiteY89" fmla="*/ 155828 h 662520"/>
              <a:gd name="connsiteX90" fmla="*/ 539775 w 2840898"/>
              <a:gd name="connsiteY90" fmla="*/ 155828 h 662520"/>
              <a:gd name="connsiteX91" fmla="*/ 539775 w 2840898"/>
              <a:gd name="connsiteY91" fmla="*/ 33807 h 662520"/>
              <a:gd name="connsiteX92" fmla="*/ 584006 w 2840898"/>
              <a:gd name="connsiteY92" fmla="*/ 19813 h 662520"/>
              <a:gd name="connsiteX93" fmla="*/ 631056 w 2840898"/>
              <a:gd name="connsiteY93" fmla="*/ 9159 h 662520"/>
              <a:gd name="connsiteX94" fmla="*/ 681278 w 2840898"/>
              <a:gd name="connsiteY94" fmla="*/ 2378 h 662520"/>
              <a:gd name="connsiteX95" fmla="*/ 735025 w 2840898"/>
              <a:gd name="connsiteY95" fmla="*/ 0 h 662520"/>
              <a:gd name="connsiteX96" fmla="*/ 790395 w 2840898"/>
              <a:gd name="connsiteY96" fmla="*/ 3158 h 662520"/>
              <a:gd name="connsiteX97" fmla="*/ 838689 w 2840898"/>
              <a:gd name="connsiteY97" fmla="*/ 12853 h 662520"/>
              <a:gd name="connsiteX98" fmla="*/ 879380 w 2840898"/>
              <a:gd name="connsiteY98" fmla="*/ 29412 h 662520"/>
              <a:gd name="connsiteX99" fmla="*/ 911943 w 2840898"/>
              <a:gd name="connsiteY99" fmla="*/ 53163 h 662520"/>
              <a:gd name="connsiteX100" fmla="*/ 935853 w 2840898"/>
              <a:gd name="connsiteY100" fmla="*/ 84435 h 662520"/>
              <a:gd name="connsiteX101" fmla="*/ 950584 w 2840898"/>
              <a:gd name="connsiteY101" fmla="*/ 123555 h 662520"/>
              <a:gd name="connsiteX102" fmla="*/ 955611 w 2840898"/>
              <a:gd name="connsiteY102" fmla="*/ 170853 h 662520"/>
              <a:gd name="connsiteX103" fmla="*/ 949453 w 2840898"/>
              <a:gd name="connsiteY103" fmla="*/ 219568 h 662520"/>
              <a:gd name="connsiteX104" fmla="*/ 931581 w 2840898"/>
              <a:gd name="connsiteY104" fmla="*/ 258234 h 662520"/>
              <a:gd name="connsiteX105" fmla="*/ 902895 w 2840898"/>
              <a:gd name="connsiteY105" fmla="*/ 287843 h 662520"/>
              <a:gd name="connsiteX106" fmla="*/ 864296 w 2840898"/>
              <a:gd name="connsiteY106" fmla="*/ 309388 h 662520"/>
              <a:gd name="connsiteX107" fmla="*/ 816686 w 2840898"/>
              <a:gd name="connsiteY107" fmla="*/ 323862 h 662520"/>
              <a:gd name="connsiteX108" fmla="*/ 816686 w 2840898"/>
              <a:gd name="connsiteY108" fmla="*/ 327609 h 662520"/>
              <a:gd name="connsiteX109" fmla="*/ 870681 w 2840898"/>
              <a:gd name="connsiteY109" fmla="*/ 340566 h 662520"/>
              <a:gd name="connsiteX110" fmla="*/ 912283 w 2840898"/>
              <a:gd name="connsiteY110" fmla="*/ 362534 h 662520"/>
              <a:gd name="connsiteX111" fmla="*/ 941719 w 2840898"/>
              <a:gd name="connsiteY111" fmla="*/ 393513 h 662520"/>
              <a:gd name="connsiteX112" fmla="*/ 959215 w 2840898"/>
              <a:gd name="connsiteY112" fmla="*/ 433502 h 662520"/>
              <a:gd name="connsiteX113" fmla="*/ 964996 w 2840898"/>
              <a:gd name="connsiteY113" fmla="*/ 482498 h 662520"/>
              <a:gd name="connsiteX114" fmla="*/ 959936 w 2840898"/>
              <a:gd name="connsiteY114" fmla="*/ 527743 h 662520"/>
              <a:gd name="connsiteX115" fmla="*/ 944659 w 2840898"/>
              <a:gd name="connsiteY115" fmla="*/ 567021 h 662520"/>
              <a:gd name="connsiteX116" fmla="*/ 920122 w 2840898"/>
              <a:gd name="connsiteY116" fmla="*/ 600232 h 662520"/>
              <a:gd name="connsiteX117" fmla="*/ 887285 w 2840898"/>
              <a:gd name="connsiteY117" fmla="*/ 627278 h 662520"/>
              <a:gd name="connsiteX118" fmla="*/ 847106 w 2840898"/>
              <a:gd name="connsiteY118" fmla="*/ 648061 h 662520"/>
              <a:gd name="connsiteX119" fmla="*/ 800544 w 2840898"/>
              <a:gd name="connsiteY119" fmla="*/ 662482 h 662520"/>
              <a:gd name="connsiteX120" fmla="*/ 1360843 w 2840898"/>
              <a:gd name="connsiteY120" fmla="*/ 662495 h 662520"/>
              <a:gd name="connsiteX121" fmla="*/ 1322871 w 2840898"/>
              <a:gd name="connsiteY121" fmla="*/ 649352 h 662520"/>
              <a:gd name="connsiteX122" fmla="*/ 1287296 w 2840898"/>
              <a:gd name="connsiteY122" fmla="*/ 630560 h 662520"/>
              <a:gd name="connsiteX123" fmla="*/ 1254670 w 2840898"/>
              <a:gd name="connsiteY123" fmla="*/ 606062 h 662520"/>
              <a:gd name="connsiteX124" fmla="*/ 1225546 w 2840898"/>
              <a:gd name="connsiteY124" fmla="*/ 575802 h 662520"/>
              <a:gd name="connsiteX125" fmla="*/ 1200477 w 2840898"/>
              <a:gd name="connsiteY125" fmla="*/ 539722 h 662520"/>
              <a:gd name="connsiteX126" fmla="*/ 1180016 w 2840898"/>
              <a:gd name="connsiteY126" fmla="*/ 497766 h 662520"/>
              <a:gd name="connsiteX127" fmla="*/ 1164717 w 2840898"/>
              <a:gd name="connsiteY127" fmla="*/ 449876 h 662520"/>
              <a:gd name="connsiteX128" fmla="*/ 1155131 w 2840898"/>
              <a:gd name="connsiteY128" fmla="*/ 395995 h 662520"/>
              <a:gd name="connsiteX129" fmla="*/ 1151813 w 2840898"/>
              <a:gd name="connsiteY129" fmla="*/ 336067 h 662520"/>
              <a:gd name="connsiteX130" fmla="*/ 1155053 w 2840898"/>
              <a:gd name="connsiteY130" fmla="*/ 276826 h 662520"/>
              <a:gd name="connsiteX131" fmla="*/ 1164415 w 2840898"/>
              <a:gd name="connsiteY131" fmla="*/ 223488 h 662520"/>
              <a:gd name="connsiteX132" fmla="*/ 1179368 w 2840898"/>
              <a:gd name="connsiteY132" fmla="*/ 175997 h 662520"/>
              <a:gd name="connsiteX133" fmla="*/ 1199377 w 2840898"/>
              <a:gd name="connsiteY133" fmla="*/ 134299 h 662520"/>
              <a:gd name="connsiteX134" fmla="*/ 1223910 w 2840898"/>
              <a:gd name="connsiteY134" fmla="*/ 98339 h 662520"/>
              <a:gd name="connsiteX135" fmla="*/ 1252434 w 2840898"/>
              <a:gd name="connsiteY135" fmla="*/ 68062 h 662520"/>
              <a:gd name="connsiteX136" fmla="*/ 1284414 w 2840898"/>
              <a:gd name="connsiteY136" fmla="*/ 43413 h 662520"/>
              <a:gd name="connsiteX137" fmla="*/ 1319318 w 2840898"/>
              <a:gd name="connsiteY137" fmla="*/ 24337 h 662520"/>
              <a:gd name="connsiteX138" fmla="*/ 1356613 w 2840898"/>
              <a:gd name="connsiteY138" fmla="*/ 10780 h 662520"/>
              <a:gd name="connsiteX139" fmla="*/ 1395766 w 2840898"/>
              <a:gd name="connsiteY139" fmla="*/ 2685 h 662520"/>
              <a:gd name="connsiteX140" fmla="*/ 1436243 w 2840898"/>
              <a:gd name="connsiteY140" fmla="*/ 0 h 662520"/>
              <a:gd name="connsiteX141" fmla="*/ 1476722 w 2840898"/>
              <a:gd name="connsiteY141" fmla="*/ 2685 h 662520"/>
              <a:gd name="connsiteX142" fmla="*/ 1515876 w 2840898"/>
              <a:gd name="connsiteY142" fmla="*/ 10780 h 662520"/>
              <a:gd name="connsiteX143" fmla="*/ 1553172 w 2840898"/>
              <a:gd name="connsiteY143" fmla="*/ 24337 h 662520"/>
              <a:gd name="connsiteX144" fmla="*/ 1588076 w 2840898"/>
              <a:gd name="connsiteY144" fmla="*/ 43413 h 662520"/>
              <a:gd name="connsiteX145" fmla="*/ 1620056 w 2840898"/>
              <a:gd name="connsiteY145" fmla="*/ 68062 h 662520"/>
              <a:gd name="connsiteX146" fmla="*/ 1648579 w 2840898"/>
              <a:gd name="connsiteY146" fmla="*/ 98339 h 662520"/>
              <a:gd name="connsiteX147" fmla="*/ 1673111 w 2840898"/>
              <a:gd name="connsiteY147" fmla="*/ 134299 h 662520"/>
              <a:gd name="connsiteX148" fmla="*/ 1693119 w 2840898"/>
              <a:gd name="connsiteY148" fmla="*/ 175997 h 662520"/>
              <a:gd name="connsiteX149" fmla="*/ 1708071 w 2840898"/>
              <a:gd name="connsiteY149" fmla="*/ 223488 h 662520"/>
              <a:gd name="connsiteX150" fmla="*/ 1717433 w 2840898"/>
              <a:gd name="connsiteY150" fmla="*/ 276826 h 662520"/>
              <a:gd name="connsiteX151" fmla="*/ 1720672 w 2840898"/>
              <a:gd name="connsiteY151" fmla="*/ 336067 h 662520"/>
              <a:gd name="connsiteX152" fmla="*/ 1717354 w 2840898"/>
              <a:gd name="connsiteY152" fmla="*/ 395995 h 662520"/>
              <a:gd name="connsiteX153" fmla="*/ 1707768 w 2840898"/>
              <a:gd name="connsiteY153" fmla="*/ 449876 h 662520"/>
              <a:gd name="connsiteX154" fmla="*/ 1692469 w 2840898"/>
              <a:gd name="connsiteY154" fmla="*/ 497766 h 662520"/>
              <a:gd name="connsiteX155" fmla="*/ 1672008 w 2840898"/>
              <a:gd name="connsiteY155" fmla="*/ 539722 h 662520"/>
              <a:gd name="connsiteX156" fmla="*/ 1646939 w 2840898"/>
              <a:gd name="connsiteY156" fmla="*/ 575802 h 662520"/>
              <a:gd name="connsiteX157" fmla="*/ 1617815 w 2840898"/>
              <a:gd name="connsiteY157" fmla="*/ 606062 h 662520"/>
              <a:gd name="connsiteX158" fmla="*/ 1585189 w 2840898"/>
              <a:gd name="connsiteY158" fmla="*/ 630560 h 662520"/>
              <a:gd name="connsiteX159" fmla="*/ 1549614 w 2840898"/>
              <a:gd name="connsiteY159" fmla="*/ 649352 h 662520"/>
              <a:gd name="connsiteX160" fmla="*/ 1511642 w 2840898"/>
              <a:gd name="connsiteY160" fmla="*/ 662495 h 662520"/>
              <a:gd name="connsiteX161" fmla="*/ 1943430 w 2840898"/>
              <a:gd name="connsiteY161" fmla="*/ 662495 h 662520"/>
              <a:gd name="connsiteX162" fmla="*/ 1905459 w 2840898"/>
              <a:gd name="connsiteY162" fmla="*/ 649348 h 662520"/>
              <a:gd name="connsiteX163" fmla="*/ 1869885 w 2840898"/>
              <a:gd name="connsiteY163" fmla="*/ 630555 h 662520"/>
              <a:gd name="connsiteX164" fmla="*/ 1837261 w 2840898"/>
              <a:gd name="connsiteY164" fmla="*/ 606057 h 662520"/>
              <a:gd name="connsiteX165" fmla="*/ 1808138 w 2840898"/>
              <a:gd name="connsiteY165" fmla="*/ 575797 h 662520"/>
              <a:gd name="connsiteX166" fmla="*/ 1783072 w 2840898"/>
              <a:gd name="connsiteY166" fmla="*/ 539718 h 662520"/>
              <a:gd name="connsiteX167" fmla="*/ 1762613 w 2840898"/>
              <a:gd name="connsiteY167" fmla="*/ 497763 h 662520"/>
              <a:gd name="connsiteX168" fmla="*/ 1747315 w 2840898"/>
              <a:gd name="connsiteY168" fmla="*/ 449874 h 662520"/>
              <a:gd name="connsiteX169" fmla="*/ 1737731 w 2840898"/>
              <a:gd name="connsiteY169" fmla="*/ 395995 h 662520"/>
              <a:gd name="connsiteX170" fmla="*/ 1734413 w 2840898"/>
              <a:gd name="connsiteY170" fmla="*/ 336067 h 662520"/>
              <a:gd name="connsiteX171" fmla="*/ 1737652 w 2840898"/>
              <a:gd name="connsiteY171" fmla="*/ 276826 h 662520"/>
              <a:gd name="connsiteX172" fmla="*/ 1747014 w 2840898"/>
              <a:gd name="connsiteY172" fmla="*/ 223488 h 662520"/>
              <a:gd name="connsiteX173" fmla="*/ 1761965 w 2840898"/>
              <a:gd name="connsiteY173" fmla="*/ 175997 h 662520"/>
              <a:gd name="connsiteX174" fmla="*/ 1781973 w 2840898"/>
              <a:gd name="connsiteY174" fmla="*/ 134299 h 662520"/>
              <a:gd name="connsiteX175" fmla="*/ 1806505 w 2840898"/>
              <a:gd name="connsiteY175" fmla="*/ 98339 h 662520"/>
              <a:gd name="connsiteX176" fmla="*/ 1835026 w 2840898"/>
              <a:gd name="connsiteY176" fmla="*/ 68062 h 662520"/>
              <a:gd name="connsiteX177" fmla="*/ 1867005 w 2840898"/>
              <a:gd name="connsiteY177" fmla="*/ 43413 h 662520"/>
              <a:gd name="connsiteX178" fmla="*/ 1901908 w 2840898"/>
              <a:gd name="connsiteY178" fmla="*/ 24337 h 662520"/>
              <a:gd name="connsiteX179" fmla="*/ 1939202 w 2840898"/>
              <a:gd name="connsiteY179" fmla="*/ 10780 h 662520"/>
              <a:gd name="connsiteX180" fmla="*/ 1978353 w 2840898"/>
              <a:gd name="connsiteY180" fmla="*/ 2685 h 662520"/>
              <a:gd name="connsiteX181" fmla="*/ 2018830 w 2840898"/>
              <a:gd name="connsiteY181" fmla="*/ 0 h 662520"/>
              <a:gd name="connsiteX182" fmla="*/ 2059309 w 2840898"/>
              <a:gd name="connsiteY182" fmla="*/ 2685 h 662520"/>
              <a:gd name="connsiteX183" fmla="*/ 2098463 w 2840898"/>
              <a:gd name="connsiteY183" fmla="*/ 10780 h 662520"/>
              <a:gd name="connsiteX184" fmla="*/ 2135759 w 2840898"/>
              <a:gd name="connsiteY184" fmla="*/ 24337 h 662520"/>
              <a:gd name="connsiteX185" fmla="*/ 2170664 w 2840898"/>
              <a:gd name="connsiteY185" fmla="*/ 43413 h 662520"/>
              <a:gd name="connsiteX186" fmla="*/ 2202644 w 2840898"/>
              <a:gd name="connsiteY186" fmla="*/ 68062 h 662520"/>
              <a:gd name="connsiteX187" fmla="*/ 2231166 w 2840898"/>
              <a:gd name="connsiteY187" fmla="*/ 98339 h 662520"/>
              <a:gd name="connsiteX188" fmla="*/ 2255698 w 2840898"/>
              <a:gd name="connsiteY188" fmla="*/ 134299 h 662520"/>
              <a:gd name="connsiteX189" fmla="*/ 2275706 w 2840898"/>
              <a:gd name="connsiteY189" fmla="*/ 175997 h 662520"/>
              <a:gd name="connsiteX190" fmla="*/ 2290658 w 2840898"/>
              <a:gd name="connsiteY190" fmla="*/ 223488 h 662520"/>
              <a:gd name="connsiteX191" fmla="*/ 2300020 w 2840898"/>
              <a:gd name="connsiteY191" fmla="*/ 276826 h 662520"/>
              <a:gd name="connsiteX192" fmla="*/ 2303259 w 2840898"/>
              <a:gd name="connsiteY192" fmla="*/ 336067 h 662520"/>
              <a:gd name="connsiteX193" fmla="*/ 2299941 w 2840898"/>
              <a:gd name="connsiteY193" fmla="*/ 395991 h 662520"/>
              <a:gd name="connsiteX194" fmla="*/ 2290357 w 2840898"/>
              <a:gd name="connsiteY194" fmla="*/ 449869 h 662520"/>
              <a:gd name="connsiteX195" fmla="*/ 2275059 w 2840898"/>
              <a:gd name="connsiteY195" fmla="*/ 497757 h 662520"/>
              <a:gd name="connsiteX196" fmla="*/ 2254600 w 2840898"/>
              <a:gd name="connsiteY196" fmla="*/ 539713 h 662520"/>
              <a:gd name="connsiteX197" fmla="*/ 2229533 w 2840898"/>
              <a:gd name="connsiteY197" fmla="*/ 575793 h 662520"/>
              <a:gd name="connsiteX198" fmla="*/ 2200411 w 2840898"/>
              <a:gd name="connsiteY198" fmla="*/ 606054 h 662520"/>
              <a:gd name="connsiteX199" fmla="*/ 2167787 w 2840898"/>
              <a:gd name="connsiteY199" fmla="*/ 630553 h 662520"/>
              <a:gd name="connsiteX200" fmla="*/ 2132213 w 2840898"/>
              <a:gd name="connsiteY200" fmla="*/ 649348 h 662520"/>
              <a:gd name="connsiteX201" fmla="*/ 2094242 w 2840898"/>
              <a:gd name="connsiteY201" fmla="*/ 662495 h 662520"/>
              <a:gd name="connsiteX202" fmla="*/ 2528582 w 2840898"/>
              <a:gd name="connsiteY202" fmla="*/ 662482 h 662520"/>
              <a:gd name="connsiteX203" fmla="*/ 2490620 w 2840898"/>
              <a:gd name="connsiteY203" fmla="*/ 649332 h 662520"/>
              <a:gd name="connsiteX204" fmla="*/ 2455053 w 2840898"/>
              <a:gd name="connsiteY204" fmla="*/ 630534 h 662520"/>
              <a:gd name="connsiteX205" fmla="*/ 2422435 w 2840898"/>
              <a:gd name="connsiteY205" fmla="*/ 606033 h 662520"/>
              <a:gd name="connsiteX206" fmla="*/ 2393318 w 2840898"/>
              <a:gd name="connsiteY206" fmla="*/ 575772 h 662520"/>
              <a:gd name="connsiteX207" fmla="*/ 2368257 w 2840898"/>
              <a:gd name="connsiteY207" fmla="*/ 539693 h 662520"/>
              <a:gd name="connsiteX208" fmla="*/ 2347803 w 2840898"/>
              <a:gd name="connsiteY208" fmla="*/ 497740 h 662520"/>
              <a:gd name="connsiteX209" fmla="*/ 2332510 w 2840898"/>
              <a:gd name="connsiteY209" fmla="*/ 449856 h 662520"/>
              <a:gd name="connsiteX210" fmla="*/ 2322930 w 2840898"/>
              <a:gd name="connsiteY210" fmla="*/ 395984 h 662520"/>
              <a:gd name="connsiteX211" fmla="*/ 2319616 w 2840898"/>
              <a:gd name="connsiteY211" fmla="*/ 336067 h 662520"/>
              <a:gd name="connsiteX212" fmla="*/ 2322855 w 2840898"/>
              <a:gd name="connsiteY212" fmla="*/ 276826 h 662520"/>
              <a:gd name="connsiteX213" fmla="*/ 2332217 w 2840898"/>
              <a:gd name="connsiteY213" fmla="*/ 223488 h 662520"/>
              <a:gd name="connsiteX214" fmla="*/ 2347169 w 2840898"/>
              <a:gd name="connsiteY214" fmla="*/ 175997 h 662520"/>
              <a:gd name="connsiteX215" fmla="*/ 2367177 w 2840898"/>
              <a:gd name="connsiteY215" fmla="*/ 134299 h 662520"/>
              <a:gd name="connsiteX216" fmla="*/ 2391708 w 2840898"/>
              <a:gd name="connsiteY216" fmla="*/ 98339 h 662520"/>
              <a:gd name="connsiteX217" fmla="*/ 2420230 w 2840898"/>
              <a:gd name="connsiteY217" fmla="*/ 68062 h 662520"/>
              <a:gd name="connsiteX218" fmla="*/ 2452208 w 2840898"/>
              <a:gd name="connsiteY218" fmla="*/ 43413 h 662520"/>
              <a:gd name="connsiteX219" fmla="*/ 2487111 w 2840898"/>
              <a:gd name="connsiteY219" fmla="*/ 24337 h 662520"/>
              <a:gd name="connsiteX220" fmla="*/ 2524405 w 2840898"/>
              <a:gd name="connsiteY220" fmla="*/ 10780 h 662520"/>
              <a:gd name="connsiteX221" fmla="*/ 2563557 w 2840898"/>
              <a:gd name="connsiteY221" fmla="*/ 2685 h 662520"/>
              <a:gd name="connsiteX222" fmla="*/ 2604033 w 2840898"/>
              <a:gd name="connsiteY222" fmla="*/ 0 h 662520"/>
              <a:gd name="connsiteX223" fmla="*/ 2644510 w 2840898"/>
              <a:gd name="connsiteY223" fmla="*/ 2685 h 662520"/>
              <a:gd name="connsiteX224" fmla="*/ 2683662 w 2840898"/>
              <a:gd name="connsiteY224" fmla="*/ 10780 h 662520"/>
              <a:gd name="connsiteX225" fmla="*/ 2720957 w 2840898"/>
              <a:gd name="connsiteY225" fmla="*/ 24337 h 662520"/>
              <a:gd name="connsiteX226" fmla="*/ 2755861 w 2840898"/>
              <a:gd name="connsiteY226" fmla="*/ 43413 h 662520"/>
              <a:gd name="connsiteX227" fmla="*/ 2787842 w 2840898"/>
              <a:gd name="connsiteY227" fmla="*/ 68062 h 662520"/>
              <a:gd name="connsiteX228" fmla="*/ 2816365 w 2840898"/>
              <a:gd name="connsiteY228" fmla="*/ 98339 h 662520"/>
              <a:gd name="connsiteX229" fmla="*/ 2840898 w 2840898"/>
              <a:gd name="connsiteY229" fmla="*/ 134299 h 662520"/>
              <a:gd name="connsiteX0" fmla="*/ 74231 w 2816365"/>
              <a:gd name="connsiteY0" fmla="*/ 662482 h 662520"/>
              <a:gd name="connsiteX1" fmla="*/ 60344 w 2816365"/>
              <a:gd name="connsiteY1" fmla="*/ 659582 h 662520"/>
              <a:gd name="connsiteX2" fmla="*/ 47517 w 2816365"/>
              <a:gd name="connsiteY2" fmla="*/ 656437 h 662520"/>
              <a:gd name="connsiteX3" fmla="*/ 35823 w 2816365"/>
              <a:gd name="connsiteY3" fmla="*/ 653092 h 662520"/>
              <a:gd name="connsiteX4" fmla="*/ 25336 w 2816365"/>
              <a:gd name="connsiteY4" fmla="*/ 649592 h 662520"/>
              <a:gd name="connsiteX5" fmla="*/ 25336 w 2816365"/>
              <a:gd name="connsiteY5" fmla="*/ 533196 h 662520"/>
              <a:gd name="connsiteX6" fmla="*/ 104190 w 2816365"/>
              <a:gd name="connsiteY6" fmla="*/ 533196 h 662520"/>
              <a:gd name="connsiteX7" fmla="*/ 116931 w 2816365"/>
              <a:gd name="connsiteY7" fmla="*/ 550133 h 662520"/>
              <a:gd name="connsiteX8" fmla="*/ 135043 w 2816365"/>
              <a:gd name="connsiteY8" fmla="*/ 564522 h 662520"/>
              <a:gd name="connsiteX9" fmla="*/ 160020 w 2816365"/>
              <a:gd name="connsiteY9" fmla="*/ 574514 h 662520"/>
              <a:gd name="connsiteX10" fmla="*/ 193357 w 2816365"/>
              <a:gd name="connsiteY10" fmla="*/ 578256 h 662520"/>
              <a:gd name="connsiteX11" fmla="*/ 233829 w 2816365"/>
              <a:gd name="connsiteY11" fmla="*/ 573672 h 662520"/>
              <a:gd name="connsiteX12" fmla="*/ 297105 w 2816365"/>
              <a:gd name="connsiteY12" fmla="*/ 537246 h 662520"/>
              <a:gd name="connsiteX13" fmla="*/ 320040 w 2816365"/>
              <a:gd name="connsiteY13" fmla="*/ 505568 h 662520"/>
              <a:gd name="connsiteX14" fmla="*/ 337261 w 2816365"/>
              <a:gd name="connsiteY14" fmla="*/ 465022 h 662520"/>
              <a:gd name="connsiteX15" fmla="*/ 348834 w 2816365"/>
              <a:gd name="connsiteY15" fmla="*/ 415691 h 662520"/>
              <a:gd name="connsiteX16" fmla="*/ 354825 w 2816365"/>
              <a:gd name="connsiteY16" fmla="*/ 357657 h 662520"/>
              <a:gd name="connsiteX17" fmla="*/ 325357 w 2816365"/>
              <a:gd name="connsiteY17" fmla="*/ 385098 h 662520"/>
              <a:gd name="connsiteX18" fmla="*/ 289466 w 2816365"/>
              <a:gd name="connsiteY18" fmla="*/ 406117 h 662520"/>
              <a:gd name="connsiteX19" fmla="*/ 247767 w 2816365"/>
              <a:gd name="connsiteY19" fmla="*/ 419568 h 662520"/>
              <a:gd name="connsiteX20" fmla="*/ 200875 w 2816365"/>
              <a:gd name="connsiteY20" fmla="*/ 424306 h 662520"/>
              <a:gd name="connsiteX21" fmla="*/ 153099 w 2816365"/>
              <a:gd name="connsiteY21" fmla="*/ 420031 h 662520"/>
              <a:gd name="connsiteX22" fmla="*/ 110150 w 2816365"/>
              <a:gd name="connsiteY22" fmla="*/ 407348 h 662520"/>
              <a:gd name="connsiteX23" fmla="*/ 72948 w 2816365"/>
              <a:gd name="connsiteY23" fmla="*/ 386472 h 662520"/>
              <a:gd name="connsiteX24" fmla="*/ 42412 w 2816365"/>
              <a:gd name="connsiteY24" fmla="*/ 357614 h 662520"/>
              <a:gd name="connsiteX25" fmla="*/ 19463 w 2816365"/>
              <a:gd name="connsiteY25" fmla="*/ 320990 h 662520"/>
              <a:gd name="connsiteX26" fmla="*/ 5019 w 2816365"/>
              <a:gd name="connsiteY26" fmla="*/ 276814 h 662520"/>
              <a:gd name="connsiteX27" fmla="*/ 0 w 2816365"/>
              <a:gd name="connsiteY27" fmla="*/ 225297 h 662520"/>
              <a:gd name="connsiteX28" fmla="*/ 4447 w 2816365"/>
              <a:gd name="connsiteY28" fmla="*/ 178425 h 662520"/>
              <a:gd name="connsiteX29" fmla="*/ 17453 w 2816365"/>
              <a:gd name="connsiteY29" fmla="*/ 135445 h 662520"/>
              <a:gd name="connsiteX30" fmla="*/ 38511 w 2816365"/>
              <a:gd name="connsiteY30" fmla="*/ 97085 h 662520"/>
              <a:gd name="connsiteX31" fmla="*/ 67116 w 2816365"/>
              <a:gd name="connsiteY31" fmla="*/ 64071 h 662520"/>
              <a:gd name="connsiteX32" fmla="*/ 102760 w 2816365"/>
              <a:gd name="connsiteY32" fmla="*/ 37129 h 662520"/>
              <a:gd name="connsiteX33" fmla="*/ 144939 w 2816365"/>
              <a:gd name="connsiteY33" fmla="*/ 16986 h 662520"/>
              <a:gd name="connsiteX34" fmla="*/ 193146 w 2816365"/>
              <a:gd name="connsiteY34" fmla="*/ 4367 h 662520"/>
              <a:gd name="connsiteX35" fmla="*/ 246875 w 2816365"/>
              <a:gd name="connsiteY35" fmla="*/ 0 h 662520"/>
              <a:gd name="connsiteX36" fmla="*/ 290625 w 2816365"/>
              <a:gd name="connsiteY36" fmla="*/ 2882 h 662520"/>
              <a:gd name="connsiteX37" fmla="*/ 331492 w 2816365"/>
              <a:gd name="connsiteY37" fmla="*/ 11678 h 662520"/>
              <a:gd name="connsiteX38" fmla="*/ 369070 w 2816365"/>
              <a:gd name="connsiteY38" fmla="*/ 26614 h 662520"/>
              <a:gd name="connsiteX39" fmla="*/ 402953 w 2816365"/>
              <a:gd name="connsiteY39" fmla="*/ 47914 h 662520"/>
              <a:gd name="connsiteX40" fmla="*/ 432736 w 2816365"/>
              <a:gd name="connsiteY40" fmla="*/ 75804 h 662520"/>
              <a:gd name="connsiteX41" fmla="*/ 458013 w 2816365"/>
              <a:gd name="connsiteY41" fmla="*/ 110509 h 662520"/>
              <a:gd name="connsiteX42" fmla="*/ 478379 w 2816365"/>
              <a:gd name="connsiteY42" fmla="*/ 152255 h 662520"/>
              <a:gd name="connsiteX43" fmla="*/ 493429 w 2816365"/>
              <a:gd name="connsiteY43" fmla="*/ 201265 h 662520"/>
              <a:gd name="connsiteX44" fmla="*/ 502756 w 2816365"/>
              <a:gd name="connsiteY44" fmla="*/ 257766 h 662520"/>
              <a:gd name="connsiteX45" fmla="*/ 505955 w 2816365"/>
              <a:gd name="connsiteY45" fmla="*/ 321983 h 662520"/>
              <a:gd name="connsiteX46" fmla="*/ 503406 w 2816365"/>
              <a:gd name="connsiteY46" fmla="*/ 376707 h 662520"/>
              <a:gd name="connsiteX47" fmla="*/ 495858 w 2816365"/>
              <a:gd name="connsiteY47" fmla="*/ 427041 h 662520"/>
              <a:gd name="connsiteX48" fmla="*/ 483456 w 2816365"/>
              <a:gd name="connsiteY48" fmla="*/ 472909 h 662520"/>
              <a:gd name="connsiteX49" fmla="*/ 466346 w 2816365"/>
              <a:gd name="connsiteY49" fmla="*/ 514232 h 662520"/>
              <a:gd name="connsiteX50" fmla="*/ 444674 w 2816365"/>
              <a:gd name="connsiteY50" fmla="*/ 550937 h 662520"/>
              <a:gd name="connsiteX51" fmla="*/ 418587 w 2816365"/>
              <a:gd name="connsiteY51" fmla="*/ 582945 h 662520"/>
              <a:gd name="connsiteX52" fmla="*/ 388229 w 2816365"/>
              <a:gd name="connsiteY52" fmla="*/ 610181 h 662520"/>
              <a:gd name="connsiteX53" fmla="*/ 353748 w 2816365"/>
              <a:gd name="connsiteY53" fmla="*/ 632569 h 662520"/>
              <a:gd name="connsiteX54" fmla="*/ 315289 w 2816365"/>
              <a:gd name="connsiteY54" fmla="*/ 650033 h 662520"/>
              <a:gd name="connsiteX55" fmla="*/ 272999 w 2816365"/>
              <a:gd name="connsiteY55" fmla="*/ 662495 h 662520"/>
              <a:gd name="connsiteX56" fmla="*/ 592162 w 2816365"/>
              <a:gd name="connsiteY56" fmla="*/ 662520 h 662520"/>
              <a:gd name="connsiteX57" fmla="*/ 571167 w 2816365"/>
              <a:gd name="connsiteY57" fmla="*/ 658030 h 662520"/>
              <a:gd name="connsiteX58" fmla="*/ 551373 w 2816365"/>
              <a:gd name="connsiteY58" fmla="*/ 652783 h 662520"/>
              <a:gd name="connsiteX59" fmla="*/ 532537 w 2816365"/>
              <a:gd name="connsiteY59" fmla="*/ 646826 h 662520"/>
              <a:gd name="connsiteX60" fmla="*/ 514413 w 2816365"/>
              <a:gd name="connsiteY60" fmla="*/ 640206 h 662520"/>
              <a:gd name="connsiteX61" fmla="*/ 514413 w 2816365"/>
              <a:gd name="connsiteY61" fmla="*/ 516293 h 662520"/>
              <a:gd name="connsiteX62" fmla="*/ 596087 w 2816365"/>
              <a:gd name="connsiteY62" fmla="*/ 516293 h 662520"/>
              <a:gd name="connsiteX63" fmla="*/ 612203 w 2816365"/>
              <a:gd name="connsiteY63" fmla="*/ 539439 h 662520"/>
              <a:gd name="connsiteX64" fmla="*/ 635627 w 2816365"/>
              <a:gd name="connsiteY64" fmla="*/ 559242 h 662520"/>
              <a:gd name="connsiteX65" fmla="*/ 666972 w 2816365"/>
              <a:gd name="connsiteY65" fmla="*/ 573062 h 662520"/>
              <a:gd name="connsiteX66" fmla="*/ 706856 w 2816365"/>
              <a:gd name="connsiteY66" fmla="*/ 578256 h 662520"/>
              <a:gd name="connsiteX67" fmla="*/ 749359 w 2816365"/>
              <a:gd name="connsiteY67" fmla="*/ 571758 h 662520"/>
              <a:gd name="connsiteX68" fmla="*/ 784298 w 2816365"/>
              <a:gd name="connsiteY68" fmla="*/ 552322 h 662520"/>
              <a:gd name="connsiteX69" fmla="*/ 807972 w 2816365"/>
              <a:gd name="connsiteY69" fmla="*/ 520038 h 662520"/>
              <a:gd name="connsiteX70" fmla="*/ 816686 w 2816365"/>
              <a:gd name="connsiteY70" fmla="*/ 474992 h 662520"/>
              <a:gd name="connsiteX71" fmla="*/ 809424 w 2816365"/>
              <a:gd name="connsiteY71" fmla="*/ 430240 h 662520"/>
              <a:gd name="connsiteX72" fmla="*/ 787466 w 2816365"/>
              <a:gd name="connsiteY72" fmla="*/ 398602 h 662520"/>
              <a:gd name="connsiteX73" fmla="*/ 750549 w 2816365"/>
              <a:gd name="connsiteY73" fmla="*/ 379812 h 662520"/>
              <a:gd name="connsiteX74" fmla="*/ 698411 w 2816365"/>
              <a:gd name="connsiteY74" fmla="*/ 373608 h 662520"/>
              <a:gd name="connsiteX75" fmla="*/ 649592 w 2816365"/>
              <a:gd name="connsiteY75" fmla="*/ 373608 h 662520"/>
              <a:gd name="connsiteX76" fmla="*/ 649592 w 2816365"/>
              <a:gd name="connsiteY76" fmla="*/ 286308 h 662520"/>
              <a:gd name="connsiteX77" fmla="*/ 690892 w 2816365"/>
              <a:gd name="connsiteY77" fmla="*/ 286308 h 662520"/>
              <a:gd name="connsiteX78" fmla="*/ 744563 w 2816365"/>
              <a:gd name="connsiteY78" fmla="*/ 280133 h 662520"/>
              <a:gd name="connsiteX79" fmla="*/ 783007 w 2816365"/>
              <a:gd name="connsiteY79" fmla="*/ 261550 h 662520"/>
              <a:gd name="connsiteX80" fmla="*/ 806137 w 2816365"/>
              <a:gd name="connsiteY80" fmla="*/ 230469 h 662520"/>
              <a:gd name="connsiteX81" fmla="*/ 813866 w 2816365"/>
              <a:gd name="connsiteY81" fmla="*/ 186804 h 662520"/>
              <a:gd name="connsiteX82" fmla="*/ 808513 w 2816365"/>
              <a:gd name="connsiteY82" fmla="*/ 149115 h 662520"/>
              <a:gd name="connsiteX83" fmla="*/ 792160 w 2816365"/>
              <a:gd name="connsiteY83" fmla="*/ 121104 h 662520"/>
              <a:gd name="connsiteX84" fmla="*/ 764365 w 2816365"/>
              <a:gd name="connsiteY84" fmla="*/ 103651 h 662520"/>
              <a:gd name="connsiteX85" fmla="*/ 724687 w 2816365"/>
              <a:gd name="connsiteY85" fmla="*/ 97637 h 662520"/>
              <a:gd name="connsiteX86" fmla="*/ 687243 w 2816365"/>
              <a:gd name="connsiteY86" fmla="*/ 102374 h 662520"/>
              <a:gd name="connsiteX87" fmla="*/ 657456 w 2816365"/>
              <a:gd name="connsiteY87" fmla="*/ 115117 h 662520"/>
              <a:gd name="connsiteX88" fmla="*/ 634533 w 2816365"/>
              <a:gd name="connsiteY88" fmla="*/ 133668 h 662520"/>
              <a:gd name="connsiteX89" fmla="*/ 617677 w 2816365"/>
              <a:gd name="connsiteY89" fmla="*/ 155828 h 662520"/>
              <a:gd name="connsiteX90" fmla="*/ 539775 w 2816365"/>
              <a:gd name="connsiteY90" fmla="*/ 155828 h 662520"/>
              <a:gd name="connsiteX91" fmla="*/ 539775 w 2816365"/>
              <a:gd name="connsiteY91" fmla="*/ 33807 h 662520"/>
              <a:gd name="connsiteX92" fmla="*/ 584006 w 2816365"/>
              <a:gd name="connsiteY92" fmla="*/ 19813 h 662520"/>
              <a:gd name="connsiteX93" fmla="*/ 631056 w 2816365"/>
              <a:gd name="connsiteY93" fmla="*/ 9159 h 662520"/>
              <a:gd name="connsiteX94" fmla="*/ 681278 w 2816365"/>
              <a:gd name="connsiteY94" fmla="*/ 2378 h 662520"/>
              <a:gd name="connsiteX95" fmla="*/ 735025 w 2816365"/>
              <a:gd name="connsiteY95" fmla="*/ 0 h 662520"/>
              <a:gd name="connsiteX96" fmla="*/ 790395 w 2816365"/>
              <a:gd name="connsiteY96" fmla="*/ 3158 h 662520"/>
              <a:gd name="connsiteX97" fmla="*/ 838689 w 2816365"/>
              <a:gd name="connsiteY97" fmla="*/ 12853 h 662520"/>
              <a:gd name="connsiteX98" fmla="*/ 879380 w 2816365"/>
              <a:gd name="connsiteY98" fmla="*/ 29412 h 662520"/>
              <a:gd name="connsiteX99" fmla="*/ 911943 w 2816365"/>
              <a:gd name="connsiteY99" fmla="*/ 53163 h 662520"/>
              <a:gd name="connsiteX100" fmla="*/ 935853 w 2816365"/>
              <a:gd name="connsiteY100" fmla="*/ 84435 h 662520"/>
              <a:gd name="connsiteX101" fmla="*/ 950584 w 2816365"/>
              <a:gd name="connsiteY101" fmla="*/ 123555 h 662520"/>
              <a:gd name="connsiteX102" fmla="*/ 955611 w 2816365"/>
              <a:gd name="connsiteY102" fmla="*/ 170853 h 662520"/>
              <a:gd name="connsiteX103" fmla="*/ 949453 w 2816365"/>
              <a:gd name="connsiteY103" fmla="*/ 219568 h 662520"/>
              <a:gd name="connsiteX104" fmla="*/ 931581 w 2816365"/>
              <a:gd name="connsiteY104" fmla="*/ 258234 h 662520"/>
              <a:gd name="connsiteX105" fmla="*/ 902895 w 2816365"/>
              <a:gd name="connsiteY105" fmla="*/ 287843 h 662520"/>
              <a:gd name="connsiteX106" fmla="*/ 864296 w 2816365"/>
              <a:gd name="connsiteY106" fmla="*/ 309388 h 662520"/>
              <a:gd name="connsiteX107" fmla="*/ 816686 w 2816365"/>
              <a:gd name="connsiteY107" fmla="*/ 323862 h 662520"/>
              <a:gd name="connsiteX108" fmla="*/ 816686 w 2816365"/>
              <a:gd name="connsiteY108" fmla="*/ 327609 h 662520"/>
              <a:gd name="connsiteX109" fmla="*/ 870681 w 2816365"/>
              <a:gd name="connsiteY109" fmla="*/ 340566 h 662520"/>
              <a:gd name="connsiteX110" fmla="*/ 912283 w 2816365"/>
              <a:gd name="connsiteY110" fmla="*/ 362534 h 662520"/>
              <a:gd name="connsiteX111" fmla="*/ 941719 w 2816365"/>
              <a:gd name="connsiteY111" fmla="*/ 393513 h 662520"/>
              <a:gd name="connsiteX112" fmla="*/ 959215 w 2816365"/>
              <a:gd name="connsiteY112" fmla="*/ 433502 h 662520"/>
              <a:gd name="connsiteX113" fmla="*/ 964996 w 2816365"/>
              <a:gd name="connsiteY113" fmla="*/ 482498 h 662520"/>
              <a:gd name="connsiteX114" fmla="*/ 959936 w 2816365"/>
              <a:gd name="connsiteY114" fmla="*/ 527743 h 662520"/>
              <a:gd name="connsiteX115" fmla="*/ 944659 w 2816365"/>
              <a:gd name="connsiteY115" fmla="*/ 567021 h 662520"/>
              <a:gd name="connsiteX116" fmla="*/ 920122 w 2816365"/>
              <a:gd name="connsiteY116" fmla="*/ 600232 h 662520"/>
              <a:gd name="connsiteX117" fmla="*/ 887285 w 2816365"/>
              <a:gd name="connsiteY117" fmla="*/ 627278 h 662520"/>
              <a:gd name="connsiteX118" fmla="*/ 847106 w 2816365"/>
              <a:gd name="connsiteY118" fmla="*/ 648061 h 662520"/>
              <a:gd name="connsiteX119" fmla="*/ 800544 w 2816365"/>
              <a:gd name="connsiteY119" fmla="*/ 662482 h 662520"/>
              <a:gd name="connsiteX120" fmla="*/ 1360843 w 2816365"/>
              <a:gd name="connsiteY120" fmla="*/ 662495 h 662520"/>
              <a:gd name="connsiteX121" fmla="*/ 1322871 w 2816365"/>
              <a:gd name="connsiteY121" fmla="*/ 649352 h 662520"/>
              <a:gd name="connsiteX122" fmla="*/ 1287296 w 2816365"/>
              <a:gd name="connsiteY122" fmla="*/ 630560 h 662520"/>
              <a:gd name="connsiteX123" fmla="*/ 1254670 w 2816365"/>
              <a:gd name="connsiteY123" fmla="*/ 606062 h 662520"/>
              <a:gd name="connsiteX124" fmla="*/ 1225546 w 2816365"/>
              <a:gd name="connsiteY124" fmla="*/ 575802 h 662520"/>
              <a:gd name="connsiteX125" fmla="*/ 1200477 w 2816365"/>
              <a:gd name="connsiteY125" fmla="*/ 539722 h 662520"/>
              <a:gd name="connsiteX126" fmla="*/ 1180016 w 2816365"/>
              <a:gd name="connsiteY126" fmla="*/ 497766 h 662520"/>
              <a:gd name="connsiteX127" fmla="*/ 1164717 w 2816365"/>
              <a:gd name="connsiteY127" fmla="*/ 449876 h 662520"/>
              <a:gd name="connsiteX128" fmla="*/ 1155131 w 2816365"/>
              <a:gd name="connsiteY128" fmla="*/ 395995 h 662520"/>
              <a:gd name="connsiteX129" fmla="*/ 1151813 w 2816365"/>
              <a:gd name="connsiteY129" fmla="*/ 336067 h 662520"/>
              <a:gd name="connsiteX130" fmla="*/ 1155053 w 2816365"/>
              <a:gd name="connsiteY130" fmla="*/ 276826 h 662520"/>
              <a:gd name="connsiteX131" fmla="*/ 1164415 w 2816365"/>
              <a:gd name="connsiteY131" fmla="*/ 223488 h 662520"/>
              <a:gd name="connsiteX132" fmla="*/ 1179368 w 2816365"/>
              <a:gd name="connsiteY132" fmla="*/ 175997 h 662520"/>
              <a:gd name="connsiteX133" fmla="*/ 1199377 w 2816365"/>
              <a:gd name="connsiteY133" fmla="*/ 134299 h 662520"/>
              <a:gd name="connsiteX134" fmla="*/ 1223910 w 2816365"/>
              <a:gd name="connsiteY134" fmla="*/ 98339 h 662520"/>
              <a:gd name="connsiteX135" fmla="*/ 1252434 w 2816365"/>
              <a:gd name="connsiteY135" fmla="*/ 68062 h 662520"/>
              <a:gd name="connsiteX136" fmla="*/ 1284414 w 2816365"/>
              <a:gd name="connsiteY136" fmla="*/ 43413 h 662520"/>
              <a:gd name="connsiteX137" fmla="*/ 1319318 w 2816365"/>
              <a:gd name="connsiteY137" fmla="*/ 24337 h 662520"/>
              <a:gd name="connsiteX138" fmla="*/ 1356613 w 2816365"/>
              <a:gd name="connsiteY138" fmla="*/ 10780 h 662520"/>
              <a:gd name="connsiteX139" fmla="*/ 1395766 w 2816365"/>
              <a:gd name="connsiteY139" fmla="*/ 2685 h 662520"/>
              <a:gd name="connsiteX140" fmla="*/ 1436243 w 2816365"/>
              <a:gd name="connsiteY140" fmla="*/ 0 h 662520"/>
              <a:gd name="connsiteX141" fmla="*/ 1476722 w 2816365"/>
              <a:gd name="connsiteY141" fmla="*/ 2685 h 662520"/>
              <a:gd name="connsiteX142" fmla="*/ 1515876 w 2816365"/>
              <a:gd name="connsiteY142" fmla="*/ 10780 h 662520"/>
              <a:gd name="connsiteX143" fmla="*/ 1553172 w 2816365"/>
              <a:gd name="connsiteY143" fmla="*/ 24337 h 662520"/>
              <a:gd name="connsiteX144" fmla="*/ 1588076 w 2816365"/>
              <a:gd name="connsiteY144" fmla="*/ 43413 h 662520"/>
              <a:gd name="connsiteX145" fmla="*/ 1620056 w 2816365"/>
              <a:gd name="connsiteY145" fmla="*/ 68062 h 662520"/>
              <a:gd name="connsiteX146" fmla="*/ 1648579 w 2816365"/>
              <a:gd name="connsiteY146" fmla="*/ 98339 h 662520"/>
              <a:gd name="connsiteX147" fmla="*/ 1673111 w 2816365"/>
              <a:gd name="connsiteY147" fmla="*/ 134299 h 662520"/>
              <a:gd name="connsiteX148" fmla="*/ 1693119 w 2816365"/>
              <a:gd name="connsiteY148" fmla="*/ 175997 h 662520"/>
              <a:gd name="connsiteX149" fmla="*/ 1708071 w 2816365"/>
              <a:gd name="connsiteY149" fmla="*/ 223488 h 662520"/>
              <a:gd name="connsiteX150" fmla="*/ 1717433 w 2816365"/>
              <a:gd name="connsiteY150" fmla="*/ 276826 h 662520"/>
              <a:gd name="connsiteX151" fmla="*/ 1720672 w 2816365"/>
              <a:gd name="connsiteY151" fmla="*/ 336067 h 662520"/>
              <a:gd name="connsiteX152" fmla="*/ 1717354 w 2816365"/>
              <a:gd name="connsiteY152" fmla="*/ 395995 h 662520"/>
              <a:gd name="connsiteX153" fmla="*/ 1707768 w 2816365"/>
              <a:gd name="connsiteY153" fmla="*/ 449876 h 662520"/>
              <a:gd name="connsiteX154" fmla="*/ 1692469 w 2816365"/>
              <a:gd name="connsiteY154" fmla="*/ 497766 h 662520"/>
              <a:gd name="connsiteX155" fmla="*/ 1672008 w 2816365"/>
              <a:gd name="connsiteY155" fmla="*/ 539722 h 662520"/>
              <a:gd name="connsiteX156" fmla="*/ 1646939 w 2816365"/>
              <a:gd name="connsiteY156" fmla="*/ 575802 h 662520"/>
              <a:gd name="connsiteX157" fmla="*/ 1617815 w 2816365"/>
              <a:gd name="connsiteY157" fmla="*/ 606062 h 662520"/>
              <a:gd name="connsiteX158" fmla="*/ 1585189 w 2816365"/>
              <a:gd name="connsiteY158" fmla="*/ 630560 h 662520"/>
              <a:gd name="connsiteX159" fmla="*/ 1549614 w 2816365"/>
              <a:gd name="connsiteY159" fmla="*/ 649352 h 662520"/>
              <a:gd name="connsiteX160" fmla="*/ 1511642 w 2816365"/>
              <a:gd name="connsiteY160" fmla="*/ 662495 h 662520"/>
              <a:gd name="connsiteX161" fmla="*/ 1943430 w 2816365"/>
              <a:gd name="connsiteY161" fmla="*/ 662495 h 662520"/>
              <a:gd name="connsiteX162" fmla="*/ 1905459 w 2816365"/>
              <a:gd name="connsiteY162" fmla="*/ 649348 h 662520"/>
              <a:gd name="connsiteX163" fmla="*/ 1869885 w 2816365"/>
              <a:gd name="connsiteY163" fmla="*/ 630555 h 662520"/>
              <a:gd name="connsiteX164" fmla="*/ 1837261 w 2816365"/>
              <a:gd name="connsiteY164" fmla="*/ 606057 h 662520"/>
              <a:gd name="connsiteX165" fmla="*/ 1808138 w 2816365"/>
              <a:gd name="connsiteY165" fmla="*/ 575797 h 662520"/>
              <a:gd name="connsiteX166" fmla="*/ 1783072 w 2816365"/>
              <a:gd name="connsiteY166" fmla="*/ 539718 h 662520"/>
              <a:gd name="connsiteX167" fmla="*/ 1762613 w 2816365"/>
              <a:gd name="connsiteY167" fmla="*/ 497763 h 662520"/>
              <a:gd name="connsiteX168" fmla="*/ 1747315 w 2816365"/>
              <a:gd name="connsiteY168" fmla="*/ 449874 h 662520"/>
              <a:gd name="connsiteX169" fmla="*/ 1737731 w 2816365"/>
              <a:gd name="connsiteY169" fmla="*/ 395995 h 662520"/>
              <a:gd name="connsiteX170" fmla="*/ 1734413 w 2816365"/>
              <a:gd name="connsiteY170" fmla="*/ 336067 h 662520"/>
              <a:gd name="connsiteX171" fmla="*/ 1737652 w 2816365"/>
              <a:gd name="connsiteY171" fmla="*/ 276826 h 662520"/>
              <a:gd name="connsiteX172" fmla="*/ 1747014 w 2816365"/>
              <a:gd name="connsiteY172" fmla="*/ 223488 h 662520"/>
              <a:gd name="connsiteX173" fmla="*/ 1761965 w 2816365"/>
              <a:gd name="connsiteY173" fmla="*/ 175997 h 662520"/>
              <a:gd name="connsiteX174" fmla="*/ 1781973 w 2816365"/>
              <a:gd name="connsiteY174" fmla="*/ 134299 h 662520"/>
              <a:gd name="connsiteX175" fmla="*/ 1806505 w 2816365"/>
              <a:gd name="connsiteY175" fmla="*/ 98339 h 662520"/>
              <a:gd name="connsiteX176" fmla="*/ 1835026 w 2816365"/>
              <a:gd name="connsiteY176" fmla="*/ 68062 h 662520"/>
              <a:gd name="connsiteX177" fmla="*/ 1867005 w 2816365"/>
              <a:gd name="connsiteY177" fmla="*/ 43413 h 662520"/>
              <a:gd name="connsiteX178" fmla="*/ 1901908 w 2816365"/>
              <a:gd name="connsiteY178" fmla="*/ 24337 h 662520"/>
              <a:gd name="connsiteX179" fmla="*/ 1939202 w 2816365"/>
              <a:gd name="connsiteY179" fmla="*/ 10780 h 662520"/>
              <a:gd name="connsiteX180" fmla="*/ 1978353 w 2816365"/>
              <a:gd name="connsiteY180" fmla="*/ 2685 h 662520"/>
              <a:gd name="connsiteX181" fmla="*/ 2018830 w 2816365"/>
              <a:gd name="connsiteY181" fmla="*/ 0 h 662520"/>
              <a:gd name="connsiteX182" fmla="*/ 2059309 w 2816365"/>
              <a:gd name="connsiteY182" fmla="*/ 2685 h 662520"/>
              <a:gd name="connsiteX183" fmla="*/ 2098463 w 2816365"/>
              <a:gd name="connsiteY183" fmla="*/ 10780 h 662520"/>
              <a:gd name="connsiteX184" fmla="*/ 2135759 w 2816365"/>
              <a:gd name="connsiteY184" fmla="*/ 24337 h 662520"/>
              <a:gd name="connsiteX185" fmla="*/ 2170664 w 2816365"/>
              <a:gd name="connsiteY185" fmla="*/ 43413 h 662520"/>
              <a:gd name="connsiteX186" fmla="*/ 2202644 w 2816365"/>
              <a:gd name="connsiteY186" fmla="*/ 68062 h 662520"/>
              <a:gd name="connsiteX187" fmla="*/ 2231166 w 2816365"/>
              <a:gd name="connsiteY187" fmla="*/ 98339 h 662520"/>
              <a:gd name="connsiteX188" fmla="*/ 2255698 w 2816365"/>
              <a:gd name="connsiteY188" fmla="*/ 134299 h 662520"/>
              <a:gd name="connsiteX189" fmla="*/ 2275706 w 2816365"/>
              <a:gd name="connsiteY189" fmla="*/ 175997 h 662520"/>
              <a:gd name="connsiteX190" fmla="*/ 2290658 w 2816365"/>
              <a:gd name="connsiteY190" fmla="*/ 223488 h 662520"/>
              <a:gd name="connsiteX191" fmla="*/ 2300020 w 2816365"/>
              <a:gd name="connsiteY191" fmla="*/ 276826 h 662520"/>
              <a:gd name="connsiteX192" fmla="*/ 2303259 w 2816365"/>
              <a:gd name="connsiteY192" fmla="*/ 336067 h 662520"/>
              <a:gd name="connsiteX193" fmla="*/ 2299941 w 2816365"/>
              <a:gd name="connsiteY193" fmla="*/ 395991 h 662520"/>
              <a:gd name="connsiteX194" fmla="*/ 2290357 w 2816365"/>
              <a:gd name="connsiteY194" fmla="*/ 449869 h 662520"/>
              <a:gd name="connsiteX195" fmla="*/ 2275059 w 2816365"/>
              <a:gd name="connsiteY195" fmla="*/ 497757 h 662520"/>
              <a:gd name="connsiteX196" fmla="*/ 2254600 w 2816365"/>
              <a:gd name="connsiteY196" fmla="*/ 539713 h 662520"/>
              <a:gd name="connsiteX197" fmla="*/ 2229533 w 2816365"/>
              <a:gd name="connsiteY197" fmla="*/ 575793 h 662520"/>
              <a:gd name="connsiteX198" fmla="*/ 2200411 w 2816365"/>
              <a:gd name="connsiteY198" fmla="*/ 606054 h 662520"/>
              <a:gd name="connsiteX199" fmla="*/ 2167787 w 2816365"/>
              <a:gd name="connsiteY199" fmla="*/ 630553 h 662520"/>
              <a:gd name="connsiteX200" fmla="*/ 2132213 w 2816365"/>
              <a:gd name="connsiteY200" fmla="*/ 649348 h 662520"/>
              <a:gd name="connsiteX201" fmla="*/ 2094242 w 2816365"/>
              <a:gd name="connsiteY201" fmla="*/ 662495 h 662520"/>
              <a:gd name="connsiteX202" fmla="*/ 2528582 w 2816365"/>
              <a:gd name="connsiteY202" fmla="*/ 662482 h 662520"/>
              <a:gd name="connsiteX203" fmla="*/ 2490620 w 2816365"/>
              <a:gd name="connsiteY203" fmla="*/ 649332 h 662520"/>
              <a:gd name="connsiteX204" fmla="*/ 2455053 w 2816365"/>
              <a:gd name="connsiteY204" fmla="*/ 630534 h 662520"/>
              <a:gd name="connsiteX205" fmla="*/ 2422435 w 2816365"/>
              <a:gd name="connsiteY205" fmla="*/ 606033 h 662520"/>
              <a:gd name="connsiteX206" fmla="*/ 2393318 w 2816365"/>
              <a:gd name="connsiteY206" fmla="*/ 575772 h 662520"/>
              <a:gd name="connsiteX207" fmla="*/ 2368257 w 2816365"/>
              <a:gd name="connsiteY207" fmla="*/ 539693 h 662520"/>
              <a:gd name="connsiteX208" fmla="*/ 2347803 w 2816365"/>
              <a:gd name="connsiteY208" fmla="*/ 497740 h 662520"/>
              <a:gd name="connsiteX209" fmla="*/ 2332510 w 2816365"/>
              <a:gd name="connsiteY209" fmla="*/ 449856 h 662520"/>
              <a:gd name="connsiteX210" fmla="*/ 2322930 w 2816365"/>
              <a:gd name="connsiteY210" fmla="*/ 395984 h 662520"/>
              <a:gd name="connsiteX211" fmla="*/ 2319616 w 2816365"/>
              <a:gd name="connsiteY211" fmla="*/ 336067 h 662520"/>
              <a:gd name="connsiteX212" fmla="*/ 2322855 w 2816365"/>
              <a:gd name="connsiteY212" fmla="*/ 276826 h 662520"/>
              <a:gd name="connsiteX213" fmla="*/ 2332217 w 2816365"/>
              <a:gd name="connsiteY213" fmla="*/ 223488 h 662520"/>
              <a:gd name="connsiteX214" fmla="*/ 2347169 w 2816365"/>
              <a:gd name="connsiteY214" fmla="*/ 175997 h 662520"/>
              <a:gd name="connsiteX215" fmla="*/ 2367177 w 2816365"/>
              <a:gd name="connsiteY215" fmla="*/ 134299 h 662520"/>
              <a:gd name="connsiteX216" fmla="*/ 2391708 w 2816365"/>
              <a:gd name="connsiteY216" fmla="*/ 98339 h 662520"/>
              <a:gd name="connsiteX217" fmla="*/ 2420230 w 2816365"/>
              <a:gd name="connsiteY217" fmla="*/ 68062 h 662520"/>
              <a:gd name="connsiteX218" fmla="*/ 2452208 w 2816365"/>
              <a:gd name="connsiteY218" fmla="*/ 43413 h 662520"/>
              <a:gd name="connsiteX219" fmla="*/ 2487111 w 2816365"/>
              <a:gd name="connsiteY219" fmla="*/ 24337 h 662520"/>
              <a:gd name="connsiteX220" fmla="*/ 2524405 w 2816365"/>
              <a:gd name="connsiteY220" fmla="*/ 10780 h 662520"/>
              <a:gd name="connsiteX221" fmla="*/ 2563557 w 2816365"/>
              <a:gd name="connsiteY221" fmla="*/ 2685 h 662520"/>
              <a:gd name="connsiteX222" fmla="*/ 2604033 w 2816365"/>
              <a:gd name="connsiteY222" fmla="*/ 0 h 662520"/>
              <a:gd name="connsiteX223" fmla="*/ 2644510 w 2816365"/>
              <a:gd name="connsiteY223" fmla="*/ 2685 h 662520"/>
              <a:gd name="connsiteX224" fmla="*/ 2683662 w 2816365"/>
              <a:gd name="connsiteY224" fmla="*/ 10780 h 662520"/>
              <a:gd name="connsiteX225" fmla="*/ 2720957 w 2816365"/>
              <a:gd name="connsiteY225" fmla="*/ 24337 h 662520"/>
              <a:gd name="connsiteX226" fmla="*/ 2755861 w 2816365"/>
              <a:gd name="connsiteY226" fmla="*/ 43413 h 662520"/>
              <a:gd name="connsiteX227" fmla="*/ 2787842 w 2816365"/>
              <a:gd name="connsiteY227" fmla="*/ 68062 h 662520"/>
              <a:gd name="connsiteX228" fmla="*/ 2816365 w 2816365"/>
              <a:gd name="connsiteY228" fmla="*/ 98339 h 662520"/>
              <a:gd name="connsiteX0" fmla="*/ 74231 w 2787842"/>
              <a:gd name="connsiteY0" fmla="*/ 662482 h 662520"/>
              <a:gd name="connsiteX1" fmla="*/ 60344 w 2787842"/>
              <a:gd name="connsiteY1" fmla="*/ 659582 h 662520"/>
              <a:gd name="connsiteX2" fmla="*/ 47517 w 2787842"/>
              <a:gd name="connsiteY2" fmla="*/ 656437 h 662520"/>
              <a:gd name="connsiteX3" fmla="*/ 35823 w 2787842"/>
              <a:gd name="connsiteY3" fmla="*/ 653092 h 662520"/>
              <a:gd name="connsiteX4" fmla="*/ 25336 w 2787842"/>
              <a:gd name="connsiteY4" fmla="*/ 649592 h 662520"/>
              <a:gd name="connsiteX5" fmla="*/ 25336 w 2787842"/>
              <a:gd name="connsiteY5" fmla="*/ 533196 h 662520"/>
              <a:gd name="connsiteX6" fmla="*/ 104190 w 2787842"/>
              <a:gd name="connsiteY6" fmla="*/ 533196 h 662520"/>
              <a:gd name="connsiteX7" fmla="*/ 116931 w 2787842"/>
              <a:gd name="connsiteY7" fmla="*/ 550133 h 662520"/>
              <a:gd name="connsiteX8" fmla="*/ 135043 w 2787842"/>
              <a:gd name="connsiteY8" fmla="*/ 564522 h 662520"/>
              <a:gd name="connsiteX9" fmla="*/ 160020 w 2787842"/>
              <a:gd name="connsiteY9" fmla="*/ 574514 h 662520"/>
              <a:gd name="connsiteX10" fmla="*/ 193357 w 2787842"/>
              <a:gd name="connsiteY10" fmla="*/ 578256 h 662520"/>
              <a:gd name="connsiteX11" fmla="*/ 233829 w 2787842"/>
              <a:gd name="connsiteY11" fmla="*/ 573672 h 662520"/>
              <a:gd name="connsiteX12" fmla="*/ 297105 w 2787842"/>
              <a:gd name="connsiteY12" fmla="*/ 537246 h 662520"/>
              <a:gd name="connsiteX13" fmla="*/ 320040 w 2787842"/>
              <a:gd name="connsiteY13" fmla="*/ 505568 h 662520"/>
              <a:gd name="connsiteX14" fmla="*/ 337261 w 2787842"/>
              <a:gd name="connsiteY14" fmla="*/ 465022 h 662520"/>
              <a:gd name="connsiteX15" fmla="*/ 348834 w 2787842"/>
              <a:gd name="connsiteY15" fmla="*/ 415691 h 662520"/>
              <a:gd name="connsiteX16" fmla="*/ 354825 w 2787842"/>
              <a:gd name="connsiteY16" fmla="*/ 357657 h 662520"/>
              <a:gd name="connsiteX17" fmla="*/ 325357 w 2787842"/>
              <a:gd name="connsiteY17" fmla="*/ 385098 h 662520"/>
              <a:gd name="connsiteX18" fmla="*/ 289466 w 2787842"/>
              <a:gd name="connsiteY18" fmla="*/ 406117 h 662520"/>
              <a:gd name="connsiteX19" fmla="*/ 247767 w 2787842"/>
              <a:gd name="connsiteY19" fmla="*/ 419568 h 662520"/>
              <a:gd name="connsiteX20" fmla="*/ 200875 w 2787842"/>
              <a:gd name="connsiteY20" fmla="*/ 424306 h 662520"/>
              <a:gd name="connsiteX21" fmla="*/ 153099 w 2787842"/>
              <a:gd name="connsiteY21" fmla="*/ 420031 h 662520"/>
              <a:gd name="connsiteX22" fmla="*/ 110150 w 2787842"/>
              <a:gd name="connsiteY22" fmla="*/ 407348 h 662520"/>
              <a:gd name="connsiteX23" fmla="*/ 72948 w 2787842"/>
              <a:gd name="connsiteY23" fmla="*/ 386472 h 662520"/>
              <a:gd name="connsiteX24" fmla="*/ 42412 w 2787842"/>
              <a:gd name="connsiteY24" fmla="*/ 357614 h 662520"/>
              <a:gd name="connsiteX25" fmla="*/ 19463 w 2787842"/>
              <a:gd name="connsiteY25" fmla="*/ 320990 h 662520"/>
              <a:gd name="connsiteX26" fmla="*/ 5019 w 2787842"/>
              <a:gd name="connsiteY26" fmla="*/ 276814 h 662520"/>
              <a:gd name="connsiteX27" fmla="*/ 0 w 2787842"/>
              <a:gd name="connsiteY27" fmla="*/ 225297 h 662520"/>
              <a:gd name="connsiteX28" fmla="*/ 4447 w 2787842"/>
              <a:gd name="connsiteY28" fmla="*/ 178425 h 662520"/>
              <a:gd name="connsiteX29" fmla="*/ 17453 w 2787842"/>
              <a:gd name="connsiteY29" fmla="*/ 135445 h 662520"/>
              <a:gd name="connsiteX30" fmla="*/ 38511 w 2787842"/>
              <a:gd name="connsiteY30" fmla="*/ 97085 h 662520"/>
              <a:gd name="connsiteX31" fmla="*/ 67116 w 2787842"/>
              <a:gd name="connsiteY31" fmla="*/ 64071 h 662520"/>
              <a:gd name="connsiteX32" fmla="*/ 102760 w 2787842"/>
              <a:gd name="connsiteY32" fmla="*/ 37129 h 662520"/>
              <a:gd name="connsiteX33" fmla="*/ 144939 w 2787842"/>
              <a:gd name="connsiteY33" fmla="*/ 16986 h 662520"/>
              <a:gd name="connsiteX34" fmla="*/ 193146 w 2787842"/>
              <a:gd name="connsiteY34" fmla="*/ 4367 h 662520"/>
              <a:gd name="connsiteX35" fmla="*/ 246875 w 2787842"/>
              <a:gd name="connsiteY35" fmla="*/ 0 h 662520"/>
              <a:gd name="connsiteX36" fmla="*/ 290625 w 2787842"/>
              <a:gd name="connsiteY36" fmla="*/ 2882 h 662520"/>
              <a:gd name="connsiteX37" fmla="*/ 331492 w 2787842"/>
              <a:gd name="connsiteY37" fmla="*/ 11678 h 662520"/>
              <a:gd name="connsiteX38" fmla="*/ 369070 w 2787842"/>
              <a:gd name="connsiteY38" fmla="*/ 26614 h 662520"/>
              <a:gd name="connsiteX39" fmla="*/ 402953 w 2787842"/>
              <a:gd name="connsiteY39" fmla="*/ 47914 h 662520"/>
              <a:gd name="connsiteX40" fmla="*/ 432736 w 2787842"/>
              <a:gd name="connsiteY40" fmla="*/ 75804 h 662520"/>
              <a:gd name="connsiteX41" fmla="*/ 458013 w 2787842"/>
              <a:gd name="connsiteY41" fmla="*/ 110509 h 662520"/>
              <a:gd name="connsiteX42" fmla="*/ 478379 w 2787842"/>
              <a:gd name="connsiteY42" fmla="*/ 152255 h 662520"/>
              <a:gd name="connsiteX43" fmla="*/ 493429 w 2787842"/>
              <a:gd name="connsiteY43" fmla="*/ 201265 h 662520"/>
              <a:gd name="connsiteX44" fmla="*/ 502756 w 2787842"/>
              <a:gd name="connsiteY44" fmla="*/ 257766 h 662520"/>
              <a:gd name="connsiteX45" fmla="*/ 505955 w 2787842"/>
              <a:gd name="connsiteY45" fmla="*/ 321983 h 662520"/>
              <a:gd name="connsiteX46" fmla="*/ 503406 w 2787842"/>
              <a:gd name="connsiteY46" fmla="*/ 376707 h 662520"/>
              <a:gd name="connsiteX47" fmla="*/ 495858 w 2787842"/>
              <a:gd name="connsiteY47" fmla="*/ 427041 h 662520"/>
              <a:gd name="connsiteX48" fmla="*/ 483456 w 2787842"/>
              <a:gd name="connsiteY48" fmla="*/ 472909 h 662520"/>
              <a:gd name="connsiteX49" fmla="*/ 466346 w 2787842"/>
              <a:gd name="connsiteY49" fmla="*/ 514232 h 662520"/>
              <a:gd name="connsiteX50" fmla="*/ 444674 w 2787842"/>
              <a:gd name="connsiteY50" fmla="*/ 550937 h 662520"/>
              <a:gd name="connsiteX51" fmla="*/ 418587 w 2787842"/>
              <a:gd name="connsiteY51" fmla="*/ 582945 h 662520"/>
              <a:gd name="connsiteX52" fmla="*/ 388229 w 2787842"/>
              <a:gd name="connsiteY52" fmla="*/ 610181 h 662520"/>
              <a:gd name="connsiteX53" fmla="*/ 353748 w 2787842"/>
              <a:gd name="connsiteY53" fmla="*/ 632569 h 662520"/>
              <a:gd name="connsiteX54" fmla="*/ 315289 w 2787842"/>
              <a:gd name="connsiteY54" fmla="*/ 650033 h 662520"/>
              <a:gd name="connsiteX55" fmla="*/ 272999 w 2787842"/>
              <a:gd name="connsiteY55" fmla="*/ 662495 h 662520"/>
              <a:gd name="connsiteX56" fmla="*/ 592162 w 2787842"/>
              <a:gd name="connsiteY56" fmla="*/ 662520 h 662520"/>
              <a:gd name="connsiteX57" fmla="*/ 571167 w 2787842"/>
              <a:gd name="connsiteY57" fmla="*/ 658030 h 662520"/>
              <a:gd name="connsiteX58" fmla="*/ 551373 w 2787842"/>
              <a:gd name="connsiteY58" fmla="*/ 652783 h 662520"/>
              <a:gd name="connsiteX59" fmla="*/ 532537 w 2787842"/>
              <a:gd name="connsiteY59" fmla="*/ 646826 h 662520"/>
              <a:gd name="connsiteX60" fmla="*/ 514413 w 2787842"/>
              <a:gd name="connsiteY60" fmla="*/ 640206 h 662520"/>
              <a:gd name="connsiteX61" fmla="*/ 514413 w 2787842"/>
              <a:gd name="connsiteY61" fmla="*/ 516293 h 662520"/>
              <a:gd name="connsiteX62" fmla="*/ 596087 w 2787842"/>
              <a:gd name="connsiteY62" fmla="*/ 516293 h 662520"/>
              <a:gd name="connsiteX63" fmla="*/ 612203 w 2787842"/>
              <a:gd name="connsiteY63" fmla="*/ 539439 h 662520"/>
              <a:gd name="connsiteX64" fmla="*/ 635627 w 2787842"/>
              <a:gd name="connsiteY64" fmla="*/ 559242 h 662520"/>
              <a:gd name="connsiteX65" fmla="*/ 666972 w 2787842"/>
              <a:gd name="connsiteY65" fmla="*/ 573062 h 662520"/>
              <a:gd name="connsiteX66" fmla="*/ 706856 w 2787842"/>
              <a:gd name="connsiteY66" fmla="*/ 578256 h 662520"/>
              <a:gd name="connsiteX67" fmla="*/ 749359 w 2787842"/>
              <a:gd name="connsiteY67" fmla="*/ 571758 h 662520"/>
              <a:gd name="connsiteX68" fmla="*/ 784298 w 2787842"/>
              <a:gd name="connsiteY68" fmla="*/ 552322 h 662520"/>
              <a:gd name="connsiteX69" fmla="*/ 807972 w 2787842"/>
              <a:gd name="connsiteY69" fmla="*/ 520038 h 662520"/>
              <a:gd name="connsiteX70" fmla="*/ 816686 w 2787842"/>
              <a:gd name="connsiteY70" fmla="*/ 474992 h 662520"/>
              <a:gd name="connsiteX71" fmla="*/ 809424 w 2787842"/>
              <a:gd name="connsiteY71" fmla="*/ 430240 h 662520"/>
              <a:gd name="connsiteX72" fmla="*/ 787466 w 2787842"/>
              <a:gd name="connsiteY72" fmla="*/ 398602 h 662520"/>
              <a:gd name="connsiteX73" fmla="*/ 750549 w 2787842"/>
              <a:gd name="connsiteY73" fmla="*/ 379812 h 662520"/>
              <a:gd name="connsiteX74" fmla="*/ 698411 w 2787842"/>
              <a:gd name="connsiteY74" fmla="*/ 373608 h 662520"/>
              <a:gd name="connsiteX75" fmla="*/ 649592 w 2787842"/>
              <a:gd name="connsiteY75" fmla="*/ 373608 h 662520"/>
              <a:gd name="connsiteX76" fmla="*/ 649592 w 2787842"/>
              <a:gd name="connsiteY76" fmla="*/ 286308 h 662520"/>
              <a:gd name="connsiteX77" fmla="*/ 690892 w 2787842"/>
              <a:gd name="connsiteY77" fmla="*/ 286308 h 662520"/>
              <a:gd name="connsiteX78" fmla="*/ 744563 w 2787842"/>
              <a:gd name="connsiteY78" fmla="*/ 280133 h 662520"/>
              <a:gd name="connsiteX79" fmla="*/ 783007 w 2787842"/>
              <a:gd name="connsiteY79" fmla="*/ 261550 h 662520"/>
              <a:gd name="connsiteX80" fmla="*/ 806137 w 2787842"/>
              <a:gd name="connsiteY80" fmla="*/ 230469 h 662520"/>
              <a:gd name="connsiteX81" fmla="*/ 813866 w 2787842"/>
              <a:gd name="connsiteY81" fmla="*/ 186804 h 662520"/>
              <a:gd name="connsiteX82" fmla="*/ 808513 w 2787842"/>
              <a:gd name="connsiteY82" fmla="*/ 149115 h 662520"/>
              <a:gd name="connsiteX83" fmla="*/ 792160 w 2787842"/>
              <a:gd name="connsiteY83" fmla="*/ 121104 h 662520"/>
              <a:gd name="connsiteX84" fmla="*/ 764365 w 2787842"/>
              <a:gd name="connsiteY84" fmla="*/ 103651 h 662520"/>
              <a:gd name="connsiteX85" fmla="*/ 724687 w 2787842"/>
              <a:gd name="connsiteY85" fmla="*/ 97637 h 662520"/>
              <a:gd name="connsiteX86" fmla="*/ 687243 w 2787842"/>
              <a:gd name="connsiteY86" fmla="*/ 102374 h 662520"/>
              <a:gd name="connsiteX87" fmla="*/ 657456 w 2787842"/>
              <a:gd name="connsiteY87" fmla="*/ 115117 h 662520"/>
              <a:gd name="connsiteX88" fmla="*/ 634533 w 2787842"/>
              <a:gd name="connsiteY88" fmla="*/ 133668 h 662520"/>
              <a:gd name="connsiteX89" fmla="*/ 617677 w 2787842"/>
              <a:gd name="connsiteY89" fmla="*/ 155828 h 662520"/>
              <a:gd name="connsiteX90" fmla="*/ 539775 w 2787842"/>
              <a:gd name="connsiteY90" fmla="*/ 155828 h 662520"/>
              <a:gd name="connsiteX91" fmla="*/ 539775 w 2787842"/>
              <a:gd name="connsiteY91" fmla="*/ 33807 h 662520"/>
              <a:gd name="connsiteX92" fmla="*/ 584006 w 2787842"/>
              <a:gd name="connsiteY92" fmla="*/ 19813 h 662520"/>
              <a:gd name="connsiteX93" fmla="*/ 631056 w 2787842"/>
              <a:gd name="connsiteY93" fmla="*/ 9159 h 662520"/>
              <a:gd name="connsiteX94" fmla="*/ 681278 w 2787842"/>
              <a:gd name="connsiteY94" fmla="*/ 2378 h 662520"/>
              <a:gd name="connsiteX95" fmla="*/ 735025 w 2787842"/>
              <a:gd name="connsiteY95" fmla="*/ 0 h 662520"/>
              <a:gd name="connsiteX96" fmla="*/ 790395 w 2787842"/>
              <a:gd name="connsiteY96" fmla="*/ 3158 h 662520"/>
              <a:gd name="connsiteX97" fmla="*/ 838689 w 2787842"/>
              <a:gd name="connsiteY97" fmla="*/ 12853 h 662520"/>
              <a:gd name="connsiteX98" fmla="*/ 879380 w 2787842"/>
              <a:gd name="connsiteY98" fmla="*/ 29412 h 662520"/>
              <a:gd name="connsiteX99" fmla="*/ 911943 w 2787842"/>
              <a:gd name="connsiteY99" fmla="*/ 53163 h 662520"/>
              <a:gd name="connsiteX100" fmla="*/ 935853 w 2787842"/>
              <a:gd name="connsiteY100" fmla="*/ 84435 h 662520"/>
              <a:gd name="connsiteX101" fmla="*/ 950584 w 2787842"/>
              <a:gd name="connsiteY101" fmla="*/ 123555 h 662520"/>
              <a:gd name="connsiteX102" fmla="*/ 955611 w 2787842"/>
              <a:gd name="connsiteY102" fmla="*/ 170853 h 662520"/>
              <a:gd name="connsiteX103" fmla="*/ 949453 w 2787842"/>
              <a:gd name="connsiteY103" fmla="*/ 219568 h 662520"/>
              <a:gd name="connsiteX104" fmla="*/ 931581 w 2787842"/>
              <a:gd name="connsiteY104" fmla="*/ 258234 h 662520"/>
              <a:gd name="connsiteX105" fmla="*/ 902895 w 2787842"/>
              <a:gd name="connsiteY105" fmla="*/ 287843 h 662520"/>
              <a:gd name="connsiteX106" fmla="*/ 864296 w 2787842"/>
              <a:gd name="connsiteY106" fmla="*/ 309388 h 662520"/>
              <a:gd name="connsiteX107" fmla="*/ 816686 w 2787842"/>
              <a:gd name="connsiteY107" fmla="*/ 323862 h 662520"/>
              <a:gd name="connsiteX108" fmla="*/ 816686 w 2787842"/>
              <a:gd name="connsiteY108" fmla="*/ 327609 h 662520"/>
              <a:gd name="connsiteX109" fmla="*/ 870681 w 2787842"/>
              <a:gd name="connsiteY109" fmla="*/ 340566 h 662520"/>
              <a:gd name="connsiteX110" fmla="*/ 912283 w 2787842"/>
              <a:gd name="connsiteY110" fmla="*/ 362534 h 662520"/>
              <a:gd name="connsiteX111" fmla="*/ 941719 w 2787842"/>
              <a:gd name="connsiteY111" fmla="*/ 393513 h 662520"/>
              <a:gd name="connsiteX112" fmla="*/ 959215 w 2787842"/>
              <a:gd name="connsiteY112" fmla="*/ 433502 h 662520"/>
              <a:gd name="connsiteX113" fmla="*/ 964996 w 2787842"/>
              <a:gd name="connsiteY113" fmla="*/ 482498 h 662520"/>
              <a:gd name="connsiteX114" fmla="*/ 959936 w 2787842"/>
              <a:gd name="connsiteY114" fmla="*/ 527743 h 662520"/>
              <a:gd name="connsiteX115" fmla="*/ 944659 w 2787842"/>
              <a:gd name="connsiteY115" fmla="*/ 567021 h 662520"/>
              <a:gd name="connsiteX116" fmla="*/ 920122 w 2787842"/>
              <a:gd name="connsiteY116" fmla="*/ 600232 h 662520"/>
              <a:gd name="connsiteX117" fmla="*/ 887285 w 2787842"/>
              <a:gd name="connsiteY117" fmla="*/ 627278 h 662520"/>
              <a:gd name="connsiteX118" fmla="*/ 847106 w 2787842"/>
              <a:gd name="connsiteY118" fmla="*/ 648061 h 662520"/>
              <a:gd name="connsiteX119" fmla="*/ 800544 w 2787842"/>
              <a:gd name="connsiteY119" fmla="*/ 662482 h 662520"/>
              <a:gd name="connsiteX120" fmla="*/ 1360843 w 2787842"/>
              <a:gd name="connsiteY120" fmla="*/ 662495 h 662520"/>
              <a:gd name="connsiteX121" fmla="*/ 1322871 w 2787842"/>
              <a:gd name="connsiteY121" fmla="*/ 649352 h 662520"/>
              <a:gd name="connsiteX122" fmla="*/ 1287296 w 2787842"/>
              <a:gd name="connsiteY122" fmla="*/ 630560 h 662520"/>
              <a:gd name="connsiteX123" fmla="*/ 1254670 w 2787842"/>
              <a:gd name="connsiteY123" fmla="*/ 606062 h 662520"/>
              <a:gd name="connsiteX124" fmla="*/ 1225546 w 2787842"/>
              <a:gd name="connsiteY124" fmla="*/ 575802 h 662520"/>
              <a:gd name="connsiteX125" fmla="*/ 1200477 w 2787842"/>
              <a:gd name="connsiteY125" fmla="*/ 539722 h 662520"/>
              <a:gd name="connsiteX126" fmla="*/ 1180016 w 2787842"/>
              <a:gd name="connsiteY126" fmla="*/ 497766 h 662520"/>
              <a:gd name="connsiteX127" fmla="*/ 1164717 w 2787842"/>
              <a:gd name="connsiteY127" fmla="*/ 449876 h 662520"/>
              <a:gd name="connsiteX128" fmla="*/ 1155131 w 2787842"/>
              <a:gd name="connsiteY128" fmla="*/ 395995 h 662520"/>
              <a:gd name="connsiteX129" fmla="*/ 1151813 w 2787842"/>
              <a:gd name="connsiteY129" fmla="*/ 336067 h 662520"/>
              <a:gd name="connsiteX130" fmla="*/ 1155053 w 2787842"/>
              <a:gd name="connsiteY130" fmla="*/ 276826 h 662520"/>
              <a:gd name="connsiteX131" fmla="*/ 1164415 w 2787842"/>
              <a:gd name="connsiteY131" fmla="*/ 223488 h 662520"/>
              <a:gd name="connsiteX132" fmla="*/ 1179368 w 2787842"/>
              <a:gd name="connsiteY132" fmla="*/ 175997 h 662520"/>
              <a:gd name="connsiteX133" fmla="*/ 1199377 w 2787842"/>
              <a:gd name="connsiteY133" fmla="*/ 134299 h 662520"/>
              <a:gd name="connsiteX134" fmla="*/ 1223910 w 2787842"/>
              <a:gd name="connsiteY134" fmla="*/ 98339 h 662520"/>
              <a:gd name="connsiteX135" fmla="*/ 1252434 w 2787842"/>
              <a:gd name="connsiteY135" fmla="*/ 68062 h 662520"/>
              <a:gd name="connsiteX136" fmla="*/ 1284414 w 2787842"/>
              <a:gd name="connsiteY136" fmla="*/ 43413 h 662520"/>
              <a:gd name="connsiteX137" fmla="*/ 1319318 w 2787842"/>
              <a:gd name="connsiteY137" fmla="*/ 24337 h 662520"/>
              <a:gd name="connsiteX138" fmla="*/ 1356613 w 2787842"/>
              <a:gd name="connsiteY138" fmla="*/ 10780 h 662520"/>
              <a:gd name="connsiteX139" fmla="*/ 1395766 w 2787842"/>
              <a:gd name="connsiteY139" fmla="*/ 2685 h 662520"/>
              <a:gd name="connsiteX140" fmla="*/ 1436243 w 2787842"/>
              <a:gd name="connsiteY140" fmla="*/ 0 h 662520"/>
              <a:gd name="connsiteX141" fmla="*/ 1476722 w 2787842"/>
              <a:gd name="connsiteY141" fmla="*/ 2685 h 662520"/>
              <a:gd name="connsiteX142" fmla="*/ 1515876 w 2787842"/>
              <a:gd name="connsiteY142" fmla="*/ 10780 h 662520"/>
              <a:gd name="connsiteX143" fmla="*/ 1553172 w 2787842"/>
              <a:gd name="connsiteY143" fmla="*/ 24337 h 662520"/>
              <a:gd name="connsiteX144" fmla="*/ 1588076 w 2787842"/>
              <a:gd name="connsiteY144" fmla="*/ 43413 h 662520"/>
              <a:gd name="connsiteX145" fmla="*/ 1620056 w 2787842"/>
              <a:gd name="connsiteY145" fmla="*/ 68062 h 662520"/>
              <a:gd name="connsiteX146" fmla="*/ 1648579 w 2787842"/>
              <a:gd name="connsiteY146" fmla="*/ 98339 h 662520"/>
              <a:gd name="connsiteX147" fmla="*/ 1673111 w 2787842"/>
              <a:gd name="connsiteY147" fmla="*/ 134299 h 662520"/>
              <a:gd name="connsiteX148" fmla="*/ 1693119 w 2787842"/>
              <a:gd name="connsiteY148" fmla="*/ 175997 h 662520"/>
              <a:gd name="connsiteX149" fmla="*/ 1708071 w 2787842"/>
              <a:gd name="connsiteY149" fmla="*/ 223488 h 662520"/>
              <a:gd name="connsiteX150" fmla="*/ 1717433 w 2787842"/>
              <a:gd name="connsiteY150" fmla="*/ 276826 h 662520"/>
              <a:gd name="connsiteX151" fmla="*/ 1720672 w 2787842"/>
              <a:gd name="connsiteY151" fmla="*/ 336067 h 662520"/>
              <a:gd name="connsiteX152" fmla="*/ 1717354 w 2787842"/>
              <a:gd name="connsiteY152" fmla="*/ 395995 h 662520"/>
              <a:gd name="connsiteX153" fmla="*/ 1707768 w 2787842"/>
              <a:gd name="connsiteY153" fmla="*/ 449876 h 662520"/>
              <a:gd name="connsiteX154" fmla="*/ 1692469 w 2787842"/>
              <a:gd name="connsiteY154" fmla="*/ 497766 h 662520"/>
              <a:gd name="connsiteX155" fmla="*/ 1672008 w 2787842"/>
              <a:gd name="connsiteY155" fmla="*/ 539722 h 662520"/>
              <a:gd name="connsiteX156" fmla="*/ 1646939 w 2787842"/>
              <a:gd name="connsiteY156" fmla="*/ 575802 h 662520"/>
              <a:gd name="connsiteX157" fmla="*/ 1617815 w 2787842"/>
              <a:gd name="connsiteY157" fmla="*/ 606062 h 662520"/>
              <a:gd name="connsiteX158" fmla="*/ 1585189 w 2787842"/>
              <a:gd name="connsiteY158" fmla="*/ 630560 h 662520"/>
              <a:gd name="connsiteX159" fmla="*/ 1549614 w 2787842"/>
              <a:gd name="connsiteY159" fmla="*/ 649352 h 662520"/>
              <a:gd name="connsiteX160" fmla="*/ 1511642 w 2787842"/>
              <a:gd name="connsiteY160" fmla="*/ 662495 h 662520"/>
              <a:gd name="connsiteX161" fmla="*/ 1943430 w 2787842"/>
              <a:gd name="connsiteY161" fmla="*/ 662495 h 662520"/>
              <a:gd name="connsiteX162" fmla="*/ 1905459 w 2787842"/>
              <a:gd name="connsiteY162" fmla="*/ 649348 h 662520"/>
              <a:gd name="connsiteX163" fmla="*/ 1869885 w 2787842"/>
              <a:gd name="connsiteY163" fmla="*/ 630555 h 662520"/>
              <a:gd name="connsiteX164" fmla="*/ 1837261 w 2787842"/>
              <a:gd name="connsiteY164" fmla="*/ 606057 h 662520"/>
              <a:gd name="connsiteX165" fmla="*/ 1808138 w 2787842"/>
              <a:gd name="connsiteY165" fmla="*/ 575797 h 662520"/>
              <a:gd name="connsiteX166" fmla="*/ 1783072 w 2787842"/>
              <a:gd name="connsiteY166" fmla="*/ 539718 h 662520"/>
              <a:gd name="connsiteX167" fmla="*/ 1762613 w 2787842"/>
              <a:gd name="connsiteY167" fmla="*/ 497763 h 662520"/>
              <a:gd name="connsiteX168" fmla="*/ 1747315 w 2787842"/>
              <a:gd name="connsiteY168" fmla="*/ 449874 h 662520"/>
              <a:gd name="connsiteX169" fmla="*/ 1737731 w 2787842"/>
              <a:gd name="connsiteY169" fmla="*/ 395995 h 662520"/>
              <a:gd name="connsiteX170" fmla="*/ 1734413 w 2787842"/>
              <a:gd name="connsiteY170" fmla="*/ 336067 h 662520"/>
              <a:gd name="connsiteX171" fmla="*/ 1737652 w 2787842"/>
              <a:gd name="connsiteY171" fmla="*/ 276826 h 662520"/>
              <a:gd name="connsiteX172" fmla="*/ 1747014 w 2787842"/>
              <a:gd name="connsiteY172" fmla="*/ 223488 h 662520"/>
              <a:gd name="connsiteX173" fmla="*/ 1761965 w 2787842"/>
              <a:gd name="connsiteY173" fmla="*/ 175997 h 662520"/>
              <a:gd name="connsiteX174" fmla="*/ 1781973 w 2787842"/>
              <a:gd name="connsiteY174" fmla="*/ 134299 h 662520"/>
              <a:gd name="connsiteX175" fmla="*/ 1806505 w 2787842"/>
              <a:gd name="connsiteY175" fmla="*/ 98339 h 662520"/>
              <a:gd name="connsiteX176" fmla="*/ 1835026 w 2787842"/>
              <a:gd name="connsiteY176" fmla="*/ 68062 h 662520"/>
              <a:gd name="connsiteX177" fmla="*/ 1867005 w 2787842"/>
              <a:gd name="connsiteY177" fmla="*/ 43413 h 662520"/>
              <a:gd name="connsiteX178" fmla="*/ 1901908 w 2787842"/>
              <a:gd name="connsiteY178" fmla="*/ 24337 h 662520"/>
              <a:gd name="connsiteX179" fmla="*/ 1939202 w 2787842"/>
              <a:gd name="connsiteY179" fmla="*/ 10780 h 662520"/>
              <a:gd name="connsiteX180" fmla="*/ 1978353 w 2787842"/>
              <a:gd name="connsiteY180" fmla="*/ 2685 h 662520"/>
              <a:gd name="connsiteX181" fmla="*/ 2018830 w 2787842"/>
              <a:gd name="connsiteY181" fmla="*/ 0 h 662520"/>
              <a:gd name="connsiteX182" fmla="*/ 2059309 w 2787842"/>
              <a:gd name="connsiteY182" fmla="*/ 2685 h 662520"/>
              <a:gd name="connsiteX183" fmla="*/ 2098463 w 2787842"/>
              <a:gd name="connsiteY183" fmla="*/ 10780 h 662520"/>
              <a:gd name="connsiteX184" fmla="*/ 2135759 w 2787842"/>
              <a:gd name="connsiteY184" fmla="*/ 24337 h 662520"/>
              <a:gd name="connsiteX185" fmla="*/ 2170664 w 2787842"/>
              <a:gd name="connsiteY185" fmla="*/ 43413 h 662520"/>
              <a:gd name="connsiteX186" fmla="*/ 2202644 w 2787842"/>
              <a:gd name="connsiteY186" fmla="*/ 68062 h 662520"/>
              <a:gd name="connsiteX187" fmla="*/ 2231166 w 2787842"/>
              <a:gd name="connsiteY187" fmla="*/ 98339 h 662520"/>
              <a:gd name="connsiteX188" fmla="*/ 2255698 w 2787842"/>
              <a:gd name="connsiteY188" fmla="*/ 134299 h 662520"/>
              <a:gd name="connsiteX189" fmla="*/ 2275706 w 2787842"/>
              <a:gd name="connsiteY189" fmla="*/ 175997 h 662520"/>
              <a:gd name="connsiteX190" fmla="*/ 2290658 w 2787842"/>
              <a:gd name="connsiteY190" fmla="*/ 223488 h 662520"/>
              <a:gd name="connsiteX191" fmla="*/ 2300020 w 2787842"/>
              <a:gd name="connsiteY191" fmla="*/ 276826 h 662520"/>
              <a:gd name="connsiteX192" fmla="*/ 2303259 w 2787842"/>
              <a:gd name="connsiteY192" fmla="*/ 336067 h 662520"/>
              <a:gd name="connsiteX193" fmla="*/ 2299941 w 2787842"/>
              <a:gd name="connsiteY193" fmla="*/ 395991 h 662520"/>
              <a:gd name="connsiteX194" fmla="*/ 2290357 w 2787842"/>
              <a:gd name="connsiteY194" fmla="*/ 449869 h 662520"/>
              <a:gd name="connsiteX195" fmla="*/ 2275059 w 2787842"/>
              <a:gd name="connsiteY195" fmla="*/ 497757 h 662520"/>
              <a:gd name="connsiteX196" fmla="*/ 2254600 w 2787842"/>
              <a:gd name="connsiteY196" fmla="*/ 539713 h 662520"/>
              <a:gd name="connsiteX197" fmla="*/ 2229533 w 2787842"/>
              <a:gd name="connsiteY197" fmla="*/ 575793 h 662520"/>
              <a:gd name="connsiteX198" fmla="*/ 2200411 w 2787842"/>
              <a:gd name="connsiteY198" fmla="*/ 606054 h 662520"/>
              <a:gd name="connsiteX199" fmla="*/ 2167787 w 2787842"/>
              <a:gd name="connsiteY199" fmla="*/ 630553 h 662520"/>
              <a:gd name="connsiteX200" fmla="*/ 2132213 w 2787842"/>
              <a:gd name="connsiteY200" fmla="*/ 649348 h 662520"/>
              <a:gd name="connsiteX201" fmla="*/ 2094242 w 2787842"/>
              <a:gd name="connsiteY201" fmla="*/ 662495 h 662520"/>
              <a:gd name="connsiteX202" fmla="*/ 2528582 w 2787842"/>
              <a:gd name="connsiteY202" fmla="*/ 662482 h 662520"/>
              <a:gd name="connsiteX203" fmla="*/ 2490620 w 2787842"/>
              <a:gd name="connsiteY203" fmla="*/ 649332 h 662520"/>
              <a:gd name="connsiteX204" fmla="*/ 2455053 w 2787842"/>
              <a:gd name="connsiteY204" fmla="*/ 630534 h 662520"/>
              <a:gd name="connsiteX205" fmla="*/ 2422435 w 2787842"/>
              <a:gd name="connsiteY205" fmla="*/ 606033 h 662520"/>
              <a:gd name="connsiteX206" fmla="*/ 2393318 w 2787842"/>
              <a:gd name="connsiteY206" fmla="*/ 575772 h 662520"/>
              <a:gd name="connsiteX207" fmla="*/ 2368257 w 2787842"/>
              <a:gd name="connsiteY207" fmla="*/ 539693 h 662520"/>
              <a:gd name="connsiteX208" fmla="*/ 2347803 w 2787842"/>
              <a:gd name="connsiteY208" fmla="*/ 497740 h 662520"/>
              <a:gd name="connsiteX209" fmla="*/ 2332510 w 2787842"/>
              <a:gd name="connsiteY209" fmla="*/ 449856 h 662520"/>
              <a:gd name="connsiteX210" fmla="*/ 2322930 w 2787842"/>
              <a:gd name="connsiteY210" fmla="*/ 395984 h 662520"/>
              <a:gd name="connsiteX211" fmla="*/ 2319616 w 2787842"/>
              <a:gd name="connsiteY211" fmla="*/ 336067 h 662520"/>
              <a:gd name="connsiteX212" fmla="*/ 2322855 w 2787842"/>
              <a:gd name="connsiteY212" fmla="*/ 276826 h 662520"/>
              <a:gd name="connsiteX213" fmla="*/ 2332217 w 2787842"/>
              <a:gd name="connsiteY213" fmla="*/ 223488 h 662520"/>
              <a:gd name="connsiteX214" fmla="*/ 2347169 w 2787842"/>
              <a:gd name="connsiteY214" fmla="*/ 175997 h 662520"/>
              <a:gd name="connsiteX215" fmla="*/ 2367177 w 2787842"/>
              <a:gd name="connsiteY215" fmla="*/ 134299 h 662520"/>
              <a:gd name="connsiteX216" fmla="*/ 2391708 w 2787842"/>
              <a:gd name="connsiteY216" fmla="*/ 98339 h 662520"/>
              <a:gd name="connsiteX217" fmla="*/ 2420230 w 2787842"/>
              <a:gd name="connsiteY217" fmla="*/ 68062 h 662520"/>
              <a:gd name="connsiteX218" fmla="*/ 2452208 w 2787842"/>
              <a:gd name="connsiteY218" fmla="*/ 43413 h 662520"/>
              <a:gd name="connsiteX219" fmla="*/ 2487111 w 2787842"/>
              <a:gd name="connsiteY219" fmla="*/ 24337 h 662520"/>
              <a:gd name="connsiteX220" fmla="*/ 2524405 w 2787842"/>
              <a:gd name="connsiteY220" fmla="*/ 10780 h 662520"/>
              <a:gd name="connsiteX221" fmla="*/ 2563557 w 2787842"/>
              <a:gd name="connsiteY221" fmla="*/ 2685 h 662520"/>
              <a:gd name="connsiteX222" fmla="*/ 2604033 w 2787842"/>
              <a:gd name="connsiteY222" fmla="*/ 0 h 662520"/>
              <a:gd name="connsiteX223" fmla="*/ 2644510 w 2787842"/>
              <a:gd name="connsiteY223" fmla="*/ 2685 h 662520"/>
              <a:gd name="connsiteX224" fmla="*/ 2683662 w 2787842"/>
              <a:gd name="connsiteY224" fmla="*/ 10780 h 662520"/>
              <a:gd name="connsiteX225" fmla="*/ 2720957 w 2787842"/>
              <a:gd name="connsiteY225" fmla="*/ 24337 h 662520"/>
              <a:gd name="connsiteX226" fmla="*/ 2755861 w 2787842"/>
              <a:gd name="connsiteY226" fmla="*/ 43413 h 662520"/>
              <a:gd name="connsiteX227" fmla="*/ 2787842 w 2787842"/>
              <a:gd name="connsiteY227" fmla="*/ 68062 h 662520"/>
              <a:gd name="connsiteX0" fmla="*/ 74231 w 2755861"/>
              <a:gd name="connsiteY0" fmla="*/ 662482 h 662520"/>
              <a:gd name="connsiteX1" fmla="*/ 60344 w 2755861"/>
              <a:gd name="connsiteY1" fmla="*/ 659582 h 662520"/>
              <a:gd name="connsiteX2" fmla="*/ 47517 w 2755861"/>
              <a:gd name="connsiteY2" fmla="*/ 656437 h 662520"/>
              <a:gd name="connsiteX3" fmla="*/ 35823 w 2755861"/>
              <a:gd name="connsiteY3" fmla="*/ 653092 h 662520"/>
              <a:gd name="connsiteX4" fmla="*/ 25336 w 2755861"/>
              <a:gd name="connsiteY4" fmla="*/ 649592 h 662520"/>
              <a:gd name="connsiteX5" fmla="*/ 25336 w 2755861"/>
              <a:gd name="connsiteY5" fmla="*/ 533196 h 662520"/>
              <a:gd name="connsiteX6" fmla="*/ 104190 w 2755861"/>
              <a:gd name="connsiteY6" fmla="*/ 533196 h 662520"/>
              <a:gd name="connsiteX7" fmla="*/ 116931 w 2755861"/>
              <a:gd name="connsiteY7" fmla="*/ 550133 h 662520"/>
              <a:gd name="connsiteX8" fmla="*/ 135043 w 2755861"/>
              <a:gd name="connsiteY8" fmla="*/ 564522 h 662520"/>
              <a:gd name="connsiteX9" fmla="*/ 160020 w 2755861"/>
              <a:gd name="connsiteY9" fmla="*/ 574514 h 662520"/>
              <a:gd name="connsiteX10" fmla="*/ 193357 w 2755861"/>
              <a:gd name="connsiteY10" fmla="*/ 578256 h 662520"/>
              <a:gd name="connsiteX11" fmla="*/ 233829 w 2755861"/>
              <a:gd name="connsiteY11" fmla="*/ 573672 h 662520"/>
              <a:gd name="connsiteX12" fmla="*/ 297105 w 2755861"/>
              <a:gd name="connsiteY12" fmla="*/ 537246 h 662520"/>
              <a:gd name="connsiteX13" fmla="*/ 320040 w 2755861"/>
              <a:gd name="connsiteY13" fmla="*/ 505568 h 662520"/>
              <a:gd name="connsiteX14" fmla="*/ 337261 w 2755861"/>
              <a:gd name="connsiteY14" fmla="*/ 465022 h 662520"/>
              <a:gd name="connsiteX15" fmla="*/ 348834 w 2755861"/>
              <a:gd name="connsiteY15" fmla="*/ 415691 h 662520"/>
              <a:gd name="connsiteX16" fmla="*/ 354825 w 2755861"/>
              <a:gd name="connsiteY16" fmla="*/ 357657 h 662520"/>
              <a:gd name="connsiteX17" fmla="*/ 325357 w 2755861"/>
              <a:gd name="connsiteY17" fmla="*/ 385098 h 662520"/>
              <a:gd name="connsiteX18" fmla="*/ 289466 w 2755861"/>
              <a:gd name="connsiteY18" fmla="*/ 406117 h 662520"/>
              <a:gd name="connsiteX19" fmla="*/ 247767 w 2755861"/>
              <a:gd name="connsiteY19" fmla="*/ 419568 h 662520"/>
              <a:gd name="connsiteX20" fmla="*/ 200875 w 2755861"/>
              <a:gd name="connsiteY20" fmla="*/ 424306 h 662520"/>
              <a:gd name="connsiteX21" fmla="*/ 153099 w 2755861"/>
              <a:gd name="connsiteY21" fmla="*/ 420031 h 662520"/>
              <a:gd name="connsiteX22" fmla="*/ 110150 w 2755861"/>
              <a:gd name="connsiteY22" fmla="*/ 407348 h 662520"/>
              <a:gd name="connsiteX23" fmla="*/ 72948 w 2755861"/>
              <a:gd name="connsiteY23" fmla="*/ 386472 h 662520"/>
              <a:gd name="connsiteX24" fmla="*/ 42412 w 2755861"/>
              <a:gd name="connsiteY24" fmla="*/ 357614 h 662520"/>
              <a:gd name="connsiteX25" fmla="*/ 19463 w 2755861"/>
              <a:gd name="connsiteY25" fmla="*/ 320990 h 662520"/>
              <a:gd name="connsiteX26" fmla="*/ 5019 w 2755861"/>
              <a:gd name="connsiteY26" fmla="*/ 276814 h 662520"/>
              <a:gd name="connsiteX27" fmla="*/ 0 w 2755861"/>
              <a:gd name="connsiteY27" fmla="*/ 225297 h 662520"/>
              <a:gd name="connsiteX28" fmla="*/ 4447 w 2755861"/>
              <a:gd name="connsiteY28" fmla="*/ 178425 h 662520"/>
              <a:gd name="connsiteX29" fmla="*/ 17453 w 2755861"/>
              <a:gd name="connsiteY29" fmla="*/ 135445 h 662520"/>
              <a:gd name="connsiteX30" fmla="*/ 38511 w 2755861"/>
              <a:gd name="connsiteY30" fmla="*/ 97085 h 662520"/>
              <a:gd name="connsiteX31" fmla="*/ 67116 w 2755861"/>
              <a:gd name="connsiteY31" fmla="*/ 64071 h 662520"/>
              <a:gd name="connsiteX32" fmla="*/ 102760 w 2755861"/>
              <a:gd name="connsiteY32" fmla="*/ 37129 h 662520"/>
              <a:gd name="connsiteX33" fmla="*/ 144939 w 2755861"/>
              <a:gd name="connsiteY33" fmla="*/ 16986 h 662520"/>
              <a:gd name="connsiteX34" fmla="*/ 193146 w 2755861"/>
              <a:gd name="connsiteY34" fmla="*/ 4367 h 662520"/>
              <a:gd name="connsiteX35" fmla="*/ 246875 w 2755861"/>
              <a:gd name="connsiteY35" fmla="*/ 0 h 662520"/>
              <a:gd name="connsiteX36" fmla="*/ 290625 w 2755861"/>
              <a:gd name="connsiteY36" fmla="*/ 2882 h 662520"/>
              <a:gd name="connsiteX37" fmla="*/ 331492 w 2755861"/>
              <a:gd name="connsiteY37" fmla="*/ 11678 h 662520"/>
              <a:gd name="connsiteX38" fmla="*/ 369070 w 2755861"/>
              <a:gd name="connsiteY38" fmla="*/ 26614 h 662520"/>
              <a:gd name="connsiteX39" fmla="*/ 402953 w 2755861"/>
              <a:gd name="connsiteY39" fmla="*/ 47914 h 662520"/>
              <a:gd name="connsiteX40" fmla="*/ 432736 w 2755861"/>
              <a:gd name="connsiteY40" fmla="*/ 75804 h 662520"/>
              <a:gd name="connsiteX41" fmla="*/ 458013 w 2755861"/>
              <a:gd name="connsiteY41" fmla="*/ 110509 h 662520"/>
              <a:gd name="connsiteX42" fmla="*/ 478379 w 2755861"/>
              <a:gd name="connsiteY42" fmla="*/ 152255 h 662520"/>
              <a:gd name="connsiteX43" fmla="*/ 493429 w 2755861"/>
              <a:gd name="connsiteY43" fmla="*/ 201265 h 662520"/>
              <a:gd name="connsiteX44" fmla="*/ 502756 w 2755861"/>
              <a:gd name="connsiteY44" fmla="*/ 257766 h 662520"/>
              <a:gd name="connsiteX45" fmla="*/ 505955 w 2755861"/>
              <a:gd name="connsiteY45" fmla="*/ 321983 h 662520"/>
              <a:gd name="connsiteX46" fmla="*/ 503406 w 2755861"/>
              <a:gd name="connsiteY46" fmla="*/ 376707 h 662520"/>
              <a:gd name="connsiteX47" fmla="*/ 495858 w 2755861"/>
              <a:gd name="connsiteY47" fmla="*/ 427041 h 662520"/>
              <a:gd name="connsiteX48" fmla="*/ 483456 w 2755861"/>
              <a:gd name="connsiteY48" fmla="*/ 472909 h 662520"/>
              <a:gd name="connsiteX49" fmla="*/ 466346 w 2755861"/>
              <a:gd name="connsiteY49" fmla="*/ 514232 h 662520"/>
              <a:gd name="connsiteX50" fmla="*/ 444674 w 2755861"/>
              <a:gd name="connsiteY50" fmla="*/ 550937 h 662520"/>
              <a:gd name="connsiteX51" fmla="*/ 418587 w 2755861"/>
              <a:gd name="connsiteY51" fmla="*/ 582945 h 662520"/>
              <a:gd name="connsiteX52" fmla="*/ 388229 w 2755861"/>
              <a:gd name="connsiteY52" fmla="*/ 610181 h 662520"/>
              <a:gd name="connsiteX53" fmla="*/ 353748 w 2755861"/>
              <a:gd name="connsiteY53" fmla="*/ 632569 h 662520"/>
              <a:gd name="connsiteX54" fmla="*/ 315289 w 2755861"/>
              <a:gd name="connsiteY54" fmla="*/ 650033 h 662520"/>
              <a:gd name="connsiteX55" fmla="*/ 272999 w 2755861"/>
              <a:gd name="connsiteY55" fmla="*/ 662495 h 662520"/>
              <a:gd name="connsiteX56" fmla="*/ 592162 w 2755861"/>
              <a:gd name="connsiteY56" fmla="*/ 662520 h 662520"/>
              <a:gd name="connsiteX57" fmla="*/ 571167 w 2755861"/>
              <a:gd name="connsiteY57" fmla="*/ 658030 h 662520"/>
              <a:gd name="connsiteX58" fmla="*/ 551373 w 2755861"/>
              <a:gd name="connsiteY58" fmla="*/ 652783 h 662520"/>
              <a:gd name="connsiteX59" fmla="*/ 532537 w 2755861"/>
              <a:gd name="connsiteY59" fmla="*/ 646826 h 662520"/>
              <a:gd name="connsiteX60" fmla="*/ 514413 w 2755861"/>
              <a:gd name="connsiteY60" fmla="*/ 640206 h 662520"/>
              <a:gd name="connsiteX61" fmla="*/ 514413 w 2755861"/>
              <a:gd name="connsiteY61" fmla="*/ 516293 h 662520"/>
              <a:gd name="connsiteX62" fmla="*/ 596087 w 2755861"/>
              <a:gd name="connsiteY62" fmla="*/ 516293 h 662520"/>
              <a:gd name="connsiteX63" fmla="*/ 612203 w 2755861"/>
              <a:gd name="connsiteY63" fmla="*/ 539439 h 662520"/>
              <a:gd name="connsiteX64" fmla="*/ 635627 w 2755861"/>
              <a:gd name="connsiteY64" fmla="*/ 559242 h 662520"/>
              <a:gd name="connsiteX65" fmla="*/ 666972 w 2755861"/>
              <a:gd name="connsiteY65" fmla="*/ 573062 h 662520"/>
              <a:gd name="connsiteX66" fmla="*/ 706856 w 2755861"/>
              <a:gd name="connsiteY66" fmla="*/ 578256 h 662520"/>
              <a:gd name="connsiteX67" fmla="*/ 749359 w 2755861"/>
              <a:gd name="connsiteY67" fmla="*/ 571758 h 662520"/>
              <a:gd name="connsiteX68" fmla="*/ 784298 w 2755861"/>
              <a:gd name="connsiteY68" fmla="*/ 552322 h 662520"/>
              <a:gd name="connsiteX69" fmla="*/ 807972 w 2755861"/>
              <a:gd name="connsiteY69" fmla="*/ 520038 h 662520"/>
              <a:gd name="connsiteX70" fmla="*/ 816686 w 2755861"/>
              <a:gd name="connsiteY70" fmla="*/ 474992 h 662520"/>
              <a:gd name="connsiteX71" fmla="*/ 809424 w 2755861"/>
              <a:gd name="connsiteY71" fmla="*/ 430240 h 662520"/>
              <a:gd name="connsiteX72" fmla="*/ 787466 w 2755861"/>
              <a:gd name="connsiteY72" fmla="*/ 398602 h 662520"/>
              <a:gd name="connsiteX73" fmla="*/ 750549 w 2755861"/>
              <a:gd name="connsiteY73" fmla="*/ 379812 h 662520"/>
              <a:gd name="connsiteX74" fmla="*/ 698411 w 2755861"/>
              <a:gd name="connsiteY74" fmla="*/ 373608 h 662520"/>
              <a:gd name="connsiteX75" fmla="*/ 649592 w 2755861"/>
              <a:gd name="connsiteY75" fmla="*/ 373608 h 662520"/>
              <a:gd name="connsiteX76" fmla="*/ 649592 w 2755861"/>
              <a:gd name="connsiteY76" fmla="*/ 286308 h 662520"/>
              <a:gd name="connsiteX77" fmla="*/ 690892 w 2755861"/>
              <a:gd name="connsiteY77" fmla="*/ 286308 h 662520"/>
              <a:gd name="connsiteX78" fmla="*/ 744563 w 2755861"/>
              <a:gd name="connsiteY78" fmla="*/ 280133 h 662520"/>
              <a:gd name="connsiteX79" fmla="*/ 783007 w 2755861"/>
              <a:gd name="connsiteY79" fmla="*/ 261550 h 662520"/>
              <a:gd name="connsiteX80" fmla="*/ 806137 w 2755861"/>
              <a:gd name="connsiteY80" fmla="*/ 230469 h 662520"/>
              <a:gd name="connsiteX81" fmla="*/ 813866 w 2755861"/>
              <a:gd name="connsiteY81" fmla="*/ 186804 h 662520"/>
              <a:gd name="connsiteX82" fmla="*/ 808513 w 2755861"/>
              <a:gd name="connsiteY82" fmla="*/ 149115 h 662520"/>
              <a:gd name="connsiteX83" fmla="*/ 792160 w 2755861"/>
              <a:gd name="connsiteY83" fmla="*/ 121104 h 662520"/>
              <a:gd name="connsiteX84" fmla="*/ 764365 w 2755861"/>
              <a:gd name="connsiteY84" fmla="*/ 103651 h 662520"/>
              <a:gd name="connsiteX85" fmla="*/ 724687 w 2755861"/>
              <a:gd name="connsiteY85" fmla="*/ 97637 h 662520"/>
              <a:gd name="connsiteX86" fmla="*/ 687243 w 2755861"/>
              <a:gd name="connsiteY86" fmla="*/ 102374 h 662520"/>
              <a:gd name="connsiteX87" fmla="*/ 657456 w 2755861"/>
              <a:gd name="connsiteY87" fmla="*/ 115117 h 662520"/>
              <a:gd name="connsiteX88" fmla="*/ 634533 w 2755861"/>
              <a:gd name="connsiteY88" fmla="*/ 133668 h 662520"/>
              <a:gd name="connsiteX89" fmla="*/ 617677 w 2755861"/>
              <a:gd name="connsiteY89" fmla="*/ 155828 h 662520"/>
              <a:gd name="connsiteX90" fmla="*/ 539775 w 2755861"/>
              <a:gd name="connsiteY90" fmla="*/ 155828 h 662520"/>
              <a:gd name="connsiteX91" fmla="*/ 539775 w 2755861"/>
              <a:gd name="connsiteY91" fmla="*/ 33807 h 662520"/>
              <a:gd name="connsiteX92" fmla="*/ 584006 w 2755861"/>
              <a:gd name="connsiteY92" fmla="*/ 19813 h 662520"/>
              <a:gd name="connsiteX93" fmla="*/ 631056 w 2755861"/>
              <a:gd name="connsiteY93" fmla="*/ 9159 h 662520"/>
              <a:gd name="connsiteX94" fmla="*/ 681278 w 2755861"/>
              <a:gd name="connsiteY94" fmla="*/ 2378 h 662520"/>
              <a:gd name="connsiteX95" fmla="*/ 735025 w 2755861"/>
              <a:gd name="connsiteY95" fmla="*/ 0 h 662520"/>
              <a:gd name="connsiteX96" fmla="*/ 790395 w 2755861"/>
              <a:gd name="connsiteY96" fmla="*/ 3158 h 662520"/>
              <a:gd name="connsiteX97" fmla="*/ 838689 w 2755861"/>
              <a:gd name="connsiteY97" fmla="*/ 12853 h 662520"/>
              <a:gd name="connsiteX98" fmla="*/ 879380 w 2755861"/>
              <a:gd name="connsiteY98" fmla="*/ 29412 h 662520"/>
              <a:gd name="connsiteX99" fmla="*/ 911943 w 2755861"/>
              <a:gd name="connsiteY99" fmla="*/ 53163 h 662520"/>
              <a:gd name="connsiteX100" fmla="*/ 935853 w 2755861"/>
              <a:gd name="connsiteY100" fmla="*/ 84435 h 662520"/>
              <a:gd name="connsiteX101" fmla="*/ 950584 w 2755861"/>
              <a:gd name="connsiteY101" fmla="*/ 123555 h 662520"/>
              <a:gd name="connsiteX102" fmla="*/ 955611 w 2755861"/>
              <a:gd name="connsiteY102" fmla="*/ 170853 h 662520"/>
              <a:gd name="connsiteX103" fmla="*/ 949453 w 2755861"/>
              <a:gd name="connsiteY103" fmla="*/ 219568 h 662520"/>
              <a:gd name="connsiteX104" fmla="*/ 931581 w 2755861"/>
              <a:gd name="connsiteY104" fmla="*/ 258234 h 662520"/>
              <a:gd name="connsiteX105" fmla="*/ 902895 w 2755861"/>
              <a:gd name="connsiteY105" fmla="*/ 287843 h 662520"/>
              <a:gd name="connsiteX106" fmla="*/ 864296 w 2755861"/>
              <a:gd name="connsiteY106" fmla="*/ 309388 h 662520"/>
              <a:gd name="connsiteX107" fmla="*/ 816686 w 2755861"/>
              <a:gd name="connsiteY107" fmla="*/ 323862 h 662520"/>
              <a:gd name="connsiteX108" fmla="*/ 816686 w 2755861"/>
              <a:gd name="connsiteY108" fmla="*/ 327609 h 662520"/>
              <a:gd name="connsiteX109" fmla="*/ 870681 w 2755861"/>
              <a:gd name="connsiteY109" fmla="*/ 340566 h 662520"/>
              <a:gd name="connsiteX110" fmla="*/ 912283 w 2755861"/>
              <a:gd name="connsiteY110" fmla="*/ 362534 h 662520"/>
              <a:gd name="connsiteX111" fmla="*/ 941719 w 2755861"/>
              <a:gd name="connsiteY111" fmla="*/ 393513 h 662520"/>
              <a:gd name="connsiteX112" fmla="*/ 959215 w 2755861"/>
              <a:gd name="connsiteY112" fmla="*/ 433502 h 662520"/>
              <a:gd name="connsiteX113" fmla="*/ 964996 w 2755861"/>
              <a:gd name="connsiteY113" fmla="*/ 482498 h 662520"/>
              <a:gd name="connsiteX114" fmla="*/ 959936 w 2755861"/>
              <a:gd name="connsiteY114" fmla="*/ 527743 h 662520"/>
              <a:gd name="connsiteX115" fmla="*/ 944659 w 2755861"/>
              <a:gd name="connsiteY115" fmla="*/ 567021 h 662520"/>
              <a:gd name="connsiteX116" fmla="*/ 920122 w 2755861"/>
              <a:gd name="connsiteY116" fmla="*/ 600232 h 662520"/>
              <a:gd name="connsiteX117" fmla="*/ 887285 w 2755861"/>
              <a:gd name="connsiteY117" fmla="*/ 627278 h 662520"/>
              <a:gd name="connsiteX118" fmla="*/ 847106 w 2755861"/>
              <a:gd name="connsiteY118" fmla="*/ 648061 h 662520"/>
              <a:gd name="connsiteX119" fmla="*/ 800544 w 2755861"/>
              <a:gd name="connsiteY119" fmla="*/ 662482 h 662520"/>
              <a:gd name="connsiteX120" fmla="*/ 1360843 w 2755861"/>
              <a:gd name="connsiteY120" fmla="*/ 662495 h 662520"/>
              <a:gd name="connsiteX121" fmla="*/ 1322871 w 2755861"/>
              <a:gd name="connsiteY121" fmla="*/ 649352 h 662520"/>
              <a:gd name="connsiteX122" fmla="*/ 1287296 w 2755861"/>
              <a:gd name="connsiteY122" fmla="*/ 630560 h 662520"/>
              <a:gd name="connsiteX123" fmla="*/ 1254670 w 2755861"/>
              <a:gd name="connsiteY123" fmla="*/ 606062 h 662520"/>
              <a:gd name="connsiteX124" fmla="*/ 1225546 w 2755861"/>
              <a:gd name="connsiteY124" fmla="*/ 575802 h 662520"/>
              <a:gd name="connsiteX125" fmla="*/ 1200477 w 2755861"/>
              <a:gd name="connsiteY125" fmla="*/ 539722 h 662520"/>
              <a:gd name="connsiteX126" fmla="*/ 1180016 w 2755861"/>
              <a:gd name="connsiteY126" fmla="*/ 497766 h 662520"/>
              <a:gd name="connsiteX127" fmla="*/ 1164717 w 2755861"/>
              <a:gd name="connsiteY127" fmla="*/ 449876 h 662520"/>
              <a:gd name="connsiteX128" fmla="*/ 1155131 w 2755861"/>
              <a:gd name="connsiteY128" fmla="*/ 395995 h 662520"/>
              <a:gd name="connsiteX129" fmla="*/ 1151813 w 2755861"/>
              <a:gd name="connsiteY129" fmla="*/ 336067 h 662520"/>
              <a:gd name="connsiteX130" fmla="*/ 1155053 w 2755861"/>
              <a:gd name="connsiteY130" fmla="*/ 276826 h 662520"/>
              <a:gd name="connsiteX131" fmla="*/ 1164415 w 2755861"/>
              <a:gd name="connsiteY131" fmla="*/ 223488 h 662520"/>
              <a:gd name="connsiteX132" fmla="*/ 1179368 w 2755861"/>
              <a:gd name="connsiteY132" fmla="*/ 175997 h 662520"/>
              <a:gd name="connsiteX133" fmla="*/ 1199377 w 2755861"/>
              <a:gd name="connsiteY133" fmla="*/ 134299 h 662520"/>
              <a:gd name="connsiteX134" fmla="*/ 1223910 w 2755861"/>
              <a:gd name="connsiteY134" fmla="*/ 98339 h 662520"/>
              <a:gd name="connsiteX135" fmla="*/ 1252434 w 2755861"/>
              <a:gd name="connsiteY135" fmla="*/ 68062 h 662520"/>
              <a:gd name="connsiteX136" fmla="*/ 1284414 w 2755861"/>
              <a:gd name="connsiteY136" fmla="*/ 43413 h 662520"/>
              <a:gd name="connsiteX137" fmla="*/ 1319318 w 2755861"/>
              <a:gd name="connsiteY137" fmla="*/ 24337 h 662520"/>
              <a:gd name="connsiteX138" fmla="*/ 1356613 w 2755861"/>
              <a:gd name="connsiteY138" fmla="*/ 10780 h 662520"/>
              <a:gd name="connsiteX139" fmla="*/ 1395766 w 2755861"/>
              <a:gd name="connsiteY139" fmla="*/ 2685 h 662520"/>
              <a:gd name="connsiteX140" fmla="*/ 1436243 w 2755861"/>
              <a:gd name="connsiteY140" fmla="*/ 0 h 662520"/>
              <a:gd name="connsiteX141" fmla="*/ 1476722 w 2755861"/>
              <a:gd name="connsiteY141" fmla="*/ 2685 h 662520"/>
              <a:gd name="connsiteX142" fmla="*/ 1515876 w 2755861"/>
              <a:gd name="connsiteY142" fmla="*/ 10780 h 662520"/>
              <a:gd name="connsiteX143" fmla="*/ 1553172 w 2755861"/>
              <a:gd name="connsiteY143" fmla="*/ 24337 h 662520"/>
              <a:gd name="connsiteX144" fmla="*/ 1588076 w 2755861"/>
              <a:gd name="connsiteY144" fmla="*/ 43413 h 662520"/>
              <a:gd name="connsiteX145" fmla="*/ 1620056 w 2755861"/>
              <a:gd name="connsiteY145" fmla="*/ 68062 h 662520"/>
              <a:gd name="connsiteX146" fmla="*/ 1648579 w 2755861"/>
              <a:gd name="connsiteY146" fmla="*/ 98339 h 662520"/>
              <a:gd name="connsiteX147" fmla="*/ 1673111 w 2755861"/>
              <a:gd name="connsiteY147" fmla="*/ 134299 h 662520"/>
              <a:gd name="connsiteX148" fmla="*/ 1693119 w 2755861"/>
              <a:gd name="connsiteY148" fmla="*/ 175997 h 662520"/>
              <a:gd name="connsiteX149" fmla="*/ 1708071 w 2755861"/>
              <a:gd name="connsiteY149" fmla="*/ 223488 h 662520"/>
              <a:gd name="connsiteX150" fmla="*/ 1717433 w 2755861"/>
              <a:gd name="connsiteY150" fmla="*/ 276826 h 662520"/>
              <a:gd name="connsiteX151" fmla="*/ 1720672 w 2755861"/>
              <a:gd name="connsiteY151" fmla="*/ 336067 h 662520"/>
              <a:gd name="connsiteX152" fmla="*/ 1717354 w 2755861"/>
              <a:gd name="connsiteY152" fmla="*/ 395995 h 662520"/>
              <a:gd name="connsiteX153" fmla="*/ 1707768 w 2755861"/>
              <a:gd name="connsiteY153" fmla="*/ 449876 h 662520"/>
              <a:gd name="connsiteX154" fmla="*/ 1692469 w 2755861"/>
              <a:gd name="connsiteY154" fmla="*/ 497766 h 662520"/>
              <a:gd name="connsiteX155" fmla="*/ 1672008 w 2755861"/>
              <a:gd name="connsiteY155" fmla="*/ 539722 h 662520"/>
              <a:gd name="connsiteX156" fmla="*/ 1646939 w 2755861"/>
              <a:gd name="connsiteY156" fmla="*/ 575802 h 662520"/>
              <a:gd name="connsiteX157" fmla="*/ 1617815 w 2755861"/>
              <a:gd name="connsiteY157" fmla="*/ 606062 h 662520"/>
              <a:gd name="connsiteX158" fmla="*/ 1585189 w 2755861"/>
              <a:gd name="connsiteY158" fmla="*/ 630560 h 662520"/>
              <a:gd name="connsiteX159" fmla="*/ 1549614 w 2755861"/>
              <a:gd name="connsiteY159" fmla="*/ 649352 h 662520"/>
              <a:gd name="connsiteX160" fmla="*/ 1511642 w 2755861"/>
              <a:gd name="connsiteY160" fmla="*/ 662495 h 662520"/>
              <a:gd name="connsiteX161" fmla="*/ 1943430 w 2755861"/>
              <a:gd name="connsiteY161" fmla="*/ 662495 h 662520"/>
              <a:gd name="connsiteX162" fmla="*/ 1905459 w 2755861"/>
              <a:gd name="connsiteY162" fmla="*/ 649348 h 662520"/>
              <a:gd name="connsiteX163" fmla="*/ 1869885 w 2755861"/>
              <a:gd name="connsiteY163" fmla="*/ 630555 h 662520"/>
              <a:gd name="connsiteX164" fmla="*/ 1837261 w 2755861"/>
              <a:gd name="connsiteY164" fmla="*/ 606057 h 662520"/>
              <a:gd name="connsiteX165" fmla="*/ 1808138 w 2755861"/>
              <a:gd name="connsiteY165" fmla="*/ 575797 h 662520"/>
              <a:gd name="connsiteX166" fmla="*/ 1783072 w 2755861"/>
              <a:gd name="connsiteY166" fmla="*/ 539718 h 662520"/>
              <a:gd name="connsiteX167" fmla="*/ 1762613 w 2755861"/>
              <a:gd name="connsiteY167" fmla="*/ 497763 h 662520"/>
              <a:gd name="connsiteX168" fmla="*/ 1747315 w 2755861"/>
              <a:gd name="connsiteY168" fmla="*/ 449874 h 662520"/>
              <a:gd name="connsiteX169" fmla="*/ 1737731 w 2755861"/>
              <a:gd name="connsiteY169" fmla="*/ 395995 h 662520"/>
              <a:gd name="connsiteX170" fmla="*/ 1734413 w 2755861"/>
              <a:gd name="connsiteY170" fmla="*/ 336067 h 662520"/>
              <a:gd name="connsiteX171" fmla="*/ 1737652 w 2755861"/>
              <a:gd name="connsiteY171" fmla="*/ 276826 h 662520"/>
              <a:gd name="connsiteX172" fmla="*/ 1747014 w 2755861"/>
              <a:gd name="connsiteY172" fmla="*/ 223488 h 662520"/>
              <a:gd name="connsiteX173" fmla="*/ 1761965 w 2755861"/>
              <a:gd name="connsiteY173" fmla="*/ 175997 h 662520"/>
              <a:gd name="connsiteX174" fmla="*/ 1781973 w 2755861"/>
              <a:gd name="connsiteY174" fmla="*/ 134299 h 662520"/>
              <a:gd name="connsiteX175" fmla="*/ 1806505 w 2755861"/>
              <a:gd name="connsiteY175" fmla="*/ 98339 h 662520"/>
              <a:gd name="connsiteX176" fmla="*/ 1835026 w 2755861"/>
              <a:gd name="connsiteY176" fmla="*/ 68062 h 662520"/>
              <a:gd name="connsiteX177" fmla="*/ 1867005 w 2755861"/>
              <a:gd name="connsiteY177" fmla="*/ 43413 h 662520"/>
              <a:gd name="connsiteX178" fmla="*/ 1901908 w 2755861"/>
              <a:gd name="connsiteY178" fmla="*/ 24337 h 662520"/>
              <a:gd name="connsiteX179" fmla="*/ 1939202 w 2755861"/>
              <a:gd name="connsiteY179" fmla="*/ 10780 h 662520"/>
              <a:gd name="connsiteX180" fmla="*/ 1978353 w 2755861"/>
              <a:gd name="connsiteY180" fmla="*/ 2685 h 662520"/>
              <a:gd name="connsiteX181" fmla="*/ 2018830 w 2755861"/>
              <a:gd name="connsiteY181" fmla="*/ 0 h 662520"/>
              <a:gd name="connsiteX182" fmla="*/ 2059309 w 2755861"/>
              <a:gd name="connsiteY182" fmla="*/ 2685 h 662520"/>
              <a:gd name="connsiteX183" fmla="*/ 2098463 w 2755861"/>
              <a:gd name="connsiteY183" fmla="*/ 10780 h 662520"/>
              <a:gd name="connsiteX184" fmla="*/ 2135759 w 2755861"/>
              <a:gd name="connsiteY184" fmla="*/ 24337 h 662520"/>
              <a:gd name="connsiteX185" fmla="*/ 2170664 w 2755861"/>
              <a:gd name="connsiteY185" fmla="*/ 43413 h 662520"/>
              <a:gd name="connsiteX186" fmla="*/ 2202644 w 2755861"/>
              <a:gd name="connsiteY186" fmla="*/ 68062 h 662520"/>
              <a:gd name="connsiteX187" fmla="*/ 2231166 w 2755861"/>
              <a:gd name="connsiteY187" fmla="*/ 98339 h 662520"/>
              <a:gd name="connsiteX188" fmla="*/ 2255698 w 2755861"/>
              <a:gd name="connsiteY188" fmla="*/ 134299 h 662520"/>
              <a:gd name="connsiteX189" fmla="*/ 2275706 w 2755861"/>
              <a:gd name="connsiteY189" fmla="*/ 175997 h 662520"/>
              <a:gd name="connsiteX190" fmla="*/ 2290658 w 2755861"/>
              <a:gd name="connsiteY190" fmla="*/ 223488 h 662520"/>
              <a:gd name="connsiteX191" fmla="*/ 2300020 w 2755861"/>
              <a:gd name="connsiteY191" fmla="*/ 276826 h 662520"/>
              <a:gd name="connsiteX192" fmla="*/ 2303259 w 2755861"/>
              <a:gd name="connsiteY192" fmla="*/ 336067 h 662520"/>
              <a:gd name="connsiteX193" fmla="*/ 2299941 w 2755861"/>
              <a:gd name="connsiteY193" fmla="*/ 395991 h 662520"/>
              <a:gd name="connsiteX194" fmla="*/ 2290357 w 2755861"/>
              <a:gd name="connsiteY194" fmla="*/ 449869 h 662520"/>
              <a:gd name="connsiteX195" fmla="*/ 2275059 w 2755861"/>
              <a:gd name="connsiteY195" fmla="*/ 497757 h 662520"/>
              <a:gd name="connsiteX196" fmla="*/ 2254600 w 2755861"/>
              <a:gd name="connsiteY196" fmla="*/ 539713 h 662520"/>
              <a:gd name="connsiteX197" fmla="*/ 2229533 w 2755861"/>
              <a:gd name="connsiteY197" fmla="*/ 575793 h 662520"/>
              <a:gd name="connsiteX198" fmla="*/ 2200411 w 2755861"/>
              <a:gd name="connsiteY198" fmla="*/ 606054 h 662520"/>
              <a:gd name="connsiteX199" fmla="*/ 2167787 w 2755861"/>
              <a:gd name="connsiteY199" fmla="*/ 630553 h 662520"/>
              <a:gd name="connsiteX200" fmla="*/ 2132213 w 2755861"/>
              <a:gd name="connsiteY200" fmla="*/ 649348 h 662520"/>
              <a:gd name="connsiteX201" fmla="*/ 2094242 w 2755861"/>
              <a:gd name="connsiteY201" fmla="*/ 662495 h 662520"/>
              <a:gd name="connsiteX202" fmla="*/ 2528582 w 2755861"/>
              <a:gd name="connsiteY202" fmla="*/ 662482 h 662520"/>
              <a:gd name="connsiteX203" fmla="*/ 2490620 w 2755861"/>
              <a:gd name="connsiteY203" fmla="*/ 649332 h 662520"/>
              <a:gd name="connsiteX204" fmla="*/ 2455053 w 2755861"/>
              <a:gd name="connsiteY204" fmla="*/ 630534 h 662520"/>
              <a:gd name="connsiteX205" fmla="*/ 2422435 w 2755861"/>
              <a:gd name="connsiteY205" fmla="*/ 606033 h 662520"/>
              <a:gd name="connsiteX206" fmla="*/ 2393318 w 2755861"/>
              <a:gd name="connsiteY206" fmla="*/ 575772 h 662520"/>
              <a:gd name="connsiteX207" fmla="*/ 2368257 w 2755861"/>
              <a:gd name="connsiteY207" fmla="*/ 539693 h 662520"/>
              <a:gd name="connsiteX208" fmla="*/ 2347803 w 2755861"/>
              <a:gd name="connsiteY208" fmla="*/ 497740 h 662520"/>
              <a:gd name="connsiteX209" fmla="*/ 2332510 w 2755861"/>
              <a:gd name="connsiteY209" fmla="*/ 449856 h 662520"/>
              <a:gd name="connsiteX210" fmla="*/ 2322930 w 2755861"/>
              <a:gd name="connsiteY210" fmla="*/ 395984 h 662520"/>
              <a:gd name="connsiteX211" fmla="*/ 2319616 w 2755861"/>
              <a:gd name="connsiteY211" fmla="*/ 336067 h 662520"/>
              <a:gd name="connsiteX212" fmla="*/ 2322855 w 2755861"/>
              <a:gd name="connsiteY212" fmla="*/ 276826 h 662520"/>
              <a:gd name="connsiteX213" fmla="*/ 2332217 w 2755861"/>
              <a:gd name="connsiteY213" fmla="*/ 223488 h 662520"/>
              <a:gd name="connsiteX214" fmla="*/ 2347169 w 2755861"/>
              <a:gd name="connsiteY214" fmla="*/ 175997 h 662520"/>
              <a:gd name="connsiteX215" fmla="*/ 2367177 w 2755861"/>
              <a:gd name="connsiteY215" fmla="*/ 134299 h 662520"/>
              <a:gd name="connsiteX216" fmla="*/ 2391708 w 2755861"/>
              <a:gd name="connsiteY216" fmla="*/ 98339 h 662520"/>
              <a:gd name="connsiteX217" fmla="*/ 2420230 w 2755861"/>
              <a:gd name="connsiteY217" fmla="*/ 68062 h 662520"/>
              <a:gd name="connsiteX218" fmla="*/ 2452208 w 2755861"/>
              <a:gd name="connsiteY218" fmla="*/ 43413 h 662520"/>
              <a:gd name="connsiteX219" fmla="*/ 2487111 w 2755861"/>
              <a:gd name="connsiteY219" fmla="*/ 24337 h 662520"/>
              <a:gd name="connsiteX220" fmla="*/ 2524405 w 2755861"/>
              <a:gd name="connsiteY220" fmla="*/ 10780 h 662520"/>
              <a:gd name="connsiteX221" fmla="*/ 2563557 w 2755861"/>
              <a:gd name="connsiteY221" fmla="*/ 2685 h 662520"/>
              <a:gd name="connsiteX222" fmla="*/ 2604033 w 2755861"/>
              <a:gd name="connsiteY222" fmla="*/ 0 h 662520"/>
              <a:gd name="connsiteX223" fmla="*/ 2644510 w 2755861"/>
              <a:gd name="connsiteY223" fmla="*/ 2685 h 662520"/>
              <a:gd name="connsiteX224" fmla="*/ 2683662 w 2755861"/>
              <a:gd name="connsiteY224" fmla="*/ 10780 h 662520"/>
              <a:gd name="connsiteX225" fmla="*/ 2720957 w 2755861"/>
              <a:gd name="connsiteY225" fmla="*/ 24337 h 662520"/>
              <a:gd name="connsiteX226" fmla="*/ 2755861 w 2755861"/>
              <a:gd name="connsiteY226" fmla="*/ 43413 h 662520"/>
              <a:gd name="connsiteX0" fmla="*/ 74231 w 2720957"/>
              <a:gd name="connsiteY0" fmla="*/ 662482 h 662520"/>
              <a:gd name="connsiteX1" fmla="*/ 60344 w 2720957"/>
              <a:gd name="connsiteY1" fmla="*/ 659582 h 662520"/>
              <a:gd name="connsiteX2" fmla="*/ 47517 w 2720957"/>
              <a:gd name="connsiteY2" fmla="*/ 656437 h 662520"/>
              <a:gd name="connsiteX3" fmla="*/ 35823 w 2720957"/>
              <a:gd name="connsiteY3" fmla="*/ 653092 h 662520"/>
              <a:gd name="connsiteX4" fmla="*/ 25336 w 2720957"/>
              <a:gd name="connsiteY4" fmla="*/ 649592 h 662520"/>
              <a:gd name="connsiteX5" fmla="*/ 25336 w 2720957"/>
              <a:gd name="connsiteY5" fmla="*/ 533196 h 662520"/>
              <a:gd name="connsiteX6" fmla="*/ 104190 w 2720957"/>
              <a:gd name="connsiteY6" fmla="*/ 533196 h 662520"/>
              <a:gd name="connsiteX7" fmla="*/ 116931 w 2720957"/>
              <a:gd name="connsiteY7" fmla="*/ 550133 h 662520"/>
              <a:gd name="connsiteX8" fmla="*/ 135043 w 2720957"/>
              <a:gd name="connsiteY8" fmla="*/ 564522 h 662520"/>
              <a:gd name="connsiteX9" fmla="*/ 160020 w 2720957"/>
              <a:gd name="connsiteY9" fmla="*/ 574514 h 662520"/>
              <a:gd name="connsiteX10" fmla="*/ 193357 w 2720957"/>
              <a:gd name="connsiteY10" fmla="*/ 578256 h 662520"/>
              <a:gd name="connsiteX11" fmla="*/ 233829 w 2720957"/>
              <a:gd name="connsiteY11" fmla="*/ 573672 h 662520"/>
              <a:gd name="connsiteX12" fmla="*/ 297105 w 2720957"/>
              <a:gd name="connsiteY12" fmla="*/ 537246 h 662520"/>
              <a:gd name="connsiteX13" fmla="*/ 320040 w 2720957"/>
              <a:gd name="connsiteY13" fmla="*/ 505568 h 662520"/>
              <a:gd name="connsiteX14" fmla="*/ 337261 w 2720957"/>
              <a:gd name="connsiteY14" fmla="*/ 465022 h 662520"/>
              <a:gd name="connsiteX15" fmla="*/ 348834 w 2720957"/>
              <a:gd name="connsiteY15" fmla="*/ 415691 h 662520"/>
              <a:gd name="connsiteX16" fmla="*/ 354825 w 2720957"/>
              <a:gd name="connsiteY16" fmla="*/ 357657 h 662520"/>
              <a:gd name="connsiteX17" fmla="*/ 325357 w 2720957"/>
              <a:gd name="connsiteY17" fmla="*/ 385098 h 662520"/>
              <a:gd name="connsiteX18" fmla="*/ 289466 w 2720957"/>
              <a:gd name="connsiteY18" fmla="*/ 406117 h 662520"/>
              <a:gd name="connsiteX19" fmla="*/ 247767 w 2720957"/>
              <a:gd name="connsiteY19" fmla="*/ 419568 h 662520"/>
              <a:gd name="connsiteX20" fmla="*/ 200875 w 2720957"/>
              <a:gd name="connsiteY20" fmla="*/ 424306 h 662520"/>
              <a:gd name="connsiteX21" fmla="*/ 153099 w 2720957"/>
              <a:gd name="connsiteY21" fmla="*/ 420031 h 662520"/>
              <a:gd name="connsiteX22" fmla="*/ 110150 w 2720957"/>
              <a:gd name="connsiteY22" fmla="*/ 407348 h 662520"/>
              <a:gd name="connsiteX23" fmla="*/ 72948 w 2720957"/>
              <a:gd name="connsiteY23" fmla="*/ 386472 h 662520"/>
              <a:gd name="connsiteX24" fmla="*/ 42412 w 2720957"/>
              <a:gd name="connsiteY24" fmla="*/ 357614 h 662520"/>
              <a:gd name="connsiteX25" fmla="*/ 19463 w 2720957"/>
              <a:gd name="connsiteY25" fmla="*/ 320990 h 662520"/>
              <a:gd name="connsiteX26" fmla="*/ 5019 w 2720957"/>
              <a:gd name="connsiteY26" fmla="*/ 276814 h 662520"/>
              <a:gd name="connsiteX27" fmla="*/ 0 w 2720957"/>
              <a:gd name="connsiteY27" fmla="*/ 225297 h 662520"/>
              <a:gd name="connsiteX28" fmla="*/ 4447 w 2720957"/>
              <a:gd name="connsiteY28" fmla="*/ 178425 h 662520"/>
              <a:gd name="connsiteX29" fmla="*/ 17453 w 2720957"/>
              <a:gd name="connsiteY29" fmla="*/ 135445 h 662520"/>
              <a:gd name="connsiteX30" fmla="*/ 38511 w 2720957"/>
              <a:gd name="connsiteY30" fmla="*/ 97085 h 662520"/>
              <a:gd name="connsiteX31" fmla="*/ 67116 w 2720957"/>
              <a:gd name="connsiteY31" fmla="*/ 64071 h 662520"/>
              <a:gd name="connsiteX32" fmla="*/ 102760 w 2720957"/>
              <a:gd name="connsiteY32" fmla="*/ 37129 h 662520"/>
              <a:gd name="connsiteX33" fmla="*/ 144939 w 2720957"/>
              <a:gd name="connsiteY33" fmla="*/ 16986 h 662520"/>
              <a:gd name="connsiteX34" fmla="*/ 193146 w 2720957"/>
              <a:gd name="connsiteY34" fmla="*/ 4367 h 662520"/>
              <a:gd name="connsiteX35" fmla="*/ 246875 w 2720957"/>
              <a:gd name="connsiteY35" fmla="*/ 0 h 662520"/>
              <a:gd name="connsiteX36" fmla="*/ 290625 w 2720957"/>
              <a:gd name="connsiteY36" fmla="*/ 2882 h 662520"/>
              <a:gd name="connsiteX37" fmla="*/ 331492 w 2720957"/>
              <a:gd name="connsiteY37" fmla="*/ 11678 h 662520"/>
              <a:gd name="connsiteX38" fmla="*/ 369070 w 2720957"/>
              <a:gd name="connsiteY38" fmla="*/ 26614 h 662520"/>
              <a:gd name="connsiteX39" fmla="*/ 402953 w 2720957"/>
              <a:gd name="connsiteY39" fmla="*/ 47914 h 662520"/>
              <a:gd name="connsiteX40" fmla="*/ 432736 w 2720957"/>
              <a:gd name="connsiteY40" fmla="*/ 75804 h 662520"/>
              <a:gd name="connsiteX41" fmla="*/ 458013 w 2720957"/>
              <a:gd name="connsiteY41" fmla="*/ 110509 h 662520"/>
              <a:gd name="connsiteX42" fmla="*/ 478379 w 2720957"/>
              <a:gd name="connsiteY42" fmla="*/ 152255 h 662520"/>
              <a:gd name="connsiteX43" fmla="*/ 493429 w 2720957"/>
              <a:gd name="connsiteY43" fmla="*/ 201265 h 662520"/>
              <a:gd name="connsiteX44" fmla="*/ 502756 w 2720957"/>
              <a:gd name="connsiteY44" fmla="*/ 257766 h 662520"/>
              <a:gd name="connsiteX45" fmla="*/ 505955 w 2720957"/>
              <a:gd name="connsiteY45" fmla="*/ 321983 h 662520"/>
              <a:gd name="connsiteX46" fmla="*/ 503406 w 2720957"/>
              <a:gd name="connsiteY46" fmla="*/ 376707 h 662520"/>
              <a:gd name="connsiteX47" fmla="*/ 495858 w 2720957"/>
              <a:gd name="connsiteY47" fmla="*/ 427041 h 662520"/>
              <a:gd name="connsiteX48" fmla="*/ 483456 w 2720957"/>
              <a:gd name="connsiteY48" fmla="*/ 472909 h 662520"/>
              <a:gd name="connsiteX49" fmla="*/ 466346 w 2720957"/>
              <a:gd name="connsiteY49" fmla="*/ 514232 h 662520"/>
              <a:gd name="connsiteX50" fmla="*/ 444674 w 2720957"/>
              <a:gd name="connsiteY50" fmla="*/ 550937 h 662520"/>
              <a:gd name="connsiteX51" fmla="*/ 418587 w 2720957"/>
              <a:gd name="connsiteY51" fmla="*/ 582945 h 662520"/>
              <a:gd name="connsiteX52" fmla="*/ 388229 w 2720957"/>
              <a:gd name="connsiteY52" fmla="*/ 610181 h 662520"/>
              <a:gd name="connsiteX53" fmla="*/ 353748 w 2720957"/>
              <a:gd name="connsiteY53" fmla="*/ 632569 h 662520"/>
              <a:gd name="connsiteX54" fmla="*/ 315289 w 2720957"/>
              <a:gd name="connsiteY54" fmla="*/ 650033 h 662520"/>
              <a:gd name="connsiteX55" fmla="*/ 272999 w 2720957"/>
              <a:gd name="connsiteY55" fmla="*/ 662495 h 662520"/>
              <a:gd name="connsiteX56" fmla="*/ 592162 w 2720957"/>
              <a:gd name="connsiteY56" fmla="*/ 662520 h 662520"/>
              <a:gd name="connsiteX57" fmla="*/ 571167 w 2720957"/>
              <a:gd name="connsiteY57" fmla="*/ 658030 h 662520"/>
              <a:gd name="connsiteX58" fmla="*/ 551373 w 2720957"/>
              <a:gd name="connsiteY58" fmla="*/ 652783 h 662520"/>
              <a:gd name="connsiteX59" fmla="*/ 532537 w 2720957"/>
              <a:gd name="connsiteY59" fmla="*/ 646826 h 662520"/>
              <a:gd name="connsiteX60" fmla="*/ 514413 w 2720957"/>
              <a:gd name="connsiteY60" fmla="*/ 640206 h 662520"/>
              <a:gd name="connsiteX61" fmla="*/ 514413 w 2720957"/>
              <a:gd name="connsiteY61" fmla="*/ 516293 h 662520"/>
              <a:gd name="connsiteX62" fmla="*/ 596087 w 2720957"/>
              <a:gd name="connsiteY62" fmla="*/ 516293 h 662520"/>
              <a:gd name="connsiteX63" fmla="*/ 612203 w 2720957"/>
              <a:gd name="connsiteY63" fmla="*/ 539439 h 662520"/>
              <a:gd name="connsiteX64" fmla="*/ 635627 w 2720957"/>
              <a:gd name="connsiteY64" fmla="*/ 559242 h 662520"/>
              <a:gd name="connsiteX65" fmla="*/ 666972 w 2720957"/>
              <a:gd name="connsiteY65" fmla="*/ 573062 h 662520"/>
              <a:gd name="connsiteX66" fmla="*/ 706856 w 2720957"/>
              <a:gd name="connsiteY66" fmla="*/ 578256 h 662520"/>
              <a:gd name="connsiteX67" fmla="*/ 749359 w 2720957"/>
              <a:gd name="connsiteY67" fmla="*/ 571758 h 662520"/>
              <a:gd name="connsiteX68" fmla="*/ 784298 w 2720957"/>
              <a:gd name="connsiteY68" fmla="*/ 552322 h 662520"/>
              <a:gd name="connsiteX69" fmla="*/ 807972 w 2720957"/>
              <a:gd name="connsiteY69" fmla="*/ 520038 h 662520"/>
              <a:gd name="connsiteX70" fmla="*/ 816686 w 2720957"/>
              <a:gd name="connsiteY70" fmla="*/ 474992 h 662520"/>
              <a:gd name="connsiteX71" fmla="*/ 809424 w 2720957"/>
              <a:gd name="connsiteY71" fmla="*/ 430240 h 662520"/>
              <a:gd name="connsiteX72" fmla="*/ 787466 w 2720957"/>
              <a:gd name="connsiteY72" fmla="*/ 398602 h 662520"/>
              <a:gd name="connsiteX73" fmla="*/ 750549 w 2720957"/>
              <a:gd name="connsiteY73" fmla="*/ 379812 h 662520"/>
              <a:gd name="connsiteX74" fmla="*/ 698411 w 2720957"/>
              <a:gd name="connsiteY74" fmla="*/ 373608 h 662520"/>
              <a:gd name="connsiteX75" fmla="*/ 649592 w 2720957"/>
              <a:gd name="connsiteY75" fmla="*/ 373608 h 662520"/>
              <a:gd name="connsiteX76" fmla="*/ 649592 w 2720957"/>
              <a:gd name="connsiteY76" fmla="*/ 286308 h 662520"/>
              <a:gd name="connsiteX77" fmla="*/ 690892 w 2720957"/>
              <a:gd name="connsiteY77" fmla="*/ 286308 h 662520"/>
              <a:gd name="connsiteX78" fmla="*/ 744563 w 2720957"/>
              <a:gd name="connsiteY78" fmla="*/ 280133 h 662520"/>
              <a:gd name="connsiteX79" fmla="*/ 783007 w 2720957"/>
              <a:gd name="connsiteY79" fmla="*/ 261550 h 662520"/>
              <a:gd name="connsiteX80" fmla="*/ 806137 w 2720957"/>
              <a:gd name="connsiteY80" fmla="*/ 230469 h 662520"/>
              <a:gd name="connsiteX81" fmla="*/ 813866 w 2720957"/>
              <a:gd name="connsiteY81" fmla="*/ 186804 h 662520"/>
              <a:gd name="connsiteX82" fmla="*/ 808513 w 2720957"/>
              <a:gd name="connsiteY82" fmla="*/ 149115 h 662520"/>
              <a:gd name="connsiteX83" fmla="*/ 792160 w 2720957"/>
              <a:gd name="connsiteY83" fmla="*/ 121104 h 662520"/>
              <a:gd name="connsiteX84" fmla="*/ 764365 w 2720957"/>
              <a:gd name="connsiteY84" fmla="*/ 103651 h 662520"/>
              <a:gd name="connsiteX85" fmla="*/ 724687 w 2720957"/>
              <a:gd name="connsiteY85" fmla="*/ 97637 h 662520"/>
              <a:gd name="connsiteX86" fmla="*/ 687243 w 2720957"/>
              <a:gd name="connsiteY86" fmla="*/ 102374 h 662520"/>
              <a:gd name="connsiteX87" fmla="*/ 657456 w 2720957"/>
              <a:gd name="connsiteY87" fmla="*/ 115117 h 662520"/>
              <a:gd name="connsiteX88" fmla="*/ 634533 w 2720957"/>
              <a:gd name="connsiteY88" fmla="*/ 133668 h 662520"/>
              <a:gd name="connsiteX89" fmla="*/ 617677 w 2720957"/>
              <a:gd name="connsiteY89" fmla="*/ 155828 h 662520"/>
              <a:gd name="connsiteX90" fmla="*/ 539775 w 2720957"/>
              <a:gd name="connsiteY90" fmla="*/ 155828 h 662520"/>
              <a:gd name="connsiteX91" fmla="*/ 539775 w 2720957"/>
              <a:gd name="connsiteY91" fmla="*/ 33807 h 662520"/>
              <a:gd name="connsiteX92" fmla="*/ 584006 w 2720957"/>
              <a:gd name="connsiteY92" fmla="*/ 19813 h 662520"/>
              <a:gd name="connsiteX93" fmla="*/ 631056 w 2720957"/>
              <a:gd name="connsiteY93" fmla="*/ 9159 h 662520"/>
              <a:gd name="connsiteX94" fmla="*/ 681278 w 2720957"/>
              <a:gd name="connsiteY94" fmla="*/ 2378 h 662520"/>
              <a:gd name="connsiteX95" fmla="*/ 735025 w 2720957"/>
              <a:gd name="connsiteY95" fmla="*/ 0 h 662520"/>
              <a:gd name="connsiteX96" fmla="*/ 790395 w 2720957"/>
              <a:gd name="connsiteY96" fmla="*/ 3158 h 662520"/>
              <a:gd name="connsiteX97" fmla="*/ 838689 w 2720957"/>
              <a:gd name="connsiteY97" fmla="*/ 12853 h 662520"/>
              <a:gd name="connsiteX98" fmla="*/ 879380 w 2720957"/>
              <a:gd name="connsiteY98" fmla="*/ 29412 h 662520"/>
              <a:gd name="connsiteX99" fmla="*/ 911943 w 2720957"/>
              <a:gd name="connsiteY99" fmla="*/ 53163 h 662520"/>
              <a:gd name="connsiteX100" fmla="*/ 935853 w 2720957"/>
              <a:gd name="connsiteY100" fmla="*/ 84435 h 662520"/>
              <a:gd name="connsiteX101" fmla="*/ 950584 w 2720957"/>
              <a:gd name="connsiteY101" fmla="*/ 123555 h 662520"/>
              <a:gd name="connsiteX102" fmla="*/ 955611 w 2720957"/>
              <a:gd name="connsiteY102" fmla="*/ 170853 h 662520"/>
              <a:gd name="connsiteX103" fmla="*/ 949453 w 2720957"/>
              <a:gd name="connsiteY103" fmla="*/ 219568 h 662520"/>
              <a:gd name="connsiteX104" fmla="*/ 931581 w 2720957"/>
              <a:gd name="connsiteY104" fmla="*/ 258234 h 662520"/>
              <a:gd name="connsiteX105" fmla="*/ 902895 w 2720957"/>
              <a:gd name="connsiteY105" fmla="*/ 287843 h 662520"/>
              <a:gd name="connsiteX106" fmla="*/ 864296 w 2720957"/>
              <a:gd name="connsiteY106" fmla="*/ 309388 h 662520"/>
              <a:gd name="connsiteX107" fmla="*/ 816686 w 2720957"/>
              <a:gd name="connsiteY107" fmla="*/ 323862 h 662520"/>
              <a:gd name="connsiteX108" fmla="*/ 816686 w 2720957"/>
              <a:gd name="connsiteY108" fmla="*/ 327609 h 662520"/>
              <a:gd name="connsiteX109" fmla="*/ 870681 w 2720957"/>
              <a:gd name="connsiteY109" fmla="*/ 340566 h 662520"/>
              <a:gd name="connsiteX110" fmla="*/ 912283 w 2720957"/>
              <a:gd name="connsiteY110" fmla="*/ 362534 h 662520"/>
              <a:gd name="connsiteX111" fmla="*/ 941719 w 2720957"/>
              <a:gd name="connsiteY111" fmla="*/ 393513 h 662520"/>
              <a:gd name="connsiteX112" fmla="*/ 959215 w 2720957"/>
              <a:gd name="connsiteY112" fmla="*/ 433502 h 662520"/>
              <a:gd name="connsiteX113" fmla="*/ 964996 w 2720957"/>
              <a:gd name="connsiteY113" fmla="*/ 482498 h 662520"/>
              <a:gd name="connsiteX114" fmla="*/ 959936 w 2720957"/>
              <a:gd name="connsiteY114" fmla="*/ 527743 h 662520"/>
              <a:gd name="connsiteX115" fmla="*/ 944659 w 2720957"/>
              <a:gd name="connsiteY115" fmla="*/ 567021 h 662520"/>
              <a:gd name="connsiteX116" fmla="*/ 920122 w 2720957"/>
              <a:gd name="connsiteY116" fmla="*/ 600232 h 662520"/>
              <a:gd name="connsiteX117" fmla="*/ 887285 w 2720957"/>
              <a:gd name="connsiteY117" fmla="*/ 627278 h 662520"/>
              <a:gd name="connsiteX118" fmla="*/ 847106 w 2720957"/>
              <a:gd name="connsiteY118" fmla="*/ 648061 h 662520"/>
              <a:gd name="connsiteX119" fmla="*/ 800544 w 2720957"/>
              <a:gd name="connsiteY119" fmla="*/ 662482 h 662520"/>
              <a:gd name="connsiteX120" fmla="*/ 1360843 w 2720957"/>
              <a:gd name="connsiteY120" fmla="*/ 662495 h 662520"/>
              <a:gd name="connsiteX121" fmla="*/ 1322871 w 2720957"/>
              <a:gd name="connsiteY121" fmla="*/ 649352 h 662520"/>
              <a:gd name="connsiteX122" fmla="*/ 1287296 w 2720957"/>
              <a:gd name="connsiteY122" fmla="*/ 630560 h 662520"/>
              <a:gd name="connsiteX123" fmla="*/ 1254670 w 2720957"/>
              <a:gd name="connsiteY123" fmla="*/ 606062 h 662520"/>
              <a:gd name="connsiteX124" fmla="*/ 1225546 w 2720957"/>
              <a:gd name="connsiteY124" fmla="*/ 575802 h 662520"/>
              <a:gd name="connsiteX125" fmla="*/ 1200477 w 2720957"/>
              <a:gd name="connsiteY125" fmla="*/ 539722 h 662520"/>
              <a:gd name="connsiteX126" fmla="*/ 1180016 w 2720957"/>
              <a:gd name="connsiteY126" fmla="*/ 497766 h 662520"/>
              <a:gd name="connsiteX127" fmla="*/ 1164717 w 2720957"/>
              <a:gd name="connsiteY127" fmla="*/ 449876 h 662520"/>
              <a:gd name="connsiteX128" fmla="*/ 1155131 w 2720957"/>
              <a:gd name="connsiteY128" fmla="*/ 395995 h 662520"/>
              <a:gd name="connsiteX129" fmla="*/ 1151813 w 2720957"/>
              <a:gd name="connsiteY129" fmla="*/ 336067 h 662520"/>
              <a:gd name="connsiteX130" fmla="*/ 1155053 w 2720957"/>
              <a:gd name="connsiteY130" fmla="*/ 276826 h 662520"/>
              <a:gd name="connsiteX131" fmla="*/ 1164415 w 2720957"/>
              <a:gd name="connsiteY131" fmla="*/ 223488 h 662520"/>
              <a:gd name="connsiteX132" fmla="*/ 1179368 w 2720957"/>
              <a:gd name="connsiteY132" fmla="*/ 175997 h 662520"/>
              <a:gd name="connsiteX133" fmla="*/ 1199377 w 2720957"/>
              <a:gd name="connsiteY133" fmla="*/ 134299 h 662520"/>
              <a:gd name="connsiteX134" fmla="*/ 1223910 w 2720957"/>
              <a:gd name="connsiteY134" fmla="*/ 98339 h 662520"/>
              <a:gd name="connsiteX135" fmla="*/ 1252434 w 2720957"/>
              <a:gd name="connsiteY135" fmla="*/ 68062 h 662520"/>
              <a:gd name="connsiteX136" fmla="*/ 1284414 w 2720957"/>
              <a:gd name="connsiteY136" fmla="*/ 43413 h 662520"/>
              <a:gd name="connsiteX137" fmla="*/ 1319318 w 2720957"/>
              <a:gd name="connsiteY137" fmla="*/ 24337 h 662520"/>
              <a:gd name="connsiteX138" fmla="*/ 1356613 w 2720957"/>
              <a:gd name="connsiteY138" fmla="*/ 10780 h 662520"/>
              <a:gd name="connsiteX139" fmla="*/ 1395766 w 2720957"/>
              <a:gd name="connsiteY139" fmla="*/ 2685 h 662520"/>
              <a:gd name="connsiteX140" fmla="*/ 1436243 w 2720957"/>
              <a:gd name="connsiteY140" fmla="*/ 0 h 662520"/>
              <a:gd name="connsiteX141" fmla="*/ 1476722 w 2720957"/>
              <a:gd name="connsiteY141" fmla="*/ 2685 h 662520"/>
              <a:gd name="connsiteX142" fmla="*/ 1515876 w 2720957"/>
              <a:gd name="connsiteY142" fmla="*/ 10780 h 662520"/>
              <a:gd name="connsiteX143" fmla="*/ 1553172 w 2720957"/>
              <a:gd name="connsiteY143" fmla="*/ 24337 h 662520"/>
              <a:gd name="connsiteX144" fmla="*/ 1588076 w 2720957"/>
              <a:gd name="connsiteY144" fmla="*/ 43413 h 662520"/>
              <a:gd name="connsiteX145" fmla="*/ 1620056 w 2720957"/>
              <a:gd name="connsiteY145" fmla="*/ 68062 h 662520"/>
              <a:gd name="connsiteX146" fmla="*/ 1648579 w 2720957"/>
              <a:gd name="connsiteY146" fmla="*/ 98339 h 662520"/>
              <a:gd name="connsiteX147" fmla="*/ 1673111 w 2720957"/>
              <a:gd name="connsiteY147" fmla="*/ 134299 h 662520"/>
              <a:gd name="connsiteX148" fmla="*/ 1693119 w 2720957"/>
              <a:gd name="connsiteY148" fmla="*/ 175997 h 662520"/>
              <a:gd name="connsiteX149" fmla="*/ 1708071 w 2720957"/>
              <a:gd name="connsiteY149" fmla="*/ 223488 h 662520"/>
              <a:gd name="connsiteX150" fmla="*/ 1717433 w 2720957"/>
              <a:gd name="connsiteY150" fmla="*/ 276826 h 662520"/>
              <a:gd name="connsiteX151" fmla="*/ 1720672 w 2720957"/>
              <a:gd name="connsiteY151" fmla="*/ 336067 h 662520"/>
              <a:gd name="connsiteX152" fmla="*/ 1717354 w 2720957"/>
              <a:gd name="connsiteY152" fmla="*/ 395995 h 662520"/>
              <a:gd name="connsiteX153" fmla="*/ 1707768 w 2720957"/>
              <a:gd name="connsiteY153" fmla="*/ 449876 h 662520"/>
              <a:gd name="connsiteX154" fmla="*/ 1692469 w 2720957"/>
              <a:gd name="connsiteY154" fmla="*/ 497766 h 662520"/>
              <a:gd name="connsiteX155" fmla="*/ 1672008 w 2720957"/>
              <a:gd name="connsiteY155" fmla="*/ 539722 h 662520"/>
              <a:gd name="connsiteX156" fmla="*/ 1646939 w 2720957"/>
              <a:gd name="connsiteY156" fmla="*/ 575802 h 662520"/>
              <a:gd name="connsiteX157" fmla="*/ 1617815 w 2720957"/>
              <a:gd name="connsiteY157" fmla="*/ 606062 h 662520"/>
              <a:gd name="connsiteX158" fmla="*/ 1585189 w 2720957"/>
              <a:gd name="connsiteY158" fmla="*/ 630560 h 662520"/>
              <a:gd name="connsiteX159" fmla="*/ 1549614 w 2720957"/>
              <a:gd name="connsiteY159" fmla="*/ 649352 h 662520"/>
              <a:gd name="connsiteX160" fmla="*/ 1511642 w 2720957"/>
              <a:gd name="connsiteY160" fmla="*/ 662495 h 662520"/>
              <a:gd name="connsiteX161" fmla="*/ 1943430 w 2720957"/>
              <a:gd name="connsiteY161" fmla="*/ 662495 h 662520"/>
              <a:gd name="connsiteX162" fmla="*/ 1905459 w 2720957"/>
              <a:gd name="connsiteY162" fmla="*/ 649348 h 662520"/>
              <a:gd name="connsiteX163" fmla="*/ 1869885 w 2720957"/>
              <a:gd name="connsiteY163" fmla="*/ 630555 h 662520"/>
              <a:gd name="connsiteX164" fmla="*/ 1837261 w 2720957"/>
              <a:gd name="connsiteY164" fmla="*/ 606057 h 662520"/>
              <a:gd name="connsiteX165" fmla="*/ 1808138 w 2720957"/>
              <a:gd name="connsiteY165" fmla="*/ 575797 h 662520"/>
              <a:gd name="connsiteX166" fmla="*/ 1783072 w 2720957"/>
              <a:gd name="connsiteY166" fmla="*/ 539718 h 662520"/>
              <a:gd name="connsiteX167" fmla="*/ 1762613 w 2720957"/>
              <a:gd name="connsiteY167" fmla="*/ 497763 h 662520"/>
              <a:gd name="connsiteX168" fmla="*/ 1747315 w 2720957"/>
              <a:gd name="connsiteY168" fmla="*/ 449874 h 662520"/>
              <a:gd name="connsiteX169" fmla="*/ 1737731 w 2720957"/>
              <a:gd name="connsiteY169" fmla="*/ 395995 h 662520"/>
              <a:gd name="connsiteX170" fmla="*/ 1734413 w 2720957"/>
              <a:gd name="connsiteY170" fmla="*/ 336067 h 662520"/>
              <a:gd name="connsiteX171" fmla="*/ 1737652 w 2720957"/>
              <a:gd name="connsiteY171" fmla="*/ 276826 h 662520"/>
              <a:gd name="connsiteX172" fmla="*/ 1747014 w 2720957"/>
              <a:gd name="connsiteY172" fmla="*/ 223488 h 662520"/>
              <a:gd name="connsiteX173" fmla="*/ 1761965 w 2720957"/>
              <a:gd name="connsiteY173" fmla="*/ 175997 h 662520"/>
              <a:gd name="connsiteX174" fmla="*/ 1781973 w 2720957"/>
              <a:gd name="connsiteY174" fmla="*/ 134299 h 662520"/>
              <a:gd name="connsiteX175" fmla="*/ 1806505 w 2720957"/>
              <a:gd name="connsiteY175" fmla="*/ 98339 h 662520"/>
              <a:gd name="connsiteX176" fmla="*/ 1835026 w 2720957"/>
              <a:gd name="connsiteY176" fmla="*/ 68062 h 662520"/>
              <a:gd name="connsiteX177" fmla="*/ 1867005 w 2720957"/>
              <a:gd name="connsiteY177" fmla="*/ 43413 h 662520"/>
              <a:gd name="connsiteX178" fmla="*/ 1901908 w 2720957"/>
              <a:gd name="connsiteY178" fmla="*/ 24337 h 662520"/>
              <a:gd name="connsiteX179" fmla="*/ 1939202 w 2720957"/>
              <a:gd name="connsiteY179" fmla="*/ 10780 h 662520"/>
              <a:gd name="connsiteX180" fmla="*/ 1978353 w 2720957"/>
              <a:gd name="connsiteY180" fmla="*/ 2685 h 662520"/>
              <a:gd name="connsiteX181" fmla="*/ 2018830 w 2720957"/>
              <a:gd name="connsiteY181" fmla="*/ 0 h 662520"/>
              <a:gd name="connsiteX182" fmla="*/ 2059309 w 2720957"/>
              <a:gd name="connsiteY182" fmla="*/ 2685 h 662520"/>
              <a:gd name="connsiteX183" fmla="*/ 2098463 w 2720957"/>
              <a:gd name="connsiteY183" fmla="*/ 10780 h 662520"/>
              <a:gd name="connsiteX184" fmla="*/ 2135759 w 2720957"/>
              <a:gd name="connsiteY184" fmla="*/ 24337 h 662520"/>
              <a:gd name="connsiteX185" fmla="*/ 2170664 w 2720957"/>
              <a:gd name="connsiteY185" fmla="*/ 43413 h 662520"/>
              <a:gd name="connsiteX186" fmla="*/ 2202644 w 2720957"/>
              <a:gd name="connsiteY186" fmla="*/ 68062 h 662520"/>
              <a:gd name="connsiteX187" fmla="*/ 2231166 w 2720957"/>
              <a:gd name="connsiteY187" fmla="*/ 98339 h 662520"/>
              <a:gd name="connsiteX188" fmla="*/ 2255698 w 2720957"/>
              <a:gd name="connsiteY188" fmla="*/ 134299 h 662520"/>
              <a:gd name="connsiteX189" fmla="*/ 2275706 w 2720957"/>
              <a:gd name="connsiteY189" fmla="*/ 175997 h 662520"/>
              <a:gd name="connsiteX190" fmla="*/ 2290658 w 2720957"/>
              <a:gd name="connsiteY190" fmla="*/ 223488 h 662520"/>
              <a:gd name="connsiteX191" fmla="*/ 2300020 w 2720957"/>
              <a:gd name="connsiteY191" fmla="*/ 276826 h 662520"/>
              <a:gd name="connsiteX192" fmla="*/ 2303259 w 2720957"/>
              <a:gd name="connsiteY192" fmla="*/ 336067 h 662520"/>
              <a:gd name="connsiteX193" fmla="*/ 2299941 w 2720957"/>
              <a:gd name="connsiteY193" fmla="*/ 395991 h 662520"/>
              <a:gd name="connsiteX194" fmla="*/ 2290357 w 2720957"/>
              <a:gd name="connsiteY194" fmla="*/ 449869 h 662520"/>
              <a:gd name="connsiteX195" fmla="*/ 2275059 w 2720957"/>
              <a:gd name="connsiteY195" fmla="*/ 497757 h 662520"/>
              <a:gd name="connsiteX196" fmla="*/ 2254600 w 2720957"/>
              <a:gd name="connsiteY196" fmla="*/ 539713 h 662520"/>
              <a:gd name="connsiteX197" fmla="*/ 2229533 w 2720957"/>
              <a:gd name="connsiteY197" fmla="*/ 575793 h 662520"/>
              <a:gd name="connsiteX198" fmla="*/ 2200411 w 2720957"/>
              <a:gd name="connsiteY198" fmla="*/ 606054 h 662520"/>
              <a:gd name="connsiteX199" fmla="*/ 2167787 w 2720957"/>
              <a:gd name="connsiteY199" fmla="*/ 630553 h 662520"/>
              <a:gd name="connsiteX200" fmla="*/ 2132213 w 2720957"/>
              <a:gd name="connsiteY200" fmla="*/ 649348 h 662520"/>
              <a:gd name="connsiteX201" fmla="*/ 2094242 w 2720957"/>
              <a:gd name="connsiteY201" fmla="*/ 662495 h 662520"/>
              <a:gd name="connsiteX202" fmla="*/ 2528582 w 2720957"/>
              <a:gd name="connsiteY202" fmla="*/ 662482 h 662520"/>
              <a:gd name="connsiteX203" fmla="*/ 2490620 w 2720957"/>
              <a:gd name="connsiteY203" fmla="*/ 649332 h 662520"/>
              <a:gd name="connsiteX204" fmla="*/ 2455053 w 2720957"/>
              <a:gd name="connsiteY204" fmla="*/ 630534 h 662520"/>
              <a:gd name="connsiteX205" fmla="*/ 2422435 w 2720957"/>
              <a:gd name="connsiteY205" fmla="*/ 606033 h 662520"/>
              <a:gd name="connsiteX206" fmla="*/ 2393318 w 2720957"/>
              <a:gd name="connsiteY206" fmla="*/ 575772 h 662520"/>
              <a:gd name="connsiteX207" fmla="*/ 2368257 w 2720957"/>
              <a:gd name="connsiteY207" fmla="*/ 539693 h 662520"/>
              <a:gd name="connsiteX208" fmla="*/ 2347803 w 2720957"/>
              <a:gd name="connsiteY208" fmla="*/ 497740 h 662520"/>
              <a:gd name="connsiteX209" fmla="*/ 2332510 w 2720957"/>
              <a:gd name="connsiteY209" fmla="*/ 449856 h 662520"/>
              <a:gd name="connsiteX210" fmla="*/ 2322930 w 2720957"/>
              <a:gd name="connsiteY210" fmla="*/ 395984 h 662520"/>
              <a:gd name="connsiteX211" fmla="*/ 2319616 w 2720957"/>
              <a:gd name="connsiteY211" fmla="*/ 336067 h 662520"/>
              <a:gd name="connsiteX212" fmla="*/ 2322855 w 2720957"/>
              <a:gd name="connsiteY212" fmla="*/ 276826 h 662520"/>
              <a:gd name="connsiteX213" fmla="*/ 2332217 w 2720957"/>
              <a:gd name="connsiteY213" fmla="*/ 223488 h 662520"/>
              <a:gd name="connsiteX214" fmla="*/ 2347169 w 2720957"/>
              <a:gd name="connsiteY214" fmla="*/ 175997 h 662520"/>
              <a:gd name="connsiteX215" fmla="*/ 2367177 w 2720957"/>
              <a:gd name="connsiteY215" fmla="*/ 134299 h 662520"/>
              <a:gd name="connsiteX216" fmla="*/ 2391708 w 2720957"/>
              <a:gd name="connsiteY216" fmla="*/ 98339 h 662520"/>
              <a:gd name="connsiteX217" fmla="*/ 2420230 w 2720957"/>
              <a:gd name="connsiteY217" fmla="*/ 68062 h 662520"/>
              <a:gd name="connsiteX218" fmla="*/ 2452208 w 2720957"/>
              <a:gd name="connsiteY218" fmla="*/ 43413 h 662520"/>
              <a:gd name="connsiteX219" fmla="*/ 2487111 w 2720957"/>
              <a:gd name="connsiteY219" fmla="*/ 24337 h 662520"/>
              <a:gd name="connsiteX220" fmla="*/ 2524405 w 2720957"/>
              <a:gd name="connsiteY220" fmla="*/ 10780 h 662520"/>
              <a:gd name="connsiteX221" fmla="*/ 2563557 w 2720957"/>
              <a:gd name="connsiteY221" fmla="*/ 2685 h 662520"/>
              <a:gd name="connsiteX222" fmla="*/ 2604033 w 2720957"/>
              <a:gd name="connsiteY222" fmla="*/ 0 h 662520"/>
              <a:gd name="connsiteX223" fmla="*/ 2644510 w 2720957"/>
              <a:gd name="connsiteY223" fmla="*/ 2685 h 662520"/>
              <a:gd name="connsiteX224" fmla="*/ 2683662 w 2720957"/>
              <a:gd name="connsiteY224" fmla="*/ 10780 h 662520"/>
              <a:gd name="connsiteX225" fmla="*/ 2720957 w 2720957"/>
              <a:gd name="connsiteY225" fmla="*/ 24337 h 662520"/>
              <a:gd name="connsiteX0" fmla="*/ 74231 w 2683662"/>
              <a:gd name="connsiteY0" fmla="*/ 662482 h 662520"/>
              <a:gd name="connsiteX1" fmla="*/ 60344 w 2683662"/>
              <a:gd name="connsiteY1" fmla="*/ 659582 h 662520"/>
              <a:gd name="connsiteX2" fmla="*/ 47517 w 2683662"/>
              <a:gd name="connsiteY2" fmla="*/ 656437 h 662520"/>
              <a:gd name="connsiteX3" fmla="*/ 35823 w 2683662"/>
              <a:gd name="connsiteY3" fmla="*/ 653092 h 662520"/>
              <a:gd name="connsiteX4" fmla="*/ 25336 w 2683662"/>
              <a:gd name="connsiteY4" fmla="*/ 649592 h 662520"/>
              <a:gd name="connsiteX5" fmla="*/ 25336 w 2683662"/>
              <a:gd name="connsiteY5" fmla="*/ 533196 h 662520"/>
              <a:gd name="connsiteX6" fmla="*/ 104190 w 2683662"/>
              <a:gd name="connsiteY6" fmla="*/ 533196 h 662520"/>
              <a:gd name="connsiteX7" fmla="*/ 116931 w 2683662"/>
              <a:gd name="connsiteY7" fmla="*/ 550133 h 662520"/>
              <a:gd name="connsiteX8" fmla="*/ 135043 w 2683662"/>
              <a:gd name="connsiteY8" fmla="*/ 564522 h 662520"/>
              <a:gd name="connsiteX9" fmla="*/ 160020 w 2683662"/>
              <a:gd name="connsiteY9" fmla="*/ 574514 h 662520"/>
              <a:gd name="connsiteX10" fmla="*/ 193357 w 2683662"/>
              <a:gd name="connsiteY10" fmla="*/ 578256 h 662520"/>
              <a:gd name="connsiteX11" fmla="*/ 233829 w 2683662"/>
              <a:gd name="connsiteY11" fmla="*/ 573672 h 662520"/>
              <a:gd name="connsiteX12" fmla="*/ 297105 w 2683662"/>
              <a:gd name="connsiteY12" fmla="*/ 537246 h 662520"/>
              <a:gd name="connsiteX13" fmla="*/ 320040 w 2683662"/>
              <a:gd name="connsiteY13" fmla="*/ 505568 h 662520"/>
              <a:gd name="connsiteX14" fmla="*/ 337261 w 2683662"/>
              <a:gd name="connsiteY14" fmla="*/ 465022 h 662520"/>
              <a:gd name="connsiteX15" fmla="*/ 348834 w 2683662"/>
              <a:gd name="connsiteY15" fmla="*/ 415691 h 662520"/>
              <a:gd name="connsiteX16" fmla="*/ 354825 w 2683662"/>
              <a:gd name="connsiteY16" fmla="*/ 357657 h 662520"/>
              <a:gd name="connsiteX17" fmla="*/ 325357 w 2683662"/>
              <a:gd name="connsiteY17" fmla="*/ 385098 h 662520"/>
              <a:gd name="connsiteX18" fmla="*/ 289466 w 2683662"/>
              <a:gd name="connsiteY18" fmla="*/ 406117 h 662520"/>
              <a:gd name="connsiteX19" fmla="*/ 247767 w 2683662"/>
              <a:gd name="connsiteY19" fmla="*/ 419568 h 662520"/>
              <a:gd name="connsiteX20" fmla="*/ 200875 w 2683662"/>
              <a:gd name="connsiteY20" fmla="*/ 424306 h 662520"/>
              <a:gd name="connsiteX21" fmla="*/ 153099 w 2683662"/>
              <a:gd name="connsiteY21" fmla="*/ 420031 h 662520"/>
              <a:gd name="connsiteX22" fmla="*/ 110150 w 2683662"/>
              <a:gd name="connsiteY22" fmla="*/ 407348 h 662520"/>
              <a:gd name="connsiteX23" fmla="*/ 72948 w 2683662"/>
              <a:gd name="connsiteY23" fmla="*/ 386472 h 662520"/>
              <a:gd name="connsiteX24" fmla="*/ 42412 w 2683662"/>
              <a:gd name="connsiteY24" fmla="*/ 357614 h 662520"/>
              <a:gd name="connsiteX25" fmla="*/ 19463 w 2683662"/>
              <a:gd name="connsiteY25" fmla="*/ 320990 h 662520"/>
              <a:gd name="connsiteX26" fmla="*/ 5019 w 2683662"/>
              <a:gd name="connsiteY26" fmla="*/ 276814 h 662520"/>
              <a:gd name="connsiteX27" fmla="*/ 0 w 2683662"/>
              <a:gd name="connsiteY27" fmla="*/ 225297 h 662520"/>
              <a:gd name="connsiteX28" fmla="*/ 4447 w 2683662"/>
              <a:gd name="connsiteY28" fmla="*/ 178425 h 662520"/>
              <a:gd name="connsiteX29" fmla="*/ 17453 w 2683662"/>
              <a:gd name="connsiteY29" fmla="*/ 135445 h 662520"/>
              <a:gd name="connsiteX30" fmla="*/ 38511 w 2683662"/>
              <a:gd name="connsiteY30" fmla="*/ 97085 h 662520"/>
              <a:gd name="connsiteX31" fmla="*/ 67116 w 2683662"/>
              <a:gd name="connsiteY31" fmla="*/ 64071 h 662520"/>
              <a:gd name="connsiteX32" fmla="*/ 102760 w 2683662"/>
              <a:gd name="connsiteY32" fmla="*/ 37129 h 662520"/>
              <a:gd name="connsiteX33" fmla="*/ 144939 w 2683662"/>
              <a:gd name="connsiteY33" fmla="*/ 16986 h 662520"/>
              <a:gd name="connsiteX34" fmla="*/ 193146 w 2683662"/>
              <a:gd name="connsiteY34" fmla="*/ 4367 h 662520"/>
              <a:gd name="connsiteX35" fmla="*/ 246875 w 2683662"/>
              <a:gd name="connsiteY35" fmla="*/ 0 h 662520"/>
              <a:gd name="connsiteX36" fmla="*/ 290625 w 2683662"/>
              <a:gd name="connsiteY36" fmla="*/ 2882 h 662520"/>
              <a:gd name="connsiteX37" fmla="*/ 331492 w 2683662"/>
              <a:gd name="connsiteY37" fmla="*/ 11678 h 662520"/>
              <a:gd name="connsiteX38" fmla="*/ 369070 w 2683662"/>
              <a:gd name="connsiteY38" fmla="*/ 26614 h 662520"/>
              <a:gd name="connsiteX39" fmla="*/ 402953 w 2683662"/>
              <a:gd name="connsiteY39" fmla="*/ 47914 h 662520"/>
              <a:gd name="connsiteX40" fmla="*/ 432736 w 2683662"/>
              <a:gd name="connsiteY40" fmla="*/ 75804 h 662520"/>
              <a:gd name="connsiteX41" fmla="*/ 458013 w 2683662"/>
              <a:gd name="connsiteY41" fmla="*/ 110509 h 662520"/>
              <a:gd name="connsiteX42" fmla="*/ 478379 w 2683662"/>
              <a:gd name="connsiteY42" fmla="*/ 152255 h 662520"/>
              <a:gd name="connsiteX43" fmla="*/ 493429 w 2683662"/>
              <a:gd name="connsiteY43" fmla="*/ 201265 h 662520"/>
              <a:gd name="connsiteX44" fmla="*/ 502756 w 2683662"/>
              <a:gd name="connsiteY44" fmla="*/ 257766 h 662520"/>
              <a:gd name="connsiteX45" fmla="*/ 505955 w 2683662"/>
              <a:gd name="connsiteY45" fmla="*/ 321983 h 662520"/>
              <a:gd name="connsiteX46" fmla="*/ 503406 w 2683662"/>
              <a:gd name="connsiteY46" fmla="*/ 376707 h 662520"/>
              <a:gd name="connsiteX47" fmla="*/ 495858 w 2683662"/>
              <a:gd name="connsiteY47" fmla="*/ 427041 h 662520"/>
              <a:gd name="connsiteX48" fmla="*/ 483456 w 2683662"/>
              <a:gd name="connsiteY48" fmla="*/ 472909 h 662520"/>
              <a:gd name="connsiteX49" fmla="*/ 466346 w 2683662"/>
              <a:gd name="connsiteY49" fmla="*/ 514232 h 662520"/>
              <a:gd name="connsiteX50" fmla="*/ 444674 w 2683662"/>
              <a:gd name="connsiteY50" fmla="*/ 550937 h 662520"/>
              <a:gd name="connsiteX51" fmla="*/ 418587 w 2683662"/>
              <a:gd name="connsiteY51" fmla="*/ 582945 h 662520"/>
              <a:gd name="connsiteX52" fmla="*/ 388229 w 2683662"/>
              <a:gd name="connsiteY52" fmla="*/ 610181 h 662520"/>
              <a:gd name="connsiteX53" fmla="*/ 353748 w 2683662"/>
              <a:gd name="connsiteY53" fmla="*/ 632569 h 662520"/>
              <a:gd name="connsiteX54" fmla="*/ 315289 w 2683662"/>
              <a:gd name="connsiteY54" fmla="*/ 650033 h 662520"/>
              <a:gd name="connsiteX55" fmla="*/ 272999 w 2683662"/>
              <a:gd name="connsiteY55" fmla="*/ 662495 h 662520"/>
              <a:gd name="connsiteX56" fmla="*/ 592162 w 2683662"/>
              <a:gd name="connsiteY56" fmla="*/ 662520 h 662520"/>
              <a:gd name="connsiteX57" fmla="*/ 571167 w 2683662"/>
              <a:gd name="connsiteY57" fmla="*/ 658030 h 662520"/>
              <a:gd name="connsiteX58" fmla="*/ 551373 w 2683662"/>
              <a:gd name="connsiteY58" fmla="*/ 652783 h 662520"/>
              <a:gd name="connsiteX59" fmla="*/ 532537 w 2683662"/>
              <a:gd name="connsiteY59" fmla="*/ 646826 h 662520"/>
              <a:gd name="connsiteX60" fmla="*/ 514413 w 2683662"/>
              <a:gd name="connsiteY60" fmla="*/ 640206 h 662520"/>
              <a:gd name="connsiteX61" fmla="*/ 514413 w 2683662"/>
              <a:gd name="connsiteY61" fmla="*/ 516293 h 662520"/>
              <a:gd name="connsiteX62" fmla="*/ 596087 w 2683662"/>
              <a:gd name="connsiteY62" fmla="*/ 516293 h 662520"/>
              <a:gd name="connsiteX63" fmla="*/ 612203 w 2683662"/>
              <a:gd name="connsiteY63" fmla="*/ 539439 h 662520"/>
              <a:gd name="connsiteX64" fmla="*/ 635627 w 2683662"/>
              <a:gd name="connsiteY64" fmla="*/ 559242 h 662520"/>
              <a:gd name="connsiteX65" fmla="*/ 666972 w 2683662"/>
              <a:gd name="connsiteY65" fmla="*/ 573062 h 662520"/>
              <a:gd name="connsiteX66" fmla="*/ 706856 w 2683662"/>
              <a:gd name="connsiteY66" fmla="*/ 578256 h 662520"/>
              <a:gd name="connsiteX67" fmla="*/ 749359 w 2683662"/>
              <a:gd name="connsiteY67" fmla="*/ 571758 h 662520"/>
              <a:gd name="connsiteX68" fmla="*/ 784298 w 2683662"/>
              <a:gd name="connsiteY68" fmla="*/ 552322 h 662520"/>
              <a:gd name="connsiteX69" fmla="*/ 807972 w 2683662"/>
              <a:gd name="connsiteY69" fmla="*/ 520038 h 662520"/>
              <a:gd name="connsiteX70" fmla="*/ 816686 w 2683662"/>
              <a:gd name="connsiteY70" fmla="*/ 474992 h 662520"/>
              <a:gd name="connsiteX71" fmla="*/ 809424 w 2683662"/>
              <a:gd name="connsiteY71" fmla="*/ 430240 h 662520"/>
              <a:gd name="connsiteX72" fmla="*/ 787466 w 2683662"/>
              <a:gd name="connsiteY72" fmla="*/ 398602 h 662520"/>
              <a:gd name="connsiteX73" fmla="*/ 750549 w 2683662"/>
              <a:gd name="connsiteY73" fmla="*/ 379812 h 662520"/>
              <a:gd name="connsiteX74" fmla="*/ 698411 w 2683662"/>
              <a:gd name="connsiteY74" fmla="*/ 373608 h 662520"/>
              <a:gd name="connsiteX75" fmla="*/ 649592 w 2683662"/>
              <a:gd name="connsiteY75" fmla="*/ 373608 h 662520"/>
              <a:gd name="connsiteX76" fmla="*/ 649592 w 2683662"/>
              <a:gd name="connsiteY76" fmla="*/ 286308 h 662520"/>
              <a:gd name="connsiteX77" fmla="*/ 690892 w 2683662"/>
              <a:gd name="connsiteY77" fmla="*/ 286308 h 662520"/>
              <a:gd name="connsiteX78" fmla="*/ 744563 w 2683662"/>
              <a:gd name="connsiteY78" fmla="*/ 280133 h 662520"/>
              <a:gd name="connsiteX79" fmla="*/ 783007 w 2683662"/>
              <a:gd name="connsiteY79" fmla="*/ 261550 h 662520"/>
              <a:gd name="connsiteX80" fmla="*/ 806137 w 2683662"/>
              <a:gd name="connsiteY80" fmla="*/ 230469 h 662520"/>
              <a:gd name="connsiteX81" fmla="*/ 813866 w 2683662"/>
              <a:gd name="connsiteY81" fmla="*/ 186804 h 662520"/>
              <a:gd name="connsiteX82" fmla="*/ 808513 w 2683662"/>
              <a:gd name="connsiteY82" fmla="*/ 149115 h 662520"/>
              <a:gd name="connsiteX83" fmla="*/ 792160 w 2683662"/>
              <a:gd name="connsiteY83" fmla="*/ 121104 h 662520"/>
              <a:gd name="connsiteX84" fmla="*/ 764365 w 2683662"/>
              <a:gd name="connsiteY84" fmla="*/ 103651 h 662520"/>
              <a:gd name="connsiteX85" fmla="*/ 724687 w 2683662"/>
              <a:gd name="connsiteY85" fmla="*/ 97637 h 662520"/>
              <a:gd name="connsiteX86" fmla="*/ 687243 w 2683662"/>
              <a:gd name="connsiteY86" fmla="*/ 102374 h 662520"/>
              <a:gd name="connsiteX87" fmla="*/ 657456 w 2683662"/>
              <a:gd name="connsiteY87" fmla="*/ 115117 h 662520"/>
              <a:gd name="connsiteX88" fmla="*/ 634533 w 2683662"/>
              <a:gd name="connsiteY88" fmla="*/ 133668 h 662520"/>
              <a:gd name="connsiteX89" fmla="*/ 617677 w 2683662"/>
              <a:gd name="connsiteY89" fmla="*/ 155828 h 662520"/>
              <a:gd name="connsiteX90" fmla="*/ 539775 w 2683662"/>
              <a:gd name="connsiteY90" fmla="*/ 155828 h 662520"/>
              <a:gd name="connsiteX91" fmla="*/ 539775 w 2683662"/>
              <a:gd name="connsiteY91" fmla="*/ 33807 h 662520"/>
              <a:gd name="connsiteX92" fmla="*/ 584006 w 2683662"/>
              <a:gd name="connsiteY92" fmla="*/ 19813 h 662520"/>
              <a:gd name="connsiteX93" fmla="*/ 631056 w 2683662"/>
              <a:gd name="connsiteY93" fmla="*/ 9159 h 662520"/>
              <a:gd name="connsiteX94" fmla="*/ 681278 w 2683662"/>
              <a:gd name="connsiteY94" fmla="*/ 2378 h 662520"/>
              <a:gd name="connsiteX95" fmla="*/ 735025 w 2683662"/>
              <a:gd name="connsiteY95" fmla="*/ 0 h 662520"/>
              <a:gd name="connsiteX96" fmla="*/ 790395 w 2683662"/>
              <a:gd name="connsiteY96" fmla="*/ 3158 h 662520"/>
              <a:gd name="connsiteX97" fmla="*/ 838689 w 2683662"/>
              <a:gd name="connsiteY97" fmla="*/ 12853 h 662520"/>
              <a:gd name="connsiteX98" fmla="*/ 879380 w 2683662"/>
              <a:gd name="connsiteY98" fmla="*/ 29412 h 662520"/>
              <a:gd name="connsiteX99" fmla="*/ 911943 w 2683662"/>
              <a:gd name="connsiteY99" fmla="*/ 53163 h 662520"/>
              <a:gd name="connsiteX100" fmla="*/ 935853 w 2683662"/>
              <a:gd name="connsiteY100" fmla="*/ 84435 h 662520"/>
              <a:gd name="connsiteX101" fmla="*/ 950584 w 2683662"/>
              <a:gd name="connsiteY101" fmla="*/ 123555 h 662520"/>
              <a:gd name="connsiteX102" fmla="*/ 955611 w 2683662"/>
              <a:gd name="connsiteY102" fmla="*/ 170853 h 662520"/>
              <a:gd name="connsiteX103" fmla="*/ 949453 w 2683662"/>
              <a:gd name="connsiteY103" fmla="*/ 219568 h 662520"/>
              <a:gd name="connsiteX104" fmla="*/ 931581 w 2683662"/>
              <a:gd name="connsiteY104" fmla="*/ 258234 h 662520"/>
              <a:gd name="connsiteX105" fmla="*/ 902895 w 2683662"/>
              <a:gd name="connsiteY105" fmla="*/ 287843 h 662520"/>
              <a:gd name="connsiteX106" fmla="*/ 864296 w 2683662"/>
              <a:gd name="connsiteY106" fmla="*/ 309388 h 662520"/>
              <a:gd name="connsiteX107" fmla="*/ 816686 w 2683662"/>
              <a:gd name="connsiteY107" fmla="*/ 323862 h 662520"/>
              <a:gd name="connsiteX108" fmla="*/ 816686 w 2683662"/>
              <a:gd name="connsiteY108" fmla="*/ 327609 h 662520"/>
              <a:gd name="connsiteX109" fmla="*/ 870681 w 2683662"/>
              <a:gd name="connsiteY109" fmla="*/ 340566 h 662520"/>
              <a:gd name="connsiteX110" fmla="*/ 912283 w 2683662"/>
              <a:gd name="connsiteY110" fmla="*/ 362534 h 662520"/>
              <a:gd name="connsiteX111" fmla="*/ 941719 w 2683662"/>
              <a:gd name="connsiteY111" fmla="*/ 393513 h 662520"/>
              <a:gd name="connsiteX112" fmla="*/ 959215 w 2683662"/>
              <a:gd name="connsiteY112" fmla="*/ 433502 h 662520"/>
              <a:gd name="connsiteX113" fmla="*/ 964996 w 2683662"/>
              <a:gd name="connsiteY113" fmla="*/ 482498 h 662520"/>
              <a:gd name="connsiteX114" fmla="*/ 959936 w 2683662"/>
              <a:gd name="connsiteY114" fmla="*/ 527743 h 662520"/>
              <a:gd name="connsiteX115" fmla="*/ 944659 w 2683662"/>
              <a:gd name="connsiteY115" fmla="*/ 567021 h 662520"/>
              <a:gd name="connsiteX116" fmla="*/ 920122 w 2683662"/>
              <a:gd name="connsiteY116" fmla="*/ 600232 h 662520"/>
              <a:gd name="connsiteX117" fmla="*/ 887285 w 2683662"/>
              <a:gd name="connsiteY117" fmla="*/ 627278 h 662520"/>
              <a:gd name="connsiteX118" fmla="*/ 847106 w 2683662"/>
              <a:gd name="connsiteY118" fmla="*/ 648061 h 662520"/>
              <a:gd name="connsiteX119" fmla="*/ 800544 w 2683662"/>
              <a:gd name="connsiteY119" fmla="*/ 662482 h 662520"/>
              <a:gd name="connsiteX120" fmla="*/ 1360843 w 2683662"/>
              <a:gd name="connsiteY120" fmla="*/ 662495 h 662520"/>
              <a:gd name="connsiteX121" fmla="*/ 1322871 w 2683662"/>
              <a:gd name="connsiteY121" fmla="*/ 649352 h 662520"/>
              <a:gd name="connsiteX122" fmla="*/ 1287296 w 2683662"/>
              <a:gd name="connsiteY122" fmla="*/ 630560 h 662520"/>
              <a:gd name="connsiteX123" fmla="*/ 1254670 w 2683662"/>
              <a:gd name="connsiteY123" fmla="*/ 606062 h 662520"/>
              <a:gd name="connsiteX124" fmla="*/ 1225546 w 2683662"/>
              <a:gd name="connsiteY124" fmla="*/ 575802 h 662520"/>
              <a:gd name="connsiteX125" fmla="*/ 1200477 w 2683662"/>
              <a:gd name="connsiteY125" fmla="*/ 539722 h 662520"/>
              <a:gd name="connsiteX126" fmla="*/ 1180016 w 2683662"/>
              <a:gd name="connsiteY126" fmla="*/ 497766 h 662520"/>
              <a:gd name="connsiteX127" fmla="*/ 1164717 w 2683662"/>
              <a:gd name="connsiteY127" fmla="*/ 449876 h 662520"/>
              <a:gd name="connsiteX128" fmla="*/ 1155131 w 2683662"/>
              <a:gd name="connsiteY128" fmla="*/ 395995 h 662520"/>
              <a:gd name="connsiteX129" fmla="*/ 1151813 w 2683662"/>
              <a:gd name="connsiteY129" fmla="*/ 336067 h 662520"/>
              <a:gd name="connsiteX130" fmla="*/ 1155053 w 2683662"/>
              <a:gd name="connsiteY130" fmla="*/ 276826 h 662520"/>
              <a:gd name="connsiteX131" fmla="*/ 1164415 w 2683662"/>
              <a:gd name="connsiteY131" fmla="*/ 223488 h 662520"/>
              <a:gd name="connsiteX132" fmla="*/ 1179368 w 2683662"/>
              <a:gd name="connsiteY132" fmla="*/ 175997 h 662520"/>
              <a:gd name="connsiteX133" fmla="*/ 1199377 w 2683662"/>
              <a:gd name="connsiteY133" fmla="*/ 134299 h 662520"/>
              <a:gd name="connsiteX134" fmla="*/ 1223910 w 2683662"/>
              <a:gd name="connsiteY134" fmla="*/ 98339 h 662520"/>
              <a:gd name="connsiteX135" fmla="*/ 1252434 w 2683662"/>
              <a:gd name="connsiteY135" fmla="*/ 68062 h 662520"/>
              <a:gd name="connsiteX136" fmla="*/ 1284414 w 2683662"/>
              <a:gd name="connsiteY136" fmla="*/ 43413 h 662520"/>
              <a:gd name="connsiteX137" fmla="*/ 1319318 w 2683662"/>
              <a:gd name="connsiteY137" fmla="*/ 24337 h 662520"/>
              <a:gd name="connsiteX138" fmla="*/ 1356613 w 2683662"/>
              <a:gd name="connsiteY138" fmla="*/ 10780 h 662520"/>
              <a:gd name="connsiteX139" fmla="*/ 1395766 w 2683662"/>
              <a:gd name="connsiteY139" fmla="*/ 2685 h 662520"/>
              <a:gd name="connsiteX140" fmla="*/ 1436243 w 2683662"/>
              <a:gd name="connsiteY140" fmla="*/ 0 h 662520"/>
              <a:gd name="connsiteX141" fmla="*/ 1476722 w 2683662"/>
              <a:gd name="connsiteY141" fmla="*/ 2685 h 662520"/>
              <a:gd name="connsiteX142" fmla="*/ 1515876 w 2683662"/>
              <a:gd name="connsiteY142" fmla="*/ 10780 h 662520"/>
              <a:gd name="connsiteX143" fmla="*/ 1553172 w 2683662"/>
              <a:gd name="connsiteY143" fmla="*/ 24337 h 662520"/>
              <a:gd name="connsiteX144" fmla="*/ 1588076 w 2683662"/>
              <a:gd name="connsiteY144" fmla="*/ 43413 h 662520"/>
              <a:gd name="connsiteX145" fmla="*/ 1620056 w 2683662"/>
              <a:gd name="connsiteY145" fmla="*/ 68062 h 662520"/>
              <a:gd name="connsiteX146" fmla="*/ 1648579 w 2683662"/>
              <a:gd name="connsiteY146" fmla="*/ 98339 h 662520"/>
              <a:gd name="connsiteX147" fmla="*/ 1673111 w 2683662"/>
              <a:gd name="connsiteY147" fmla="*/ 134299 h 662520"/>
              <a:gd name="connsiteX148" fmla="*/ 1693119 w 2683662"/>
              <a:gd name="connsiteY148" fmla="*/ 175997 h 662520"/>
              <a:gd name="connsiteX149" fmla="*/ 1708071 w 2683662"/>
              <a:gd name="connsiteY149" fmla="*/ 223488 h 662520"/>
              <a:gd name="connsiteX150" fmla="*/ 1717433 w 2683662"/>
              <a:gd name="connsiteY150" fmla="*/ 276826 h 662520"/>
              <a:gd name="connsiteX151" fmla="*/ 1720672 w 2683662"/>
              <a:gd name="connsiteY151" fmla="*/ 336067 h 662520"/>
              <a:gd name="connsiteX152" fmla="*/ 1717354 w 2683662"/>
              <a:gd name="connsiteY152" fmla="*/ 395995 h 662520"/>
              <a:gd name="connsiteX153" fmla="*/ 1707768 w 2683662"/>
              <a:gd name="connsiteY153" fmla="*/ 449876 h 662520"/>
              <a:gd name="connsiteX154" fmla="*/ 1692469 w 2683662"/>
              <a:gd name="connsiteY154" fmla="*/ 497766 h 662520"/>
              <a:gd name="connsiteX155" fmla="*/ 1672008 w 2683662"/>
              <a:gd name="connsiteY155" fmla="*/ 539722 h 662520"/>
              <a:gd name="connsiteX156" fmla="*/ 1646939 w 2683662"/>
              <a:gd name="connsiteY156" fmla="*/ 575802 h 662520"/>
              <a:gd name="connsiteX157" fmla="*/ 1617815 w 2683662"/>
              <a:gd name="connsiteY157" fmla="*/ 606062 h 662520"/>
              <a:gd name="connsiteX158" fmla="*/ 1585189 w 2683662"/>
              <a:gd name="connsiteY158" fmla="*/ 630560 h 662520"/>
              <a:gd name="connsiteX159" fmla="*/ 1549614 w 2683662"/>
              <a:gd name="connsiteY159" fmla="*/ 649352 h 662520"/>
              <a:gd name="connsiteX160" fmla="*/ 1511642 w 2683662"/>
              <a:gd name="connsiteY160" fmla="*/ 662495 h 662520"/>
              <a:gd name="connsiteX161" fmla="*/ 1943430 w 2683662"/>
              <a:gd name="connsiteY161" fmla="*/ 662495 h 662520"/>
              <a:gd name="connsiteX162" fmla="*/ 1905459 w 2683662"/>
              <a:gd name="connsiteY162" fmla="*/ 649348 h 662520"/>
              <a:gd name="connsiteX163" fmla="*/ 1869885 w 2683662"/>
              <a:gd name="connsiteY163" fmla="*/ 630555 h 662520"/>
              <a:gd name="connsiteX164" fmla="*/ 1837261 w 2683662"/>
              <a:gd name="connsiteY164" fmla="*/ 606057 h 662520"/>
              <a:gd name="connsiteX165" fmla="*/ 1808138 w 2683662"/>
              <a:gd name="connsiteY165" fmla="*/ 575797 h 662520"/>
              <a:gd name="connsiteX166" fmla="*/ 1783072 w 2683662"/>
              <a:gd name="connsiteY166" fmla="*/ 539718 h 662520"/>
              <a:gd name="connsiteX167" fmla="*/ 1762613 w 2683662"/>
              <a:gd name="connsiteY167" fmla="*/ 497763 h 662520"/>
              <a:gd name="connsiteX168" fmla="*/ 1747315 w 2683662"/>
              <a:gd name="connsiteY168" fmla="*/ 449874 h 662520"/>
              <a:gd name="connsiteX169" fmla="*/ 1737731 w 2683662"/>
              <a:gd name="connsiteY169" fmla="*/ 395995 h 662520"/>
              <a:gd name="connsiteX170" fmla="*/ 1734413 w 2683662"/>
              <a:gd name="connsiteY170" fmla="*/ 336067 h 662520"/>
              <a:gd name="connsiteX171" fmla="*/ 1737652 w 2683662"/>
              <a:gd name="connsiteY171" fmla="*/ 276826 h 662520"/>
              <a:gd name="connsiteX172" fmla="*/ 1747014 w 2683662"/>
              <a:gd name="connsiteY172" fmla="*/ 223488 h 662520"/>
              <a:gd name="connsiteX173" fmla="*/ 1761965 w 2683662"/>
              <a:gd name="connsiteY173" fmla="*/ 175997 h 662520"/>
              <a:gd name="connsiteX174" fmla="*/ 1781973 w 2683662"/>
              <a:gd name="connsiteY174" fmla="*/ 134299 h 662520"/>
              <a:gd name="connsiteX175" fmla="*/ 1806505 w 2683662"/>
              <a:gd name="connsiteY175" fmla="*/ 98339 h 662520"/>
              <a:gd name="connsiteX176" fmla="*/ 1835026 w 2683662"/>
              <a:gd name="connsiteY176" fmla="*/ 68062 h 662520"/>
              <a:gd name="connsiteX177" fmla="*/ 1867005 w 2683662"/>
              <a:gd name="connsiteY177" fmla="*/ 43413 h 662520"/>
              <a:gd name="connsiteX178" fmla="*/ 1901908 w 2683662"/>
              <a:gd name="connsiteY178" fmla="*/ 24337 h 662520"/>
              <a:gd name="connsiteX179" fmla="*/ 1939202 w 2683662"/>
              <a:gd name="connsiteY179" fmla="*/ 10780 h 662520"/>
              <a:gd name="connsiteX180" fmla="*/ 1978353 w 2683662"/>
              <a:gd name="connsiteY180" fmla="*/ 2685 h 662520"/>
              <a:gd name="connsiteX181" fmla="*/ 2018830 w 2683662"/>
              <a:gd name="connsiteY181" fmla="*/ 0 h 662520"/>
              <a:gd name="connsiteX182" fmla="*/ 2059309 w 2683662"/>
              <a:gd name="connsiteY182" fmla="*/ 2685 h 662520"/>
              <a:gd name="connsiteX183" fmla="*/ 2098463 w 2683662"/>
              <a:gd name="connsiteY183" fmla="*/ 10780 h 662520"/>
              <a:gd name="connsiteX184" fmla="*/ 2135759 w 2683662"/>
              <a:gd name="connsiteY184" fmla="*/ 24337 h 662520"/>
              <a:gd name="connsiteX185" fmla="*/ 2170664 w 2683662"/>
              <a:gd name="connsiteY185" fmla="*/ 43413 h 662520"/>
              <a:gd name="connsiteX186" fmla="*/ 2202644 w 2683662"/>
              <a:gd name="connsiteY186" fmla="*/ 68062 h 662520"/>
              <a:gd name="connsiteX187" fmla="*/ 2231166 w 2683662"/>
              <a:gd name="connsiteY187" fmla="*/ 98339 h 662520"/>
              <a:gd name="connsiteX188" fmla="*/ 2255698 w 2683662"/>
              <a:gd name="connsiteY188" fmla="*/ 134299 h 662520"/>
              <a:gd name="connsiteX189" fmla="*/ 2275706 w 2683662"/>
              <a:gd name="connsiteY189" fmla="*/ 175997 h 662520"/>
              <a:gd name="connsiteX190" fmla="*/ 2290658 w 2683662"/>
              <a:gd name="connsiteY190" fmla="*/ 223488 h 662520"/>
              <a:gd name="connsiteX191" fmla="*/ 2300020 w 2683662"/>
              <a:gd name="connsiteY191" fmla="*/ 276826 h 662520"/>
              <a:gd name="connsiteX192" fmla="*/ 2303259 w 2683662"/>
              <a:gd name="connsiteY192" fmla="*/ 336067 h 662520"/>
              <a:gd name="connsiteX193" fmla="*/ 2299941 w 2683662"/>
              <a:gd name="connsiteY193" fmla="*/ 395991 h 662520"/>
              <a:gd name="connsiteX194" fmla="*/ 2290357 w 2683662"/>
              <a:gd name="connsiteY194" fmla="*/ 449869 h 662520"/>
              <a:gd name="connsiteX195" fmla="*/ 2275059 w 2683662"/>
              <a:gd name="connsiteY195" fmla="*/ 497757 h 662520"/>
              <a:gd name="connsiteX196" fmla="*/ 2254600 w 2683662"/>
              <a:gd name="connsiteY196" fmla="*/ 539713 h 662520"/>
              <a:gd name="connsiteX197" fmla="*/ 2229533 w 2683662"/>
              <a:gd name="connsiteY197" fmla="*/ 575793 h 662520"/>
              <a:gd name="connsiteX198" fmla="*/ 2200411 w 2683662"/>
              <a:gd name="connsiteY198" fmla="*/ 606054 h 662520"/>
              <a:gd name="connsiteX199" fmla="*/ 2167787 w 2683662"/>
              <a:gd name="connsiteY199" fmla="*/ 630553 h 662520"/>
              <a:gd name="connsiteX200" fmla="*/ 2132213 w 2683662"/>
              <a:gd name="connsiteY200" fmla="*/ 649348 h 662520"/>
              <a:gd name="connsiteX201" fmla="*/ 2094242 w 2683662"/>
              <a:gd name="connsiteY201" fmla="*/ 662495 h 662520"/>
              <a:gd name="connsiteX202" fmla="*/ 2528582 w 2683662"/>
              <a:gd name="connsiteY202" fmla="*/ 662482 h 662520"/>
              <a:gd name="connsiteX203" fmla="*/ 2490620 w 2683662"/>
              <a:gd name="connsiteY203" fmla="*/ 649332 h 662520"/>
              <a:gd name="connsiteX204" fmla="*/ 2455053 w 2683662"/>
              <a:gd name="connsiteY204" fmla="*/ 630534 h 662520"/>
              <a:gd name="connsiteX205" fmla="*/ 2422435 w 2683662"/>
              <a:gd name="connsiteY205" fmla="*/ 606033 h 662520"/>
              <a:gd name="connsiteX206" fmla="*/ 2393318 w 2683662"/>
              <a:gd name="connsiteY206" fmla="*/ 575772 h 662520"/>
              <a:gd name="connsiteX207" fmla="*/ 2368257 w 2683662"/>
              <a:gd name="connsiteY207" fmla="*/ 539693 h 662520"/>
              <a:gd name="connsiteX208" fmla="*/ 2347803 w 2683662"/>
              <a:gd name="connsiteY208" fmla="*/ 497740 h 662520"/>
              <a:gd name="connsiteX209" fmla="*/ 2332510 w 2683662"/>
              <a:gd name="connsiteY209" fmla="*/ 449856 h 662520"/>
              <a:gd name="connsiteX210" fmla="*/ 2322930 w 2683662"/>
              <a:gd name="connsiteY210" fmla="*/ 395984 h 662520"/>
              <a:gd name="connsiteX211" fmla="*/ 2319616 w 2683662"/>
              <a:gd name="connsiteY211" fmla="*/ 336067 h 662520"/>
              <a:gd name="connsiteX212" fmla="*/ 2322855 w 2683662"/>
              <a:gd name="connsiteY212" fmla="*/ 276826 h 662520"/>
              <a:gd name="connsiteX213" fmla="*/ 2332217 w 2683662"/>
              <a:gd name="connsiteY213" fmla="*/ 223488 h 662520"/>
              <a:gd name="connsiteX214" fmla="*/ 2347169 w 2683662"/>
              <a:gd name="connsiteY214" fmla="*/ 175997 h 662520"/>
              <a:gd name="connsiteX215" fmla="*/ 2367177 w 2683662"/>
              <a:gd name="connsiteY215" fmla="*/ 134299 h 662520"/>
              <a:gd name="connsiteX216" fmla="*/ 2391708 w 2683662"/>
              <a:gd name="connsiteY216" fmla="*/ 98339 h 662520"/>
              <a:gd name="connsiteX217" fmla="*/ 2420230 w 2683662"/>
              <a:gd name="connsiteY217" fmla="*/ 68062 h 662520"/>
              <a:gd name="connsiteX218" fmla="*/ 2452208 w 2683662"/>
              <a:gd name="connsiteY218" fmla="*/ 43413 h 662520"/>
              <a:gd name="connsiteX219" fmla="*/ 2487111 w 2683662"/>
              <a:gd name="connsiteY219" fmla="*/ 24337 h 662520"/>
              <a:gd name="connsiteX220" fmla="*/ 2524405 w 2683662"/>
              <a:gd name="connsiteY220" fmla="*/ 10780 h 662520"/>
              <a:gd name="connsiteX221" fmla="*/ 2563557 w 2683662"/>
              <a:gd name="connsiteY221" fmla="*/ 2685 h 662520"/>
              <a:gd name="connsiteX222" fmla="*/ 2604033 w 2683662"/>
              <a:gd name="connsiteY222" fmla="*/ 0 h 662520"/>
              <a:gd name="connsiteX223" fmla="*/ 2644510 w 2683662"/>
              <a:gd name="connsiteY223" fmla="*/ 2685 h 662520"/>
              <a:gd name="connsiteX224" fmla="*/ 2683662 w 2683662"/>
              <a:gd name="connsiteY224" fmla="*/ 10780 h 662520"/>
              <a:gd name="connsiteX0" fmla="*/ 74231 w 2644510"/>
              <a:gd name="connsiteY0" fmla="*/ 662482 h 662520"/>
              <a:gd name="connsiteX1" fmla="*/ 60344 w 2644510"/>
              <a:gd name="connsiteY1" fmla="*/ 659582 h 662520"/>
              <a:gd name="connsiteX2" fmla="*/ 47517 w 2644510"/>
              <a:gd name="connsiteY2" fmla="*/ 656437 h 662520"/>
              <a:gd name="connsiteX3" fmla="*/ 35823 w 2644510"/>
              <a:gd name="connsiteY3" fmla="*/ 653092 h 662520"/>
              <a:gd name="connsiteX4" fmla="*/ 25336 w 2644510"/>
              <a:gd name="connsiteY4" fmla="*/ 649592 h 662520"/>
              <a:gd name="connsiteX5" fmla="*/ 25336 w 2644510"/>
              <a:gd name="connsiteY5" fmla="*/ 533196 h 662520"/>
              <a:gd name="connsiteX6" fmla="*/ 104190 w 2644510"/>
              <a:gd name="connsiteY6" fmla="*/ 533196 h 662520"/>
              <a:gd name="connsiteX7" fmla="*/ 116931 w 2644510"/>
              <a:gd name="connsiteY7" fmla="*/ 550133 h 662520"/>
              <a:gd name="connsiteX8" fmla="*/ 135043 w 2644510"/>
              <a:gd name="connsiteY8" fmla="*/ 564522 h 662520"/>
              <a:gd name="connsiteX9" fmla="*/ 160020 w 2644510"/>
              <a:gd name="connsiteY9" fmla="*/ 574514 h 662520"/>
              <a:gd name="connsiteX10" fmla="*/ 193357 w 2644510"/>
              <a:gd name="connsiteY10" fmla="*/ 578256 h 662520"/>
              <a:gd name="connsiteX11" fmla="*/ 233829 w 2644510"/>
              <a:gd name="connsiteY11" fmla="*/ 573672 h 662520"/>
              <a:gd name="connsiteX12" fmla="*/ 297105 w 2644510"/>
              <a:gd name="connsiteY12" fmla="*/ 537246 h 662520"/>
              <a:gd name="connsiteX13" fmla="*/ 320040 w 2644510"/>
              <a:gd name="connsiteY13" fmla="*/ 505568 h 662520"/>
              <a:gd name="connsiteX14" fmla="*/ 337261 w 2644510"/>
              <a:gd name="connsiteY14" fmla="*/ 465022 h 662520"/>
              <a:gd name="connsiteX15" fmla="*/ 348834 w 2644510"/>
              <a:gd name="connsiteY15" fmla="*/ 415691 h 662520"/>
              <a:gd name="connsiteX16" fmla="*/ 354825 w 2644510"/>
              <a:gd name="connsiteY16" fmla="*/ 357657 h 662520"/>
              <a:gd name="connsiteX17" fmla="*/ 325357 w 2644510"/>
              <a:gd name="connsiteY17" fmla="*/ 385098 h 662520"/>
              <a:gd name="connsiteX18" fmla="*/ 289466 w 2644510"/>
              <a:gd name="connsiteY18" fmla="*/ 406117 h 662520"/>
              <a:gd name="connsiteX19" fmla="*/ 247767 w 2644510"/>
              <a:gd name="connsiteY19" fmla="*/ 419568 h 662520"/>
              <a:gd name="connsiteX20" fmla="*/ 200875 w 2644510"/>
              <a:gd name="connsiteY20" fmla="*/ 424306 h 662520"/>
              <a:gd name="connsiteX21" fmla="*/ 153099 w 2644510"/>
              <a:gd name="connsiteY21" fmla="*/ 420031 h 662520"/>
              <a:gd name="connsiteX22" fmla="*/ 110150 w 2644510"/>
              <a:gd name="connsiteY22" fmla="*/ 407348 h 662520"/>
              <a:gd name="connsiteX23" fmla="*/ 72948 w 2644510"/>
              <a:gd name="connsiteY23" fmla="*/ 386472 h 662520"/>
              <a:gd name="connsiteX24" fmla="*/ 42412 w 2644510"/>
              <a:gd name="connsiteY24" fmla="*/ 357614 h 662520"/>
              <a:gd name="connsiteX25" fmla="*/ 19463 w 2644510"/>
              <a:gd name="connsiteY25" fmla="*/ 320990 h 662520"/>
              <a:gd name="connsiteX26" fmla="*/ 5019 w 2644510"/>
              <a:gd name="connsiteY26" fmla="*/ 276814 h 662520"/>
              <a:gd name="connsiteX27" fmla="*/ 0 w 2644510"/>
              <a:gd name="connsiteY27" fmla="*/ 225297 h 662520"/>
              <a:gd name="connsiteX28" fmla="*/ 4447 w 2644510"/>
              <a:gd name="connsiteY28" fmla="*/ 178425 h 662520"/>
              <a:gd name="connsiteX29" fmla="*/ 17453 w 2644510"/>
              <a:gd name="connsiteY29" fmla="*/ 135445 h 662520"/>
              <a:gd name="connsiteX30" fmla="*/ 38511 w 2644510"/>
              <a:gd name="connsiteY30" fmla="*/ 97085 h 662520"/>
              <a:gd name="connsiteX31" fmla="*/ 67116 w 2644510"/>
              <a:gd name="connsiteY31" fmla="*/ 64071 h 662520"/>
              <a:gd name="connsiteX32" fmla="*/ 102760 w 2644510"/>
              <a:gd name="connsiteY32" fmla="*/ 37129 h 662520"/>
              <a:gd name="connsiteX33" fmla="*/ 144939 w 2644510"/>
              <a:gd name="connsiteY33" fmla="*/ 16986 h 662520"/>
              <a:gd name="connsiteX34" fmla="*/ 193146 w 2644510"/>
              <a:gd name="connsiteY34" fmla="*/ 4367 h 662520"/>
              <a:gd name="connsiteX35" fmla="*/ 246875 w 2644510"/>
              <a:gd name="connsiteY35" fmla="*/ 0 h 662520"/>
              <a:gd name="connsiteX36" fmla="*/ 290625 w 2644510"/>
              <a:gd name="connsiteY36" fmla="*/ 2882 h 662520"/>
              <a:gd name="connsiteX37" fmla="*/ 331492 w 2644510"/>
              <a:gd name="connsiteY37" fmla="*/ 11678 h 662520"/>
              <a:gd name="connsiteX38" fmla="*/ 369070 w 2644510"/>
              <a:gd name="connsiteY38" fmla="*/ 26614 h 662520"/>
              <a:gd name="connsiteX39" fmla="*/ 402953 w 2644510"/>
              <a:gd name="connsiteY39" fmla="*/ 47914 h 662520"/>
              <a:gd name="connsiteX40" fmla="*/ 432736 w 2644510"/>
              <a:gd name="connsiteY40" fmla="*/ 75804 h 662520"/>
              <a:gd name="connsiteX41" fmla="*/ 458013 w 2644510"/>
              <a:gd name="connsiteY41" fmla="*/ 110509 h 662520"/>
              <a:gd name="connsiteX42" fmla="*/ 478379 w 2644510"/>
              <a:gd name="connsiteY42" fmla="*/ 152255 h 662520"/>
              <a:gd name="connsiteX43" fmla="*/ 493429 w 2644510"/>
              <a:gd name="connsiteY43" fmla="*/ 201265 h 662520"/>
              <a:gd name="connsiteX44" fmla="*/ 502756 w 2644510"/>
              <a:gd name="connsiteY44" fmla="*/ 257766 h 662520"/>
              <a:gd name="connsiteX45" fmla="*/ 505955 w 2644510"/>
              <a:gd name="connsiteY45" fmla="*/ 321983 h 662520"/>
              <a:gd name="connsiteX46" fmla="*/ 503406 w 2644510"/>
              <a:gd name="connsiteY46" fmla="*/ 376707 h 662520"/>
              <a:gd name="connsiteX47" fmla="*/ 495858 w 2644510"/>
              <a:gd name="connsiteY47" fmla="*/ 427041 h 662520"/>
              <a:gd name="connsiteX48" fmla="*/ 483456 w 2644510"/>
              <a:gd name="connsiteY48" fmla="*/ 472909 h 662520"/>
              <a:gd name="connsiteX49" fmla="*/ 466346 w 2644510"/>
              <a:gd name="connsiteY49" fmla="*/ 514232 h 662520"/>
              <a:gd name="connsiteX50" fmla="*/ 444674 w 2644510"/>
              <a:gd name="connsiteY50" fmla="*/ 550937 h 662520"/>
              <a:gd name="connsiteX51" fmla="*/ 418587 w 2644510"/>
              <a:gd name="connsiteY51" fmla="*/ 582945 h 662520"/>
              <a:gd name="connsiteX52" fmla="*/ 388229 w 2644510"/>
              <a:gd name="connsiteY52" fmla="*/ 610181 h 662520"/>
              <a:gd name="connsiteX53" fmla="*/ 353748 w 2644510"/>
              <a:gd name="connsiteY53" fmla="*/ 632569 h 662520"/>
              <a:gd name="connsiteX54" fmla="*/ 315289 w 2644510"/>
              <a:gd name="connsiteY54" fmla="*/ 650033 h 662520"/>
              <a:gd name="connsiteX55" fmla="*/ 272999 w 2644510"/>
              <a:gd name="connsiteY55" fmla="*/ 662495 h 662520"/>
              <a:gd name="connsiteX56" fmla="*/ 592162 w 2644510"/>
              <a:gd name="connsiteY56" fmla="*/ 662520 h 662520"/>
              <a:gd name="connsiteX57" fmla="*/ 571167 w 2644510"/>
              <a:gd name="connsiteY57" fmla="*/ 658030 h 662520"/>
              <a:gd name="connsiteX58" fmla="*/ 551373 w 2644510"/>
              <a:gd name="connsiteY58" fmla="*/ 652783 h 662520"/>
              <a:gd name="connsiteX59" fmla="*/ 532537 w 2644510"/>
              <a:gd name="connsiteY59" fmla="*/ 646826 h 662520"/>
              <a:gd name="connsiteX60" fmla="*/ 514413 w 2644510"/>
              <a:gd name="connsiteY60" fmla="*/ 640206 h 662520"/>
              <a:gd name="connsiteX61" fmla="*/ 514413 w 2644510"/>
              <a:gd name="connsiteY61" fmla="*/ 516293 h 662520"/>
              <a:gd name="connsiteX62" fmla="*/ 596087 w 2644510"/>
              <a:gd name="connsiteY62" fmla="*/ 516293 h 662520"/>
              <a:gd name="connsiteX63" fmla="*/ 612203 w 2644510"/>
              <a:gd name="connsiteY63" fmla="*/ 539439 h 662520"/>
              <a:gd name="connsiteX64" fmla="*/ 635627 w 2644510"/>
              <a:gd name="connsiteY64" fmla="*/ 559242 h 662520"/>
              <a:gd name="connsiteX65" fmla="*/ 666972 w 2644510"/>
              <a:gd name="connsiteY65" fmla="*/ 573062 h 662520"/>
              <a:gd name="connsiteX66" fmla="*/ 706856 w 2644510"/>
              <a:gd name="connsiteY66" fmla="*/ 578256 h 662520"/>
              <a:gd name="connsiteX67" fmla="*/ 749359 w 2644510"/>
              <a:gd name="connsiteY67" fmla="*/ 571758 h 662520"/>
              <a:gd name="connsiteX68" fmla="*/ 784298 w 2644510"/>
              <a:gd name="connsiteY68" fmla="*/ 552322 h 662520"/>
              <a:gd name="connsiteX69" fmla="*/ 807972 w 2644510"/>
              <a:gd name="connsiteY69" fmla="*/ 520038 h 662520"/>
              <a:gd name="connsiteX70" fmla="*/ 816686 w 2644510"/>
              <a:gd name="connsiteY70" fmla="*/ 474992 h 662520"/>
              <a:gd name="connsiteX71" fmla="*/ 809424 w 2644510"/>
              <a:gd name="connsiteY71" fmla="*/ 430240 h 662520"/>
              <a:gd name="connsiteX72" fmla="*/ 787466 w 2644510"/>
              <a:gd name="connsiteY72" fmla="*/ 398602 h 662520"/>
              <a:gd name="connsiteX73" fmla="*/ 750549 w 2644510"/>
              <a:gd name="connsiteY73" fmla="*/ 379812 h 662520"/>
              <a:gd name="connsiteX74" fmla="*/ 698411 w 2644510"/>
              <a:gd name="connsiteY74" fmla="*/ 373608 h 662520"/>
              <a:gd name="connsiteX75" fmla="*/ 649592 w 2644510"/>
              <a:gd name="connsiteY75" fmla="*/ 373608 h 662520"/>
              <a:gd name="connsiteX76" fmla="*/ 649592 w 2644510"/>
              <a:gd name="connsiteY76" fmla="*/ 286308 h 662520"/>
              <a:gd name="connsiteX77" fmla="*/ 690892 w 2644510"/>
              <a:gd name="connsiteY77" fmla="*/ 286308 h 662520"/>
              <a:gd name="connsiteX78" fmla="*/ 744563 w 2644510"/>
              <a:gd name="connsiteY78" fmla="*/ 280133 h 662520"/>
              <a:gd name="connsiteX79" fmla="*/ 783007 w 2644510"/>
              <a:gd name="connsiteY79" fmla="*/ 261550 h 662520"/>
              <a:gd name="connsiteX80" fmla="*/ 806137 w 2644510"/>
              <a:gd name="connsiteY80" fmla="*/ 230469 h 662520"/>
              <a:gd name="connsiteX81" fmla="*/ 813866 w 2644510"/>
              <a:gd name="connsiteY81" fmla="*/ 186804 h 662520"/>
              <a:gd name="connsiteX82" fmla="*/ 808513 w 2644510"/>
              <a:gd name="connsiteY82" fmla="*/ 149115 h 662520"/>
              <a:gd name="connsiteX83" fmla="*/ 792160 w 2644510"/>
              <a:gd name="connsiteY83" fmla="*/ 121104 h 662520"/>
              <a:gd name="connsiteX84" fmla="*/ 764365 w 2644510"/>
              <a:gd name="connsiteY84" fmla="*/ 103651 h 662520"/>
              <a:gd name="connsiteX85" fmla="*/ 724687 w 2644510"/>
              <a:gd name="connsiteY85" fmla="*/ 97637 h 662520"/>
              <a:gd name="connsiteX86" fmla="*/ 687243 w 2644510"/>
              <a:gd name="connsiteY86" fmla="*/ 102374 h 662520"/>
              <a:gd name="connsiteX87" fmla="*/ 657456 w 2644510"/>
              <a:gd name="connsiteY87" fmla="*/ 115117 h 662520"/>
              <a:gd name="connsiteX88" fmla="*/ 634533 w 2644510"/>
              <a:gd name="connsiteY88" fmla="*/ 133668 h 662520"/>
              <a:gd name="connsiteX89" fmla="*/ 617677 w 2644510"/>
              <a:gd name="connsiteY89" fmla="*/ 155828 h 662520"/>
              <a:gd name="connsiteX90" fmla="*/ 539775 w 2644510"/>
              <a:gd name="connsiteY90" fmla="*/ 155828 h 662520"/>
              <a:gd name="connsiteX91" fmla="*/ 539775 w 2644510"/>
              <a:gd name="connsiteY91" fmla="*/ 33807 h 662520"/>
              <a:gd name="connsiteX92" fmla="*/ 584006 w 2644510"/>
              <a:gd name="connsiteY92" fmla="*/ 19813 h 662520"/>
              <a:gd name="connsiteX93" fmla="*/ 631056 w 2644510"/>
              <a:gd name="connsiteY93" fmla="*/ 9159 h 662520"/>
              <a:gd name="connsiteX94" fmla="*/ 681278 w 2644510"/>
              <a:gd name="connsiteY94" fmla="*/ 2378 h 662520"/>
              <a:gd name="connsiteX95" fmla="*/ 735025 w 2644510"/>
              <a:gd name="connsiteY95" fmla="*/ 0 h 662520"/>
              <a:gd name="connsiteX96" fmla="*/ 790395 w 2644510"/>
              <a:gd name="connsiteY96" fmla="*/ 3158 h 662520"/>
              <a:gd name="connsiteX97" fmla="*/ 838689 w 2644510"/>
              <a:gd name="connsiteY97" fmla="*/ 12853 h 662520"/>
              <a:gd name="connsiteX98" fmla="*/ 879380 w 2644510"/>
              <a:gd name="connsiteY98" fmla="*/ 29412 h 662520"/>
              <a:gd name="connsiteX99" fmla="*/ 911943 w 2644510"/>
              <a:gd name="connsiteY99" fmla="*/ 53163 h 662520"/>
              <a:gd name="connsiteX100" fmla="*/ 935853 w 2644510"/>
              <a:gd name="connsiteY100" fmla="*/ 84435 h 662520"/>
              <a:gd name="connsiteX101" fmla="*/ 950584 w 2644510"/>
              <a:gd name="connsiteY101" fmla="*/ 123555 h 662520"/>
              <a:gd name="connsiteX102" fmla="*/ 955611 w 2644510"/>
              <a:gd name="connsiteY102" fmla="*/ 170853 h 662520"/>
              <a:gd name="connsiteX103" fmla="*/ 949453 w 2644510"/>
              <a:gd name="connsiteY103" fmla="*/ 219568 h 662520"/>
              <a:gd name="connsiteX104" fmla="*/ 931581 w 2644510"/>
              <a:gd name="connsiteY104" fmla="*/ 258234 h 662520"/>
              <a:gd name="connsiteX105" fmla="*/ 902895 w 2644510"/>
              <a:gd name="connsiteY105" fmla="*/ 287843 h 662520"/>
              <a:gd name="connsiteX106" fmla="*/ 864296 w 2644510"/>
              <a:gd name="connsiteY106" fmla="*/ 309388 h 662520"/>
              <a:gd name="connsiteX107" fmla="*/ 816686 w 2644510"/>
              <a:gd name="connsiteY107" fmla="*/ 323862 h 662520"/>
              <a:gd name="connsiteX108" fmla="*/ 816686 w 2644510"/>
              <a:gd name="connsiteY108" fmla="*/ 327609 h 662520"/>
              <a:gd name="connsiteX109" fmla="*/ 870681 w 2644510"/>
              <a:gd name="connsiteY109" fmla="*/ 340566 h 662520"/>
              <a:gd name="connsiteX110" fmla="*/ 912283 w 2644510"/>
              <a:gd name="connsiteY110" fmla="*/ 362534 h 662520"/>
              <a:gd name="connsiteX111" fmla="*/ 941719 w 2644510"/>
              <a:gd name="connsiteY111" fmla="*/ 393513 h 662520"/>
              <a:gd name="connsiteX112" fmla="*/ 959215 w 2644510"/>
              <a:gd name="connsiteY112" fmla="*/ 433502 h 662520"/>
              <a:gd name="connsiteX113" fmla="*/ 964996 w 2644510"/>
              <a:gd name="connsiteY113" fmla="*/ 482498 h 662520"/>
              <a:gd name="connsiteX114" fmla="*/ 959936 w 2644510"/>
              <a:gd name="connsiteY114" fmla="*/ 527743 h 662520"/>
              <a:gd name="connsiteX115" fmla="*/ 944659 w 2644510"/>
              <a:gd name="connsiteY115" fmla="*/ 567021 h 662520"/>
              <a:gd name="connsiteX116" fmla="*/ 920122 w 2644510"/>
              <a:gd name="connsiteY116" fmla="*/ 600232 h 662520"/>
              <a:gd name="connsiteX117" fmla="*/ 887285 w 2644510"/>
              <a:gd name="connsiteY117" fmla="*/ 627278 h 662520"/>
              <a:gd name="connsiteX118" fmla="*/ 847106 w 2644510"/>
              <a:gd name="connsiteY118" fmla="*/ 648061 h 662520"/>
              <a:gd name="connsiteX119" fmla="*/ 800544 w 2644510"/>
              <a:gd name="connsiteY119" fmla="*/ 662482 h 662520"/>
              <a:gd name="connsiteX120" fmla="*/ 1360843 w 2644510"/>
              <a:gd name="connsiteY120" fmla="*/ 662495 h 662520"/>
              <a:gd name="connsiteX121" fmla="*/ 1322871 w 2644510"/>
              <a:gd name="connsiteY121" fmla="*/ 649352 h 662520"/>
              <a:gd name="connsiteX122" fmla="*/ 1287296 w 2644510"/>
              <a:gd name="connsiteY122" fmla="*/ 630560 h 662520"/>
              <a:gd name="connsiteX123" fmla="*/ 1254670 w 2644510"/>
              <a:gd name="connsiteY123" fmla="*/ 606062 h 662520"/>
              <a:gd name="connsiteX124" fmla="*/ 1225546 w 2644510"/>
              <a:gd name="connsiteY124" fmla="*/ 575802 h 662520"/>
              <a:gd name="connsiteX125" fmla="*/ 1200477 w 2644510"/>
              <a:gd name="connsiteY125" fmla="*/ 539722 h 662520"/>
              <a:gd name="connsiteX126" fmla="*/ 1180016 w 2644510"/>
              <a:gd name="connsiteY126" fmla="*/ 497766 h 662520"/>
              <a:gd name="connsiteX127" fmla="*/ 1164717 w 2644510"/>
              <a:gd name="connsiteY127" fmla="*/ 449876 h 662520"/>
              <a:gd name="connsiteX128" fmla="*/ 1155131 w 2644510"/>
              <a:gd name="connsiteY128" fmla="*/ 395995 h 662520"/>
              <a:gd name="connsiteX129" fmla="*/ 1151813 w 2644510"/>
              <a:gd name="connsiteY129" fmla="*/ 336067 h 662520"/>
              <a:gd name="connsiteX130" fmla="*/ 1155053 w 2644510"/>
              <a:gd name="connsiteY130" fmla="*/ 276826 h 662520"/>
              <a:gd name="connsiteX131" fmla="*/ 1164415 w 2644510"/>
              <a:gd name="connsiteY131" fmla="*/ 223488 h 662520"/>
              <a:gd name="connsiteX132" fmla="*/ 1179368 w 2644510"/>
              <a:gd name="connsiteY132" fmla="*/ 175997 h 662520"/>
              <a:gd name="connsiteX133" fmla="*/ 1199377 w 2644510"/>
              <a:gd name="connsiteY133" fmla="*/ 134299 h 662520"/>
              <a:gd name="connsiteX134" fmla="*/ 1223910 w 2644510"/>
              <a:gd name="connsiteY134" fmla="*/ 98339 h 662520"/>
              <a:gd name="connsiteX135" fmla="*/ 1252434 w 2644510"/>
              <a:gd name="connsiteY135" fmla="*/ 68062 h 662520"/>
              <a:gd name="connsiteX136" fmla="*/ 1284414 w 2644510"/>
              <a:gd name="connsiteY136" fmla="*/ 43413 h 662520"/>
              <a:gd name="connsiteX137" fmla="*/ 1319318 w 2644510"/>
              <a:gd name="connsiteY137" fmla="*/ 24337 h 662520"/>
              <a:gd name="connsiteX138" fmla="*/ 1356613 w 2644510"/>
              <a:gd name="connsiteY138" fmla="*/ 10780 h 662520"/>
              <a:gd name="connsiteX139" fmla="*/ 1395766 w 2644510"/>
              <a:gd name="connsiteY139" fmla="*/ 2685 h 662520"/>
              <a:gd name="connsiteX140" fmla="*/ 1436243 w 2644510"/>
              <a:gd name="connsiteY140" fmla="*/ 0 h 662520"/>
              <a:gd name="connsiteX141" fmla="*/ 1476722 w 2644510"/>
              <a:gd name="connsiteY141" fmla="*/ 2685 h 662520"/>
              <a:gd name="connsiteX142" fmla="*/ 1515876 w 2644510"/>
              <a:gd name="connsiteY142" fmla="*/ 10780 h 662520"/>
              <a:gd name="connsiteX143" fmla="*/ 1553172 w 2644510"/>
              <a:gd name="connsiteY143" fmla="*/ 24337 h 662520"/>
              <a:gd name="connsiteX144" fmla="*/ 1588076 w 2644510"/>
              <a:gd name="connsiteY144" fmla="*/ 43413 h 662520"/>
              <a:gd name="connsiteX145" fmla="*/ 1620056 w 2644510"/>
              <a:gd name="connsiteY145" fmla="*/ 68062 h 662520"/>
              <a:gd name="connsiteX146" fmla="*/ 1648579 w 2644510"/>
              <a:gd name="connsiteY146" fmla="*/ 98339 h 662520"/>
              <a:gd name="connsiteX147" fmla="*/ 1673111 w 2644510"/>
              <a:gd name="connsiteY147" fmla="*/ 134299 h 662520"/>
              <a:gd name="connsiteX148" fmla="*/ 1693119 w 2644510"/>
              <a:gd name="connsiteY148" fmla="*/ 175997 h 662520"/>
              <a:gd name="connsiteX149" fmla="*/ 1708071 w 2644510"/>
              <a:gd name="connsiteY149" fmla="*/ 223488 h 662520"/>
              <a:gd name="connsiteX150" fmla="*/ 1717433 w 2644510"/>
              <a:gd name="connsiteY150" fmla="*/ 276826 h 662520"/>
              <a:gd name="connsiteX151" fmla="*/ 1720672 w 2644510"/>
              <a:gd name="connsiteY151" fmla="*/ 336067 h 662520"/>
              <a:gd name="connsiteX152" fmla="*/ 1717354 w 2644510"/>
              <a:gd name="connsiteY152" fmla="*/ 395995 h 662520"/>
              <a:gd name="connsiteX153" fmla="*/ 1707768 w 2644510"/>
              <a:gd name="connsiteY153" fmla="*/ 449876 h 662520"/>
              <a:gd name="connsiteX154" fmla="*/ 1692469 w 2644510"/>
              <a:gd name="connsiteY154" fmla="*/ 497766 h 662520"/>
              <a:gd name="connsiteX155" fmla="*/ 1672008 w 2644510"/>
              <a:gd name="connsiteY155" fmla="*/ 539722 h 662520"/>
              <a:gd name="connsiteX156" fmla="*/ 1646939 w 2644510"/>
              <a:gd name="connsiteY156" fmla="*/ 575802 h 662520"/>
              <a:gd name="connsiteX157" fmla="*/ 1617815 w 2644510"/>
              <a:gd name="connsiteY157" fmla="*/ 606062 h 662520"/>
              <a:gd name="connsiteX158" fmla="*/ 1585189 w 2644510"/>
              <a:gd name="connsiteY158" fmla="*/ 630560 h 662520"/>
              <a:gd name="connsiteX159" fmla="*/ 1549614 w 2644510"/>
              <a:gd name="connsiteY159" fmla="*/ 649352 h 662520"/>
              <a:gd name="connsiteX160" fmla="*/ 1511642 w 2644510"/>
              <a:gd name="connsiteY160" fmla="*/ 662495 h 662520"/>
              <a:gd name="connsiteX161" fmla="*/ 1943430 w 2644510"/>
              <a:gd name="connsiteY161" fmla="*/ 662495 h 662520"/>
              <a:gd name="connsiteX162" fmla="*/ 1905459 w 2644510"/>
              <a:gd name="connsiteY162" fmla="*/ 649348 h 662520"/>
              <a:gd name="connsiteX163" fmla="*/ 1869885 w 2644510"/>
              <a:gd name="connsiteY163" fmla="*/ 630555 h 662520"/>
              <a:gd name="connsiteX164" fmla="*/ 1837261 w 2644510"/>
              <a:gd name="connsiteY164" fmla="*/ 606057 h 662520"/>
              <a:gd name="connsiteX165" fmla="*/ 1808138 w 2644510"/>
              <a:gd name="connsiteY165" fmla="*/ 575797 h 662520"/>
              <a:gd name="connsiteX166" fmla="*/ 1783072 w 2644510"/>
              <a:gd name="connsiteY166" fmla="*/ 539718 h 662520"/>
              <a:gd name="connsiteX167" fmla="*/ 1762613 w 2644510"/>
              <a:gd name="connsiteY167" fmla="*/ 497763 h 662520"/>
              <a:gd name="connsiteX168" fmla="*/ 1747315 w 2644510"/>
              <a:gd name="connsiteY168" fmla="*/ 449874 h 662520"/>
              <a:gd name="connsiteX169" fmla="*/ 1737731 w 2644510"/>
              <a:gd name="connsiteY169" fmla="*/ 395995 h 662520"/>
              <a:gd name="connsiteX170" fmla="*/ 1734413 w 2644510"/>
              <a:gd name="connsiteY170" fmla="*/ 336067 h 662520"/>
              <a:gd name="connsiteX171" fmla="*/ 1737652 w 2644510"/>
              <a:gd name="connsiteY171" fmla="*/ 276826 h 662520"/>
              <a:gd name="connsiteX172" fmla="*/ 1747014 w 2644510"/>
              <a:gd name="connsiteY172" fmla="*/ 223488 h 662520"/>
              <a:gd name="connsiteX173" fmla="*/ 1761965 w 2644510"/>
              <a:gd name="connsiteY173" fmla="*/ 175997 h 662520"/>
              <a:gd name="connsiteX174" fmla="*/ 1781973 w 2644510"/>
              <a:gd name="connsiteY174" fmla="*/ 134299 h 662520"/>
              <a:gd name="connsiteX175" fmla="*/ 1806505 w 2644510"/>
              <a:gd name="connsiteY175" fmla="*/ 98339 h 662520"/>
              <a:gd name="connsiteX176" fmla="*/ 1835026 w 2644510"/>
              <a:gd name="connsiteY176" fmla="*/ 68062 h 662520"/>
              <a:gd name="connsiteX177" fmla="*/ 1867005 w 2644510"/>
              <a:gd name="connsiteY177" fmla="*/ 43413 h 662520"/>
              <a:gd name="connsiteX178" fmla="*/ 1901908 w 2644510"/>
              <a:gd name="connsiteY178" fmla="*/ 24337 h 662520"/>
              <a:gd name="connsiteX179" fmla="*/ 1939202 w 2644510"/>
              <a:gd name="connsiteY179" fmla="*/ 10780 h 662520"/>
              <a:gd name="connsiteX180" fmla="*/ 1978353 w 2644510"/>
              <a:gd name="connsiteY180" fmla="*/ 2685 h 662520"/>
              <a:gd name="connsiteX181" fmla="*/ 2018830 w 2644510"/>
              <a:gd name="connsiteY181" fmla="*/ 0 h 662520"/>
              <a:gd name="connsiteX182" fmla="*/ 2059309 w 2644510"/>
              <a:gd name="connsiteY182" fmla="*/ 2685 h 662520"/>
              <a:gd name="connsiteX183" fmla="*/ 2098463 w 2644510"/>
              <a:gd name="connsiteY183" fmla="*/ 10780 h 662520"/>
              <a:gd name="connsiteX184" fmla="*/ 2135759 w 2644510"/>
              <a:gd name="connsiteY184" fmla="*/ 24337 h 662520"/>
              <a:gd name="connsiteX185" fmla="*/ 2170664 w 2644510"/>
              <a:gd name="connsiteY185" fmla="*/ 43413 h 662520"/>
              <a:gd name="connsiteX186" fmla="*/ 2202644 w 2644510"/>
              <a:gd name="connsiteY186" fmla="*/ 68062 h 662520"/>
              <a:gd name="connsiteX187" fmla="*/ 2231166 w 2644510"/>
              <a:gd name="connsiteY187" fmla="*/ 98339 h 662520"/>
              <a:gd name="connsiteX188" fmla="*/ 2255698 w 2644510"/>
              <a:gd name="connsiteY188" fmla="*/ 134299 h 662520"/>
              <a:gd name="connsiteX189" fmla="*/ 2275706 w 2644510"/>
              <a:gd name="connsiteY189" fmla="*/ 175997 h 662520"/>
              <a:gd name="connsiteX190" fmla="*/ 2290658 w 2644510"/>
              <a:gd name="connsiteY190" fmla="*/ 223488 h 662520"/>
              <a:gd name="connsiteX191" fmla="*/ 2300020 w 2644510"/>
              <a:gd name="connsiteY191" fmla="*/ 276826 h 662520"/>
              <a:gd name="connsiteX192" fmla="*/ 2303259 w 2644510"/>
              <a:gd name="connsiteY192" fmla="*/ 336067 h 662520"/>
              <a:gd name="connsiteX193" fmla="*/ 2299941 w 2644510"/>
              <a:gd name="connsiteY193" fmla="*/ 395991 h 662520"/>
              <a:gd name="connsiteX194" fmla="*/ 2290357 w 2644510"/>
              <a:gd name="connsiteY194" fmla="*/ 449869 h 662520"/>
              <a:gd name="connsiteX195" fmla="*/ 2275059 w 2644510"/>
              <a:gd name="connsiteY195" fmla="*/ 497757 h 662520"/>
              <a:gd name="connsiteX196" fmla="*/ 2254600 w 2644510"/>
              <a:gd name="connsiteY196" fmla="*/ 539713 h 662520"/>
              <a:gd name="connsiteX197" fmla="*/ 2229533 w 2644510"/>
              <a:gd name="connsiteY197" fmla="*/ 575793 h 662520"/>
              <a:gd name="connsiteX198" fmla="*/ 2200411 w 2644510"/>
              <a:gd name="connsiteY198" fmla="*/ 606054 h 662520"/>
              <a:gd name="connsiteX199" fmla="*/ 2167787 w 2644510"/>
              <a:gd name="connsiteY199" fmla="*/ 630553 h 662520"/>
              <a:gd name="connsiteX200" fmla="*/ 2132213 w 2644510"/>
              <a:gd name="connsiteY200" fmla="*/ 649348 h 662520"/>
              <a:gd name="connsiteX201" fmla="*/ 2094242 w 2644510"/>
              <a:gd name="connsiteY201" fmla="*/ 662495 h 662520"/>
              <a:gd name="connsiteX202" fmla="*/ 2528582 w 2644510"/>
              <a:gd name="connsiteY202" fmla="*/ 662482 h 662520"/>
              <a:gd name="connsiteX203" fmla="*/ 2490620 w 2644510"/>
              <a:gd name="connsiteY203" fmla="*/ 649332 h 662520"/>
              <a:gd name="connsiteX204" fmla="*/ 2455053 w 2644510"/>
              <a:gd name="connsiteY204" fmla="*/ 630534 h 662520"/>
              <a:gd name="connsiteX205" fmla="*/ 2422435 w 2644510"/>
              <a:gd name="connsiteY205" fmla="*/ 606033 h 662520"/>
              <a:gd name="connsiteX206" fmla="*/ 2393318 w 2644510"/>
              <a:gd name="connsiteY206" fmla="*/ 575772 h 662520"/>
              <a:gd name="connsiteX207" fmla="*/ 2368257 w 2644510"/>
              <a:gd name="connsiteY207" fmla="*/ 539693 h 662520"/>
              <a:gd name="connsiteX208" fmla="*/ 2347803 w 2644510"/>
              <a:gd name="connsiteY208" fmla="*/ 497740 h 662520"/>
              <a:gd name="connsiteX209" fmla="*/ 2332510 w 2644510"/>
              <a:gd name="connsiteY209" fmla="*/ 449856 h 662520"/>
              <a:gd name="connsiteX210" fmla="*/ 2322930 w 2644510"/>
              <a:gd name="connsiteY210" fmla="*/ 395984 h 662520"/>
              <a:gd name="connsiteX211" fmla="*/ 2319616 w 2644510"/>
              <a:gd name="connsiteY211" fmla="*/ 336067 h 662520"/>
              <a:gd name="connsiteX212" fmla="*/ 2322855 w 2644510"/>
              <a:gd name="connsiteY212" fmla="*/ 276826 h 662520"/>
              <a:gd name="connsiteX213" fmla="*/ 2332217 w 2644510"/>
              <a:gd name="connsiteY213" fmla="*/ 223488 h 662520"/>
              <a:gd name="connsiteX214" fmla="*/ 2347169 w 2644510"/>
              <a:gd name="connsiteY214" fmla="*/ 175997 h 662520"/>
              <a:gd name="connsiteX215" fmla="*/ 2367177 w 2644510"/>
              <a:gd name="connsiteY215" fmla="*/ 134299 h 662520"/>
              <a:gd name="connsiteX216" fmla="*/ 2391708 w 2644510"/>
              <a:gd name="connsiteY216" fmla="*/ 98339 h 662520"/>
              <a:gd name="connsiteX217" fmla="*/ 2420230 w 2644510"/>
              <a:gd name="connsiteY217" fmla="*/ 68062 h 662520"/>
              <a:gd name="connsiteX218" fmla="*/ 2452208 w 2644510"/>
              <a:gd name="connsiteY218" fmla="*/ 43413 h 662520"/>
              <a:gd name="connsiteX219" fmla="*/ 2487111 w 2644510"/>
              <a:gd name="connsiteY219" fmla="*/ 24337 h 662520"/>
              <a:gd name="connsiteX220" fmla="*/ 2524405 w 2644510"/>
              <a:gd name="connsiteY220" fmla="*/ 10780 h 662520"/>
              <a:gd name="connsiteX221" fmla="*/ 2563557 w 2644510"/>
              <a:gd name="connsiteY221" fmla="*/ 2685 h 662520"/>
              <a:gd name="connsiteX222" fmla="*/ 2604033 w 2644510"/>
              <a:gd name="connsiteY222" fmla="*/ 0 h 662520"/>
              <a:gd name="connsiteX223" fmla="*/ 2644510 w 2644510"/>
              <a:gd name="connsiteY223" fmla="*/ 2685 h 662520"/>
              <a:gd name="connsiteX0" fmla="*/ 74231 w 2604033"/>
              <a:gd name="connsiteY0" fmla="*/ 662482 h 662520"/>
              <a:gd name="connsiteX1" fmla="*/ 60344 w 2604033"/>
              <a:gd name="connsiteY1" fmla="*/ 659582 h 662520"/>
              <a:gd name="connsiteX2" fmla="*/ 47517 w 2604033"/>
              <a:gd name="connsiteY2" fmla="*/ 656437 h 662520"/>
              <a:gd name="connsiteX3" fmla="*/ 35823 w 2604033"/>
              <a:gd name="connsiteY3" fmla="*/ 653092 h 662520"/>
              <a:gd name="connsiteX4" fmla="*/ 25336 w 2604033"/>
              <a:gd name="connsiteY4" fmla="*/ 649592 h 662520"/>
              <a:gd name="connsiteX5" fmla="*/ 25336 w 2604033"/>
              <a:gd name="connsiteY5" fmla="*/ 533196 h 662520"/>
              <a:gd name="connsiteX6" fmla="*/ 104190 w 2604033"/>
              <a:gd name="connsiteY6" fmla="*/ 533196 h 662520"/>
              <a:gd name="connsiteX7" fmla="*/ 116931 w 2604033"/>
              <a:gd name="connsiteY7" fmla="*/ 550133 h 662520"/>
              <a:gd name="connsiteX8" fmla="*/ 135043 w 2604033"/>
              <a:gd name="connsiteY8" fmla="*/ 564522 h 662520"/>
              <a:gd name="connsiteX9" fmla="*/ 160020 w 2604033"/>
              <a:gd name="connsiteY9" fmla="*/ 574514 h 662520"/>
              <a:gd name="connsiteX10" fmla="*/ 193357 w 2604033"/>
              <a:gd name="connsiteY10" fmla="*/ 578256 h 662520"/>
              <a:gd name="connsiteX11" fmla="*/ 233829 w 2604033"/>
              <a:gd name="connsiteY11" fmla="*/ 573672 h 662520"/>
              <a:gd name="connsiteX12" fmla="*/ 297105 w 2604033"/>
              <a:gd name="connsiteY12" fmla="*/ 537246 h 662520"/>
              <a:gd name="connsiteX13" fmla="*/ 320040 w 2604033"/>
              <a:gd name="connsiteY13" fmla="*/ 505568 h 662520"/>
              <a:gd name="connsiteX14" fmla="*/ 337261 w 2604033"/>
              <a:gd name="connsiteY14" fmla="*/ 465022 h 662520"/>
              <a:gd name="connsiteX15" fmla="*/ 348834 w 2604033"/>
              <a:gd name="connsiteY15" fmla="*/ 415691 h 662520"/>
              <a:gd name="connsiteX16" fmla="*/ 354825 w 2604033"/>
              <a:gd name="connsiteY16" fmla="*/ 357657 h 662520"/>
              <a:gd name="connsiteX17" fmla="*/ 325357 w 2604033"/>
              <a:gd name="connsiteY17" fmla="*/ 385098 h 662520"/>
              <a:gd name="connsiteX18" fmla="*/ 289466 w 2604033"/>
              <a:gd name="connsiteY18" fmla="*/ 406117 h 662520"/>
              <a:gd name="connsiteX19" fmla="*/ 247767 w 2604033"/>
              <a:gd name="connsiteY19" fmla="*/ 419568 h 662520"/>
              <a:gd name="connsiteX20" fmla="*/ 200875 w 2604033"/>
              <a:gd name="connsiteY20" fmla="*/ 424306 h 662520"/>
              <a:gd name="connsiteX21" fmla="*/ 153099 w 2604033"/>
              <a:gd name="connsiteY21" fmla="*/ 420031 h 662520"/>
              <a:gd name="connsiteX22" fmla="*/ 110150 w 2604033"/>
              <a:gd name="connsiteY22" fmla="*/ 407348 h 662520"/>
              <a:gd name="connsiteX23" fmla="*/ 72948 w 2604033"/>
              <a:gd name="connsiteY23" fmla="*/ 386472 h 662520"/>
              <a:gd name="connsiteX24" fmla="*/ 42412 w 2604033"/>
              <a:gd name="connsiteY24" fmla="*/ 357614 h 662520"/>
              <a:gd name="connsiteX25" fmla="*/ 19463 w 2604033"/>
              <a:gd name="connsiteY25" fmla="*/ 320990 h 662520"/>
              <a:gd name="connsiteX26" fmla="*/ 5019 w 2604033"/>
              <a:gd name="connsiteY26" fmla="*/ 276814 h 662520"/>
              <a:gd name="connsiteX27" fmla="*/ 0 w 2604033"/>
              <a:gd name="connsiteY27" fmla="*/ 225297 h 662520"/>
              <a:gd name="connsiteX28" fmla="*/ 4447 w 2604033"/>
              <a:gd name="connsiteY28" fmla="*/ 178425 h 662520"/>
              <a:gd name="connsiteX29" fmla="*/ 17453 w 2604033"/>
              <a:gd name="connsiteY29" fmla="*/ 135445 h 662520"/>
              <a:gd name="connsiteX30" fmla="*/ 38511 w 2604033"/>
              <a:gd name="connsiteY30" fmla="*/ 97085 h 662520"/>
              <a:gd name="connsiteX31" fmla="*/ 67116 w 2604033"/>
              <a:gd name="connsiteY31" fmla="*/ 64071 h 662520"/>
              <a:gd name="connsiteX32" fmla="*/ 102760 w 2604033"/>
              <a:gd name="connsiteY32" fmla="*/ 37129 h 662520"/>
              <a:gd name="connsiteX33" fmla="*/ 144939 w 2604033"/>
              <a:gd name="connsiteY33" fmla="*/ 16986 h 662520"/>
              <a:gd name="connsiteX34" fmla="*/ 193146 w 2604033"/>
              <a:gd name="connsiteY34" fmla="*/ 4367 h 662520"/>
              <a:gd name="connsiteX35" fmla="*/ 246875 w 2604033"/>
              <a:gd name="connsiteY35" fmla="*/ 0 h 662520"/>
              <a:gd name="connsiteX36" fmla="*/ 290625 w 2604033"/>
              <a:gd name="connsiteY36" fmla="*/ 2882 h 662520"/>
              <a:gd name="connsiteX37" fmla="*/ 331492 w 2604033"/>
              <a:gd name="connsiteY37" fmla="*/ 11678 h 662520"/>
              <a:gd name="connsiteX38" fmla="*/ 369070 w 2604033"/>
              <a:gd name="connsiteY38" fmla="*/ 26614 h 662520"/>
              <a:gd name="connsiteX39" fmla="*/ 402953 w 2604033"/>
              <a:gd name="connsiteY39" fmla="*/ 47914 h 662520"/>
              <a:gd name="connsiteX40" fmla="*/ 432736 w 2604033"/>
              <a:gd name="connsiteY40" fmla="*/ 75804 h 662520"/>
              <a:gd name="connsiteX41" fmla="*/ 458013 w 2604033"/>
              <a:gd name="connsiteY41" fmla="*/ 110509 h 662520"/>
              <a:gd name="connsiteX42" fmla="*/ 478379 w 2604033"/>
              <a:gd name="connsiteY42" fmla="*/ 152255 h 662520"/>
              <a:gd name="connsiteX43" fmla="*/ 493429 w 2604033"/>
              <a:gd name="connsiteY43" fmla="*/ 201265 h 662520"/>
              <a:gd name="connsiteX44" fmla="*/ 502756 w 2604033"/>
              <a:gd name="connsiteY44" fmla="*/ 257766 h 662520"/>
              <a:gd name="connsiteX45" fmla="*/ 505955 w 2604033"/>
              <a:gd name="connsiteY45" fmla="*/ 321983 h 662520"/>
              <a:gd name="connsiteX46" fmla="*/ 503406 w 2604033"/>
              <a:gd name="connsiteY46" fmla="*/ 376707 h 662520"/>
              <a:gd name="connsiteX47" fmla="*/ 495858 w 2604033"/>
              <a:gd name="connsiteY47" fmla="*/ 427041 h 662520"/>
              <a:gd name="connsiteX48" fmla="*/ 483456 w 2604033"/>
              <a:gd name="connsiteY48" fmla="*/ 472909 h 662520"/>
              <a:gd name="connsiteX49" fmla="*/ 466346 w 2604033"/>
              <a:gd name="connsiteY49" fmla="*/ 514232 h 662520"/>
              <a:gd name="connsiteX50" fmla="*/ 444674 w 2604033"/>
              <a:gd name="connsiteY50" fmla="*/ 550937 h 662520"/>
              <a:gd name="connsiteX51" fmla="*/ 418587 w 2604033"/>
              <a:gd name="connsiteY51" fmla="*/ 582945 h 662520"/>
              <a:gd name="connsiteX52" fmla="*/ 388229 w 2604033"/>
              <a:gd name="connsiteY52" fmla="*/ 610181 h 662520"/>
              <a:gd name="connsiteX53" fmla="*/ 353748 w 2604033"/>
              <a:gd name="connsiteY53" fmla="*/ 632569 h 662520"/>
              <a:gd name="connsiteX54" fmla="*/ 315289 w 2604033"/>
              <a:gd name="connsiteY54" fmla="*/ 650033 h 662520"/>
              <a:gd name="connsiteX55" fmla="*/ 272999 w 2604033"/>
              <a:gd name="connsiteY55" fmla="*/ 662495 h 662520"/>
              <a:gd name="connsiteX56" fmla="*/ 592162 w 2604033"/>
              <a:gd name="connsiteY56" fmla="*/ 662520 h 662520"/>
              <a:gd name="connsiteX57" fmla="*/ 571167 w 2604033"/>
              <a:gd name="connsiteY57" fmla="*/ 658030 h 662520"/>
              <a:gd name="connsiteX58" fmla="*/ 551373 w 2604033"/>
              <a:gd name="connsiteY58" fmla="*/ 652783 h 662520"/>
              <a:gd name="connsiteX59" fmla="*/ 532537 w 2604033"/>
              <a:gd name="connsiteY59" fmla="*/ 646826 h 662520"/>
              <a:gd name="connsiteX60" fmla="*/ 514413 w 2604033"/>
              <a:gd name="connsiteY60" fmla="*/ 640206 h 662520"/>
              <a:gd name="connsiteX61" fmla="*/ 514413 w 2604033"/>
              <a:gd name="connsiteY61" fmla="*/ 516293 h 662520"/>
              <a:gd name="connsiteX62" fmla="*/ 596087 w 2604033"/>
              <a:gd name="connsiteY62" fmla="*/ 516293 h 662520"/>
              <a:gd name="connsiteX63" fmla="*/ 612203 w 2604033"/>
              <a:gd name="connsiteY63" fmla="*/ 539439 h 662520"/>
              <a:gd name="connsiteX64" fmla="*/ 635627 w 2604033"/>
              <a:gd name="connsiteY64" fmla="*/ 559242 h 662520"/>
              <a:gd name="connsiteX65" fmla="*/ 666972 w 2604033"/>
              <a:gd name="connsiteY65" fmla="*/ 573062 h 662520"/>
              <a:gd name="connsiteX66" fmla="*/ 706856 w 2604033"/>
              <a:gd name="connsiteY66" fmla="*/ 578256 h 662520"/>
              <a:gd name="connsiteX67" fmla="*/ 749359 w 2604033"/>
              <a:gd name="connsiteY67" fmla="*/ 571758 h 662520"/>
              <a:gd name="connsiteX68" fmla="*/ 784298 w 2604033"/>
              <a:gd name="connsiteY68" fmla="*/ 552322 h 662520"/>
              <a:gd name="connsiteX69" fmla="*/ 807972 w 2604033"/>
              <a:gd name="connsiteY69" fmla="*/ 520038 h 662520"/>
              <a:gd name="connsiteX70" fmla="*/ 816686 w 2604033"/>
              <a:gd name="connsiteY70" fmla="*/ 474992 h 662520"/>
              <a:gd name="connsiteX71" fmla="*/ 809424 w 2604033"/>
              <a:gd name="connsiteY71" fmla="*/ 430240 h 662520"/>
              <a:gd name="connsiteX72" fmla="*/ 787466 w 2604033"/>
              <a:gd name="connsiteY72" fmla="*/ 398602 h 662520"/>
              <a:gd name="connsiteX73" fmla="*/ 750549 w 2604033"/>
              <a:gd name="connsiteY73" fmla="*/ 379812 h 662520"/>
              <a:gd name="connsiteX74" fmla="*/ 698411 w 2604033"/>
              <a:gd name="connsiteY74" fmla="*/ 373608 h 662520"/>
              <a:gd name="connsiteX75" fmla="*/ 649592 w 2604033"/>
              <a:gd name="connsiteY75" fmla="*/ 373608 h 662520"/>
              <a:gd name="connsiteX76" fmla="*/ 649592 w 2604033"/>
              <a:gd name="connsiteY76" fmla="*/ 286308 h 662520"/>
              <a:gd name="connsiteX77" fmla="*/ 690892 w 2604033"/>
              <a:gd name="connsiteY77" fmla="*/ 286308 h 662520"/>
              <a:gd name="connsiteX78" fmla="*/ 744563 w 2604033"/>
              <a:gd name="connsiteY78" fmla="*/ 280133 h 662520"/>
              <a:gd name="connsiteX79" fmla="*/ 783007 w 2604033"/>
              <a:gd name="connsiteY79" fmla="*/ 261550 h 662520"/>
              <a:gd name="connsiteX80" fmla="*/ 806137 w 2604033"/>
              <a:gd name="connsiteY80" fmla="*/ 230469 h 662520"/>
              <a:gd name="connsiteX81" fmla="*/ 813866 w 2604033"/>
              <a:gd name="connsiteY81" fmla="*/ 186804 h 662520"/>
              <a:gd name="connsiteX82" fmla="*/ 808513 w 2604033"/>
              <a:gd name="connsiteY82" fmla="*/ 149115 h 662520"/>
              <a:gd name="connsiteX83" fmla="*/ 792160 w 2604033"/>
              <a:gd name="connsiteY83" fmla="*/ 121104 h 662520"/>
              <a:gd name="connsiteX84" fmla="*/ 764365 w 2604033"/>
              <a:gd name="connsiteY84" fmla="*/ 103651 h 662520"/>
              <a:gd name="connsiteX85" fmla="*/ 724687 w 2604033"/>
              <a:gd name="connsiteY85" fmla="*/ 97637 h 662520"/>
              <a:gd name="connsiteX86" fmla="*/ 687243 w 2604033"/>
              <a:gd name="connsiteY86" fmla="*/ 102374 h 662520"/>
              <a:gd name="connsiteX87" fmla="*/ 657456 w 2604033"/>
              <a:gd name="connsiteY87" fmla="*/ 115117 h 662520"/>
              <a:gd name="connsiteX88" fmla="*/ 634533 w 2604033"/>
              <a:gd name="connsiteY88" fmla="*/ 133668 h 662520"/>
              <a:gd name="connsiteX89" fmla="*/ 617677 w 2604033"/>
              <a:gd name="connsiteY89" fmla="*/ 155828 h 662520"/>
              <a:gd name="connsiteX90" fmla="*/ 539775 w 2604033"/>
              <a:gd name="connsiteY90" fmla="*/ 155828 h 662520"/>
              <a:gd name="connsiteX91" fmla="*/ 539775 w 2604033"/>
              <a:gd name="connsiteY91" fmla="*/ 33807 h 662520"/>
              <a:gd name="connsiteX92" fmla="*/ 584006 w 2604033"/>
              <a:gd name="connsiteY92" fmla="*/ 19813 h 662520"/>
              <a:gd name="connsiteX93" fmla="*/ 631056 w 2604033"/>
              <a:gd name="connsiteY93" fmla="*/ 9159 h 662520"/>
              <a:gd name="connsiteX94" fmla="*/ 681278 w 2604033"/>
              <a:gd name="connsiteY94" fmla="*/ 2378 h 662520"/>
              <a:gd name="connsiteX95" fmla="*/ 735025 w 2604033"/>
              <a:gd name="connsiteY95" fmla="*/ 0 h 662520"/>
              <a:gd name="connsiteX96" fmla="*/ 790395 w 2604033"/>
              <a:gd name="connsiteY96" fmla="*/ 3158 h 662520"/>
              <a:gd name="connsiteX97" fmla="*/ 838689 w 2604033"/>
              <a:gd name="connsiteY97" fmla="*/ 12853 h 662520"/>
              <a:gd name="connsiteX98" fmla="*/ 879380 w 2604033"/>
              <a:gd name="connsiteY98" fmla="*/ 29412 h 662520"/>
              <a:gd name="connsiteX99" fmla="*/ 911943 w 2604033"/>
              <a:gd name="connsiteY99" fmla="*/ 53163 h 662520"/>
              <a:gd name="connsiteX100" fmla="*/ 935853 w 2604033"/>
              <a:gd name="connsiteY100" fmla="*/ 84435 h 662520"/>
              <a:gd name="connsiteX101" fmla="*/ 950584 w 2604033"/>
              <a:gd name="connsiteY101" fmla="*/ 123555 h 662520"/>
              <a:gd name="connsiteX102" fmla="*/ 955611 w 2604033"/>
              <a:gd name="connsiteY102" fmla="*/ 170853 h 662520"/>
              <a:gd name="connsiteX103" fmla="*/ 949453 w 2604033"/>
              <a:gd name="connsiteY103" fmla="*/ 219568 h 662520"/>
              <a:gd name="connsiteX104" fmla="*/ 931581 w 2604033"/>
              <a:gd name="connsiteY104" fmla="*/ 258234 h 662520"/>
              <a:gd name="connsiteX105" fmla="*/ 902895 w 2604033"/>
              <a:gd name="connsiteY105" fmla="*/ 287843 h 662520"/>
              <a:gd name="connsiteX106" fmla="*/ 864296 w 2604033"/>
              <a:gd name="connsiteY106" fmla="*/ 309388 h 662520"/>
              <a:gd name="connsiteX107" fmla="*/ 816686 w 2604033"/>
              <a:gd name="connsiteY107" fmla="*/ 323862 h 662520"/>
              <a:gd name="connsiteX108" fmla="*/ 816686 w 2604033"/>
              <a:gd name="connsiteY108" fmla="*/ 327609 h 662520"/>
              <a:gd name="connsiteX109" fmla="*/ 870681 w 2604033"/>
              <a:gd name="connsiteY109" fmla="*/ 340566 h 662520"/>
              <a:gd name="connsiteX110" fmla="*/ 912283 w 2604033"/>
              <a:gd name="connsiteY110" fmla="*/ 362534 h 662520"/>
              <a:gd name="connsiteX111" fmla="*/ 941719 w 2604033"/>
              <a:gd name="connsiteY111" fmla="*/ 393513 h 662520"/>
              <a:gd name="connsiteX112" fmla="*/ 959215 w 2604033"/>
              <a:gd name="connsiteY112" fmla="*/ 433502 h 662520"/>
              <a:gd name="connsiteX113" fmla="*/ 964996 w 2604033"/>
              <a:gd name="connsiteY113" fmla="*/ 482498 h 662520"/>
              <a:gd name="connsiteX114" fmla="*/ 959936 w 2604033"/>
              <a:gd name="connsiteY114" fmla="*/ 527743 h 662520"/>
              <a:gd name="connsiteX115" fmla="*/ 944659 w 2604033"/>
              <a:gd name="connsiteY115" fmla="*/ 567021 h 662520"/>
              <a:gd name="connsiteX116" fmla="*/ 920122 w 2604033"/>
              <a:gd name="connsiteY116" fmla="*/ 600232 h 662520"/>
              <a:gd name="connsiteX117" fmla="*/ 887285 w 2604033"/>
              <a:gd name="connsiteY117" fmla="*/ 627278 h 662520"/>
              <a:gd name="connsiteX118" fmla="*/ 847106 w 2604033"/>
              <a:gd name="connsiteY118" fmla="*/ 648061 h 662520"/>
              <a:gd name="connsiteX119" fmla="*/ 800544 w 2604033"/>
              <a:gd name="connsiteY119" fmla="*/ 662482 h 662520"/>
              <a:gd name="connsiteX120" fmla="*/ 1360843 w 2604033"/>
              <a:gd name="connsiteY120" fmla="*/ 662495 h 662520"/>
              <a:gd name="connsiteX121" fmla="*/ 1322871 w 2604033"/>
              <a:gd name="connsiteY121" fmla="*/ 649352 h 662520"/>
              <a:gd name="connsiteX122" fmla="*/ 1287296 w 2604033"/>
              <a:gd name="connsiteY122" fmla="*/ 630560 h 662520"/>
              <a:gd name="connsiteX123" fmla="*/ 1254670 w 2604033"/>
              <a:gd name="connsiteY123" fmla="*/ 606062 h 662520"/>
              <a:gd name="connsiteX124" fmla="*/ 1225546 w 2604033"/>
              <a:gd name="connsiteY124" fmla="*/ 575802 h 662520"/>
              <a:gd name="connsiteX125" fmla="*/ 1200477 w 2604033"/>
              <a:gd name="connsiteY125" fmla="*/ 539722 h 662520"/>
              <a:gd name="connsiteX126" fmla="*/ 1180016 w 2604033"/>
              <a:gd name="connsiteY126" fmla="*/ 497766 h 662520"/>
              <a:gd name="connsiteX127" fmla="*/ 1164717 w 2604033"/>
              <a:gd name="connsiteY127" fmla="*/ 449876 h 662520"/>
              <a:gd name="connsiteX128" fmla="*/ 1155131 w 2604033"/>
              <a:gd name="connsiteY128" fmla="*/ 395995 h 662520"/>
              <a:gd name="connsiteX129" fmla="*/ 1151813 w 2604033"/>
              <a:gd name="connsiteY129" fmla="*/ 336067 h 662520"/>
              <a:gd name="connsiteX130" fmla="*/ 1155053 w 2604033"/>
              <a:gd name="connsiteY130" fmla="*/ 276826 h 662520"/>
              <a:gd name="connsiteX131" fmla="*/ 1164415 w 2604033"/>
              <a:gd name="connsiteY131" fmla="*/ 223488 h 662520"/>
              <a:gd name="connsiteX132" fmla="*/ 1179368 w 2604033"/>
              <a:gd name="connsiteY132" fmla="*/ 175997 h 662520"/>
              <a:gd name="connsiteX133" fmla="*/ 1199377 w 2604033"/>
              <a:gd name="connsiteY133" fmla="*/ 134299 h 662520"/>
              <a:gd name="connsiteX134" fmla="*/ 1223910 w 2604033"/>
              <a:gd name="connsiteY134" fmla="*/ 98339 h 662520"/>
              <a:gd name="connsiteX135" fmla="*/ 1252434 w 2604033"/>
              <a:gd name="connsiteY135" fmla="*/ 68062 h 662520"/>
              <a:gd name="connsiteX136" fmla="*/ 1284414 w 2604033"/>
              <a:gd name="connsiteY136" fmla="*/ 43413 h 662520"/>
              <a:gd name="connsiteX137" fmla="*/ 1319318 w 2604033"/>
              <a:gd name="connsiteY137" fmla="*/ 24337 h 662520"/>
              <a:gd name="connsiteX138" fmla="*/ 1356613 w 2604033"/>
              <a:gd name="connsiteY138" fmla="*/ 10780 h 662520"/>
              <a:gd name="connsiteX139" fmla="*/ 1395766 w 2604033"/>
              <a:gd name="connsiteY139" fmla="*/ 2685 h 662520"/>
              <a:gd name="connsiteX140" fmla="*/ 1436243 w 2604033"/>
              <a:gd name="connsiteY140" fmla="*/ 0 h 662520"/>
              <a:gd name="connsiteX141" fmla="*/ 1476722 w 2604033"/>
              <a:gd name="connsiteY141" fmla="*/ 2685 h 662520"/>
              <a:gd name="connsiteX142" fmla="*/ 1515876 w 2604033"/>
              <a:gd name="connsiteY142" fmla="*/ 10780 h 662520"/>
              <a:gd name="connsiteX143" fmla="*/ 1553172 w 2604033"/>
              <a:gd name="connsiteY143" fmla="*/ 24337 h 662520"/>
              <a:gd name="connsiteX144" fmla="*/ 1588076 w 2604033"/>
              <a:gd name="connsiteY144" fmla="*/ 43413 h 662520"/>
              <a:gd name="connsiteX145" fmla="*/ 1620056 w 2604033"/>
              <a:gd name="connsiteY145" fmla="*/ 68062 h 662520"/>
              <a:gd name="connsiteX146" fmla="*/ 1648579 w 2604033"/>
              <a:gd name="connsiteY146" fmla="*/ 98339 h 662520"/>
              <a:gd name="connsiteX147" fmla="*/ 1673111 w 2604033"/>
              <a:gd name="connsiteY147" fmla="*/ 134299 h 662520"/>
              <a:gd name="connsiteX148" fmla="*/ 1693119 w 2604033"/>
              <a:gd name="connsiteY148" fmla="*/ 175997 h 662520"/>
              <a:gd name="connsiteX149" fmla="*/ 1708071 w 2604033"/>
              <a:gd name="connsiteY149" fmla="*/ 223488 h 662520"/>
              <a:gd name="connsiteX150" fmla="*/ 1717433 w 2604033"/>
              <a:gd name="connsiteY150" fmla="*/ 276826 h 662520"/>
              <a:gd name="connsiteX151" fmla="*/ 1720672 w 2604033"/>
              <a:gd name="connsiteY151" fmla="*/ 336067 h 662520"/>
              <a:gd name="connsiteX152" fmla="*/ 1717354 w 2604033"/>
              <a:gd name="connsiteY152" fmla="*/ 395995 h 662520"/>
              <a:gd name="connsiteX153" fmla="*/ 1707768 w 2604033"/>
              <a:gd name="connsiteY153" fmla="*/ 449876 h 662520"/>
              <a:gd name="connsiteX154" fmla="*/ 1692469 w 2604033"/>
              <a:gd name="connsiteY154" fmla="*/ 497766 h 662520"/>
              <a:gd name="connsiteX155" fmla="*/ 1672008 w 2604033"/>
              <a:gd name="connsiteY155" fmla="*/ 539722 h 662520"/>
              <a:gd name="connsiteX156" fmla="*/ 1646939 w 2604033"/>
              <a:gd name="connsiteY156" fmla="*/ 575802 h 662520"/>
              <a:gd name="connsiteX157" fmla="*/ 1617815 w 2604033"/>
              <a:gd name="connsiteY157" fmla="*/ 606062 h 662520"/>
              <a:gd name="connsiteX158" fmla="*/ 1585189 w 2604033"/>
              <a:gd name="connsiteY158" fmla="*/ 630560 h 662520"/>
              <a:gd name="connsiteX159" fmla="*/ 1549614 w 2604033"/>
              <a:gd name="connsiteY159" fmla="*/ 649352 h 662520"/>
              <a:gd name="connsiteX160" fmla="*/ 1511642 w 2604033"/>
              <a:gd name="connsiteY160" fmla="*/ 662495 h 662520"/>
              <a:gd name="connsiteX161" fmla="*/ 1943430 w 2604033"/>
              <a:gd name="connsiteY161" fmla="*/ 662495 h 662520"/>
              <a:gd name="connsiteX162" fmla="*/ 1905459 w 2604033"/>
              <a:gd name="connsiteY162" fmla="*/ 649348 h 662520"/>
              <a:gd name="connsiteX163" fmla="*/ 1869885 w 2604033"/>
              <a:gd name="connsiteY163" fmla="*/ 630555 h 662520"/>
              <a:gd name="connsiteX164" fmla="*/ 1837261 w 2604033"/>
              <a:gd name="connsiteY164" fmla="*/ 606057 h 662520"/>
              <a:gd name="connsiteX165" fmla="*/ 1808138 w 2604033"/>
              <a:gd name="connsiteY165" fmla="*/ 575797 h 662520"/>
              <a:gd name="connsiteX166" fmla="*/ 1783072 w 2604033"/>
              <a:gd name="connsiteY166" fmla="*/ 539718 h 662520"/>
              <a:gd name="connsiteX167" fmla="*/ 1762613 w 2604033"/>
              <a:gd name="connsiteY167" fmla="*/ 497763 h 662520"/>
              <a:gd name="connsiteX168" fmla="*/ 1747315 w 2604033"/>
              <a:gd name="connsiteY168" fmla="*/ 449874 h 662520"/>
              <a:gd name="connsiteX169" fmla="*/ 1737731 w 2604033"/>
              <a:gd name="connsiteY169" fmla="*/ 395995 h 662520"/>
              <a:gd name="connsiteX170" fmla="*/ 1734413 w 2604033"/>
              <a:gd name="connsiteY170" fmla="*/ 336067 h 662520"/>
              <a:gd name="connsiteX171" fmla="*/ 1737652 w 2604033"/>
              <a:gd name="connsiteY171" fmla="*/ 276826 h 662520"/>
              <a:gd name="connsiteX172" fmla="*/ 1747014 w 2604033"/>
              <a:gd name="connsiteY172" fmla="*/ 223488 h 662520"/>
              <a:gd name="connsiteX173" fmla="*/ 1761965 w 2604033"/>
              <a:gd name="connsiteY173" fmla="*/ 175997 h 662520"/>
              <a:gd name="connsiteX174" fmla="*/ 1781973 w 2604033"/>
              <a:gd name="connsiteY174" fmla="*/ 134299 h 662520"/>
              <a:gd name="connsiteX175" fmla="*/ 1806505 w 2604033"/>
              <a:gd name="connsiteY175" fmla="*/ 98339 h 662520"/>
              <a:gd name="connsiteX176" fmla="*/ 1835026 w 2604033"/>
              <a:gd name="connsiteY176" fmla="*/ 68062 h 662520"/>
              <a:gd name="connsiteX177" fmla="*/ 1867005 w 2604033"/>
              <a:gd name="connsiteY177" fmla="*/ 43413 h 662520"/>
              <a:gd name="connsiteX178" fmla="*/ 1901908 w 2604033"/>
              <a:gd name="connsiteY178" fmla="*/ 24337 h 662520"/>
              <a:gd name="connsiteX179" fmla="*/ 1939202 w 2604033"/>
              <a:gd name="connsiteY179" fmla="*/ 10780 h 662520"/>
              <a:gd name="connsiteX180" fmla="*/ 1978353 w 2604033"/>
              <a:gd name="connsiteY180" fmla="*/ 2685 h 662520"/>
              <a:gd name="connsiteX181" fmla="*/ 2018830 w 2604033"/>
              <a:gd name="connsiteY181" fmla="*/ 0 h 662520"/>
              <a:gd name="connsiteX182" fmla="*/ 2059309 w 2604033"/>
              <a:gd name="connsiteY182" fmla="*/ 2685 h 662520"/>
              <a:gd name="connsiteX183" fmla="*/ 2098463 w 2604033"/>
              <a:gd name="connsiteY183" fmla="*/ 10780 h 662520"/>
              <a:gd name="connsiteX184" fmla="*/ 2135759 w 2604033"/>
              <a:gd name="connsiteY184" fmla="*/ 24337 h 662520"/>
              <a:gd name="connsiteX185" fmla="*/ 2170664 w 2604033"/>
              <a:gd name="connsiteY185" fmla="*/ 43413 h 662520"/>
              <a:gd name="connsiteX186" fmla="*/ 2202644 w 2604033"/>
              <a:gd name="connsiteY186" fmla="*/ 68062 h 662520"/>
              <a:gd name="connsiteX187" fmla="*/ 2231166 w 2604033"/>
              <a:gd name="connsiteY187" fmla="*/ 98339 h 662520"/>
              <a:gd name="connsiteX188" fmla="*/ 2255698 w 2604033"/>
              <a:gd name="connsiteY188" fmla="*/ 134299 h 662520"/>
              <a:gd name="connsiteX189" fmla="*/ 2275706 w 2604033"/>
              <a:gd name="connsiteY189" fmla="*/ 175997 h 662520"/>
              <a:gd name="connsiteX190" fmla="*/ 2290658 w 2604033"/>
              <a:gd name="connsiteY190" fmla="*/ 223488 h 662520"/>
              <a:gd name="connsiteX191" fmla="*/ 2300020 w 2604033"/>
              <a:gd name="connsiteY191" fmla="*/ 276826 h 662520"/>
              <a:gd name="connsiteX192" fmla="*/ 2303259 w 2604033"/>
              <a:gd name="connsiteY192" fmla="*/ 336067 h 662520"/>
              <a:gd name="connsiteX193" fmla="*/ 2299941 w 2604033"/>
              <a:gd name="connsiteY193" fmla="*/ 395991 h 662520"/>
              <a:gd name="connsiteX194" fmla="*/ 2290357 w 2604033"/>
              <a:gd name="connsiteY194" fmla="*/ 449869 h 662520"/>
              <a:gd name="connsiteX195" fmla="*/ 2275059 w 2604033"/>
              <a:gd name="connsiteY195" fmla="*/ 497757 h 662520"/>
              <a:gd name="connsiteX196" fmla="*/ 2254600 w 2604033"/>
              <a:gd name="connsiteY196" fmla="*/ 539713 h 662520"/>
              <a:gd name="connsiteX197" fmla="*/ 2229533 w 2604033"/>
              <a:gd name="connsiteY197" fmla="*/ 575793 h 662520"/>
              <a:gd name="connsiteX198" fmla="*/ 2200411 w 2604033"/>
              <a:gd name="connsiteY198" fmla="*/ 606054 h 662520"/>
              <a:gd name="connsiteX199" fmla="*/ 2167787 w 2604033"/>
              <a:gd name="connsiteY199" fmla="*/ 630553 h 662520"/>
              <a:gd name="connsiteX200" fmla="*/ 2132213 w 2604033"/>
              <a:gd name="connsiteY200" fmla="*/ 649348 h 662520"/>
              <a:gd name="connsiteX201" fmla="*/ 2094242 w 2604033"/>
              <a:gd name="connsiteY201" fmla="*/ 662495 h 662520"/>
              <a:gd name="connsiteX202" fmla="*/ 2528582 w 2604033"/>
              <a:gd name="connsiteY202" fmla="*/ 662482 h 662520"/>
              <a:gd name="connsiteX203" fmla="*/ 2490620 w 2604033"/>
              <a:gd name="connsiteY203" fmla="*/ 649332 h 662520"/>
              <a:gd name="connsiteX204" fmla="*/ 2455053 w 2604033"/>
              <a:gd name="connsiteY204" fmla="*/ 630534 h 662520"/>
              <a:gd name="connsiteX205" fmla="*/ 2422435 w 2604033"/>
              <a:gd name="connsiteY205" fmla="*/ 606033 h 662520"/>
              <a:gd name="connsiteX206" fmla="*/ 2393318 w 2604033"/>
              <a:gd name="connsiteY206" fmla="*/ 575772 h 662520"/>
              <a:gd name="connsiteX207" fmla="*/ 2368257 w 2604033"/>
              <a:gd name="connsiteY207" fmla="*/ 539693 h 662520"/>
              <a:gd name="connsiteX208" fmla="*/ 2347803 w 2604033"/>
              <a:gd name="connsiteY208" fmla="*/ 497740 h 662520"/>
              <a:gd name="connsiteX209" fmla="*/ 2332510 w 2604033"/>
              <a:gd name="connsiteY209" fmla="*/ 449856 h 662520"/>
              <a:gd name="connsiteX210" fmla="*/ 2322930 w 2604033"/>
              <a:gd name="connsiteY210" fmla="*/ 395984 h 662520"/>
              <a:gd name="connsiteX211" fmla="*/ 2319616 w 2604033"/>
              <a:gd name="connsiteY211" fmla="*/ 336067 h 662520"/>
              <a:gd name="connsiteX212" fmla="*/ 2322855 w 2604033"/>
              <a:gd name="connsiteY212" fmla="*/ 276826 h 662520"/>
              <a:gd name="connsiteX213" fmla="*/ 2332217 w 2604033"/>
              <a:gd name="connsiteY213" fmla="*/ 223488 h 662520"/>
              <a:gd name="connsiteX214" fmla="*/ 2347169 w 2604033"/>
              <a:gd name="connsiteY214" fmla="*/ 175997 h 662520"/>
              <a:gd name="connsiteX215" fmla="*/ 2367177 w 2604033"/>
              <a:gd name="connsiteY215" fmla="*/ 134299 h 662520"/>
              <a:gd name="connsiteX216" fmla="*/ 2391708 w 2604033"/>
              <a:gd name="connsiteY216" fmla="*/ 98339 h 662520"/>
              <a:gd name="connsiteX217" fmla="*/ 2420230 w 2604033"/>
              <a:gd name="connsiteY217" fmla="*/ 68062 h 662520"/>
              <a:gd name="connsiteX218" fmla="*/ 2452208 w 2604033"/>
              <a:gd name="connsiteY218" fmla="*/ 43413 h 662520"/>
              <a:gd name="connsiteX219" fmla="*/ 2487111 w 2604033"/>
              <a:gd name="connsiteY219" fmla="*/ 24337 h 662520"/>
              <a:gd name="connsiteX220" fmla="*/ 2524405 w 2604033"/>
              <a:gd name="connsiteY220" fmla="*/ 10780 h 662520"/>
              <a:gd name="connsiteX221" fmla="*/ 2563557 w 2604033"/>
              <a:gd name="connsiteY221" fmla="*/ 2685 h 662520"/>
              <a:gd name="connsiteX222" fmla="*/ 2604033 w 2604033"/>
              <a:gd name="connsiteY222" fmla="*/ 0 h 662520"/>
              <a:gd name="connsiteX0" fmla="*/ 74231 w 2563557"/>
              <a:gd name="connsiteY0" fmla="*/ 662482 h 662520"/>
              <a:gd name="connsiteX1" fmla="*/ 60344 w 2563557"/>
              <a:gd name="connsiteY1" fmla="*/ 659582 h 662520"/>
              <a:gd name="connsiteX2" fmla="*/ 47517 w 2563557"/>
              <a:gd name="connsiteY2" fmla="*/ 656437 h 662520"/>
              <a:gd name="connsiteX3" fmla="*/ 35823 w 2563557"/>
              <a:gd name="connsiteY3" fmla="*/ 653092 h 662520"/>
              <a:gd name="connsiteX4" fmla="*/ 25336 w 2563557"/>
              <a:gd name="connsiteY4" fmla="*/ 649592 h 662520"/>
              <a:gd name="connsiteX5" fmla="*/ 25336 w 2563557"/>
              <a:gd name="connsiteY5" fmla="*/ 533196 h 662520"/>
              <a:gd name="connsiteX6" fmla="*/ 104190 w 2563557"/>
              <a:gd name="connsiteY6" fmla="*/ 533196 h 662520"/>
              <a:gd name="connsiteX7" fmla="*/ 116931 w 2563557"/>
              <a:gd name="connsiteY7" fmla="*/ 550133 h 662520"/>
              <a:gd name="connsiteX8" fmla="*/ 135043 w 2563557"/>
              <a:gd name="connsiteY8" fmla="*/ 564522 h 662520"/>
              <a:gd name="connsiteX9" fmla="*/ 160020 w 2563557"/>
              <a:gd name="connsiteY9" fmla="*/ 574514 h 662520"/>
              <a:gd name="connsiteX10" fmla="*/ 193357 w 2563557"/>
              <a:gd name="connsiteY10" fmla="*/ 578256 h 662520"/>
              <a:gd name="connsiteX11" fmla="*/ 233829 w 2563557"/>
              <a:gd name="connsiteY11" fmla="*/ 573672 h 662520"/>
              <a:gd name="connsiteX12" fmla="*/ 297105 w 2563557"/>
              <a:gd name="connsiteY12" fmla="*/ 537246 h 662520"/>
              <a:gd name="connsiteX13" fmla="*/ 320040 w 2563557"/>
              <a:gd name="connsiteY13" fmla="*/ 505568 h 662520"/>
              <a:gd name="connsiteX14" fmla="*/ 337261 w 2563557"/>
              <a:gd name="connsiteY14" fmla="*/ 465022 h 662520"/>
              <a:gd name="connsiteX15" fmla="*/ 348834 w 2563557"/>
              <a:gd name="connsiteY15" fmla="*/ 415691 h 662520"/>
              <a:gd name="connsiteX16" fmla="*/ 354825 w 2563557"/>
              <a:gd name="connsiteY16" fmla="*/ 357657 h 662520"/>
              <a:gd name="connsiteX17" fmla="*/ 325357 w 2563557"/>
              <a:gd name="connsiteY17" fmla="*/ 385098 h 662520"/>
              <a:gd name="connsiteX18" fmla="*/ 289466 w 2563557"/>
              <a:gd name="connsiteY18" fmla="*/ 406117 h 662520"/>
              <a:gd name="connsiteX19" fmla="*/ 247767 w 2563557"/>
              <a:gd name="connsiteY19" fmla="*/ 419568 h 662520"/>
              <a:gd name="connsiteX20" fmla="*/ 200875 w 2563557"/>
              <a:gd name="connsiteY20" fmla="*/ 424306 h 662520"/>
              <a:gd name="connsiteX21" fmla="*/ 153099 w 2563557"/>
              <a:gd name="connsiteY21" fmla="*/ 420031 h 662520"/>
              <a:gd name="connsiteX22" fmla="*/ 110150 w 2563557"/>
              <a:gd name="connsiteY22" fmla="*/ 407348 h 662520"/>
              <a:gd name="connsiteX23" fmla="*/ 72948 w 2563557"/>
              <a:gd name="connsiteY23" fmla="*/ 386472 h 662520"/>
              <a:gd name="connsiteX24" fmla="*/ 42412 w 2563557"/>
              <a:gd name="connsiteY24" fmla="*/ 357614 h 662520"/>
              <a:gd name="connsiteX25" fmla="*/ 19463 w 2563557"/>
              <a:gd name="connsiteY25" fmla="*/ 320990 h 662520"/>
              <a:gd name="connsiteX26" fmla="*/ 5019 w 2563557"/>
              <a:gd name="connsiteY26" fmla="*/ 276814 h 662520"/>
              <a:gd name="connsiteX27" fmla="*/ 0 w 2563557"/>
              <a:gd name="connsiteY27" fmla="*/ 225297 h 662520"/>
              <a:gd name="connsiteX28" fmla="*/ 4447 w 2563557"/>
              <a:gd name="connsiteY28" fmla="*/ 178425 h 662520"/>
              <a:gd name="connsiteX29" fmla="*/ 17453 w 2563557"/>
              <a:gd name="connsiteY29" fmla="*/ 135445 h 662520"/>
              <a:gd name="connsiteX30" fmla="*/ 38511 w 2563557"/>
              <a:gd name="connsiteY30" fmla="*/ 97085 h 662520"/>
              <a:gd name="connsiteX31" fmla="*/ 67116 w 2563557"/>
              <a:gd name="connsiteY31" fmla="*/ 64071 h 662520"/>
              <a:gd name="connsiteX32" fmla="*/ 102760 w 2563557"/>
              <a:gd name="connsiteY32" fmla="*/ 37129 h 662520"/>
              <a:gd name="connsiteX33" fmla="*/ 144939 w 2563557"/>
              <a:gd name="connsiteY33" fmla="*/ 16986 h 662520"/>
              <a:gd name="connsiteX34" fmla="*/ 193146 w 2563557"/>
              <a:gd name="connsiteY34" fmla="*/ 4367 h 662520"/>
              <a:gd name="connsiteX35" fmla="*/ 246875 w 2563557"/>
              <a:gd name="connsiteY35" fmla="*/ 0 h 662520"/>
              <a:gd name="connsiteX36" fmla="*/ 290625 w 2563557"/>
              <a:gd name="connsiteY36" fmla="*/ 2882 h 662520"/>
              <a:gd name="connsiteX37" fmla="*/ 331492 w 2563557"/>
              <a:gd name="connsiteY37" fmla="*/ 11678 h 662520"/>
              <a:gd name="connsiteX38" fmla="*/ 369070 w 2563557"/>
              <a:gd name="connsiteY38" fmla="*/ 26614 h 662520"/>
              <a:gd name="connsiteX39" fmla="*/ 402953 w 2563557"/>
              <a:gd name="connsiteY39" fmla="*/ 47914 h 662520"/>
              <a:gd name="connsiteX40" fmla="*/ 432736 w 2563557"/>
              <a:gd name="connsiteY40" fmla="*/ 75804 h 662520"/>
              <a:gd name="connsiteX41" fmla="*/ 458013 w 2563557"/>
              <a:gd name="connsiteY41" fmla="*/ 110509 h 662520"/>
              <a:gd name="connsiteX42" fmla="*/ 478379 w 2563557"/>
              <a:gd name="connsiteY42" fmla="*/ 152255 h 662520"/>
              <a:gd name="connsiteX43" fmla="*/ 493429 w 2563557"/>
              <a:gd name="connsiteY43" fmla="*/ 201265 h 662520"/>
              <a:gd name="connsiteX44" fmla="*/ 502756 w 2563557"/>
              <a:gd name="connsiteY44" fmla="*/ 257766 h 662520"/>
              <a:gd name="connsiteX45" fmla="*/ 505955 w 2563557"/>
              <a:gd name="connsiteY45" fmla="*/ 321983 h 662520"/>
              <a:gd name="connsiteX46" fmla="*/ 503406 w 2563557"/>
              <a:gd name="connsiteY46" fmla="*/ 376707 h 662520"/>
              <a:gd name="connsiteX47" fmla="*/ 495858 w 2563557"/>
              <a:gd name="connsiteY47" fmla="*/ 427041 h 662520"/>
              <a:gd name="connsiteX48" fmla="*/ 483456 w 2563557"/>
              <a:gd name="connsiteY48" fmla="*/ 472909 h 662520"/>
              <a:gd name="connsiteX49" fmla="*/ 466346 w 2563557"/>
              <a:gd name="connsiteY49" fmla="*/ 514232 h 662520"/>
              <a:gd name="connsiteX50" fmla="*/ 444674 w 2563557"/>
              <a:gd name="connsiteY50" fmla="*/ 550937 h 662520"/>
              <a:gd name="connsiteX51" fmla="*/ 418587 w 2563557"/>
              <a:gd name="connsiteY51" fmla="*/ 582945 h 662520"/>
              <a:gd name="connsiteX52" fmla="*/ 388229 w 2563557"/>
              <a:gd name="connsiteY52" fmla="*/ 610181 h 662520"/>
              <a:gd name="connsiteX53" fmla="*/ 353748 w 2563557"/>
              <a:gd name="connsiteY53" fmla="*/ 632569 h 662520"/>
              <a:gd name="connsiteX54" fmla="*/ 315289 w 2563557"/>
              <a:gd name="connsiteY54" fmla="*/ 650033 h 662520"/>
              <a:gd name="connsiteX55" fmla="*/ 272999 w 2563557"/>
              <a:gd name="connsiteY55" fmla="*/ 662495 h 662520"/>
              <a:gd name="connsiteX56" fmla="*/ 592162 w 2563557"/>
              <a:gd name="connsiteY56" fmla="*/ 662520 h 662520"/>
              <a:gd name="connsiteX57" fmla="*/ 571167 w 2563557"/>
              <a:gd name="connsiteY57" fmla="*/ 658030 h 662520"/>
              <a:gd name="connsiteX58" fmla="*/ 551373 w 2563557"/>
              <a:gd name="connsiteY58" fmla="*/ 652783 h 662520"/>
              <a:gd name="connsiteX59" fmla="*/ 532537 w 2563557"/>
              <a:gd name="connsiteY59" fmla="*/ 646826 h 662520"/>
              <a:gd name="connsiteX60" fmla="*/ 514413 w 2563557"/>
              <a:gd name="connsiteY60" fmla="*/ 640206 h 662520"/>
              <a:gd name="connsiteX61" fmla="*/ 514413 w 2563557"/>
              <a:gd name="connsiteY61" fmla="*/ 516293 h 662520"/>
              <a:gd name="connsiteX62" fmla="*/ 596087 w 2563557"/>
              <a:gd name="connsiteY62" fmla="*/ 516293 h 662520"/>
              <a:gd name="connsiteX63" fmla="*/ 612203 w 2563557"/>
              <a:gd name="connsiteY63" fmla="*/ 539439 h 662520"/>
              <a:gd name="connsiteX64" fmla="*/ 635627 w 2563557"/>
              <a:gd name="connsiteY64" fmla="*/ 559242 h 662520"/>
              <a:gd name="connsiteX65" fmla="*/ 666972 w 2563557"/>
              <a:gd name="connsiteY65" fmla="*/ 573062 h 662520"/>
              <a:gd name="connsiteX66" fmla="*/ 706856 w 2563557"/>
              <a:gd name="connsiteY66" fmla="*/ 578256 h 662520"/>
              <a:gd name="connsiteX67" fmla="*/ 749359 w 2563557"/>
              <a:gd name="connsiteY67" fmla="*/ 571758 h 662520"/>
              <a:gd name="connsiteX68" fmla="*/ 784298 w 2563557"/>
              <a:gd name="connsiteY68" fmla="*/ 552322 h 662520"/>
              <a:gd name="connsiteX69" fmla="*/ 807972 w 2563557"/>
              <a:gd name="connsiteY69" fmla="*/ 520038 h 662520"/>
              <a:gd name="connsiteX70" fmla="*/ 816686 w 2563557"/>
              <a:gd name="connsiteY70" fmla="*/ 474992 h 662520"/>
              <a:gd name="connsiteX71" fmla="*/ 809424 w 2563557"/>
              <a:gd name="connsiteY71" fmla="*/ 430240 h 662520"/>
              <a:gd name="connsiteX72" fmla="*/ 787466 w 2563557"/>
              <a:gd name="connsiteY72" fmla="*/ 398602 h 662520"/>
              <a:gd name="connsiteX73" fmla="*/ 750549 w 2563557"/>
              <a:gd name="connsiteY73" fmla="*/ 379812 h 662520"/>
              <a:gd name="connsiteX74" fmla="*/ 698411 w 2563557"/>
              <a:gd name="connsiteY74" fmla="*/ 373608 h 662520"/>
              <a:gd name="connsiteX75" fmla="*/ 649592 w 2563557"/>
              <a:gd name="connsiteY75" fmla="*/ 373608 h 662520"/>
              <a:gd name="connsiteX76" fmla="*/ 649592 w 2563557"/>
              <a:gd name="connsiteY76" fmla="*/ 286308 h 662520"/>
              <a:gd name="connsiteX77" fmla="*/ 690892 w 2563557"/>
              <a:gd name="connsiteY77" fmla="*/ 286308 h 662520"/>
              <a:gd name="connsiteX78" fmla="*/ 744563 w 2563557"/>
              <a:gd name="connsiteY78" fmla="*/ 280133 h 662520"/>
              <a:gd name="connsiteX79" fmla="*/ 783007 w 2563557"/>
              <a:gd name="connsiteY79" fmla="*/ 261550 h 662520"/>
              <a:gd name="connsiteX80" fmla="*/ 806137 w 2563557"/>
              <a:gd name="connsiteY80" fmla="*/ 230469 h 662520"/>
              <a:gd name="connsiteX81" fmla="*/ 813866 w 2563557"/>
              <a:gd name="connsiteY81" fmla="*/ 186804 h 662520"/>
              <a:gd name="connsiteX82" fmla="*/ 808513 w 2563557"/>
              <a:gd name="connsiteY82" fmla="*/ 149115 h 662520"/>
              <a:gd name="connsiteX83" fmla="*/ 792160 w 2563557"/>
              <a:gd name="connsiteY83" fmla="*/ 121104 h 662520"/>
              <a:gd name="connsiteX84" fmla="*/ 764365 w 2563557"/>
              <a:gd name="connsiteY84" fmla="*/ 103651 h 662520"/>
              <a:gd name="connsiteX85" fmla="*/ 724687 w 2563557"/>
              <a:gd name="connsiteY85" fmla="*/ 97637 h 662520"/>
              <a:gd name="connsiteX86" fmla="*/ 687243 w 2563557"/>
              <a:gd name="connsiteY86" fmla="*/ 102374 h 662520"/>
              <a:gd name="connsiteX87" fmla="*/ 657456 w 2563557"/>
              <a:gd name="connsiteY87" fmla="*/ 115117 h 662520"/>
              <a:gd name="connsiteX88" fmla="*/ 634533 w 2563557"/>
              <a:gd name="connsiteY88" fmla="*/ 133668 h 662520"/>
              <a:gd name="connsiteX89" fmla="*/ 617677 w 2563557"/>
              <a:gd name="connsiteY89" fmla="*/ 155828 h 662520"/>
              <a:gd name="connsiteX90" fmla="*/ 539775 w 2563557"/>
              <a:gd name="connsiteY90" fmla="*/ 155828 h 662520"/>
              <a:gd name="connsiteX91" fmla="*/ 539775 w 2563557"/>
              <a:gd name="connsiteY91" fmla="*/ 33807 h 662520"/>
              <a:gd name="connsiteX92" fmla="*/ 584006 w 2563557"/>
              <a:gd name="connsiteY92" fmla="*/ 19813 h 662520"/>
              <a:gd name="connsiteX93" fmla="*/ 631056 w 2563557"/>
              <a:gd name="connsiteY93" fmla="*/ 9159 h 662520"/>
              <a:gd name="connsiteX94" fmla="*/ 681278 w 2563557"/>
              <a:gd name="connsiteY94" fmla="*/ 2378 h 662520"/>
              <a:gd name="connsiteX95" fmla="*/ 735025 w 2563557"/>
              <a:gd name="connsiteY95" fmla="*/ 0 h 662520"/>
              <a:gd name="connsiteX96" fmla="*/ 790395 w 2563557"/>
              <a:gd name="connsiteY96" fmla="*/ 3158 h 662520"/>
              <a:gd name="connsiteX97" fmla="*/ 838689 w 2563557"/>
              <a:gd name="connsiteY97" fmla="*/ 12853 h 662520"/>
              <a:gd name="connsiteX98" fmla="*/ 879380 w 2563557"/>
              <a:gd name="connsiteY98" fmla="*/ 29412 h 662520"/>
              <a:gd name="connsiteX99" fmla="*/ 911943 w 2563557"/>
              <a:gd name="connsiteY99" fmla="*/ 53163 h 662520"/>
              <a:gd name="connsiteX100" fmla="*/ 935853 w 2563557"/>
              <a:gd name="connsiteY100" fmla="*/ 84435 h 662520"/>
              <a:gd name="connsiteX101" fmla="*/ 950584 w 2563557"/>
              <a:gd name="connsiteY101" fmla="*/ 123555 h 662520"/>
              <a:gd name="connsiteX102" fmla="*/ 955611 w 2563557"/>
              <a:gd name="connsiteY102" fmla="*/ 170853 h 662520"/>
              <a:gd name="connsiteX103" fmla="*/ 949453 w 2563557"/>
              <a:gd name="connsiteY103" fmla="*/ 219568 h 662520"/>
              <a:gd name="connsiteX104" fmla="*/ 931581 w 2563557"/>
              <a:gd name="connsiteY104" fmla="*/ 258234 h 662520"/>
              <a:gd name="connsiteX105" fmla="*/ 902895 w 2563557"/>
              <a:gd name="connsiteY105" fmla="*/ 287843 h 662520"/>
              <a:gd name="connsiteX106" fmla="*/ 864296 w 2563557"/>
              <a:gd name="connsiteY106" fmla="*/ 309388 h 662520"/>
              <a:gd name="connsiteX107" fmla="*/ 816686 w 2563557"/>
              <a:gd name="connsiteY107" fmla="*/ 323862 h 662520"/>
              <a:gd name="connsiteX108" fmla="*/ 816686 w 2563557"/>
              <a:gd name="connsiteY108" fmla="*/ 327609 h 662520"/>
              <a:gd name="connsiteX109" fmla="*/ 870681 w 2563557"/>
              <a:gd name="connsiteY109" fmla="*/ 340566 h 662520"/>
              <a:gd name="connsiteX110" fmla="*/ 912283 w 2563557"/>
              <a:gd name="connsiteY110" fmla="*/ 362534 h 662520"/>
              <a:gd name="connsiteX111" fmla="*/ 941719 w 2563557"/>
              <a:gd name="connsiteY111" fmla="*/ 393513 h 662520"/>
              <a:gd name="connsiteX112" fmla="*/ 959215 w 2563557"/>
              <a:gd name="connsiteY112" fmla="*/ 433502 h 662520"/>
              <a:gd name="connsiteX113" fmla="*/ 964996 w 2563557"/>
              <a:gd name="connsiteY113" fmla="*/ 482498 h 662520"/>
              <a:gd name="connsiteX114" fmla="*/ 959936 w 2563557"/>
              <a:gd name="connsiteY114" fmla="*/ 527743 h 662520"/>
              <a:gd name="connsiteX115" fmla="*/ 944659 w 2563557"/>
              <a:gd name="connsiteY115" fmla="*/ 567021 h 662520"/>
              <a:gd name="connsiteX116" fmla="*/ 920122 w 2563557"/>
              <a:gd name="connsiteY116" fmla="*/ 600232 h 662520"/>
              <a:gd name="connsiteX117" fmla="*/ 887285 w 2563557"/>
              <a:gd name="connsiteY117" fmla="*/ 627278 h 662520"/>
              <a:gd name="connsiteX118" fmla="*/ 847106 w 2563557"/>
              <a:gd name="connsiteY118" fmla="*/ 648061 h 662520"/>
              <a:gd name="connsiteX119" fmla="*/ 800544 w 2563557"/>
              <a:gd name="connsiteY119" fmla="*/ 662482 h 662520"/>
              <a:gd name="connsiteX120" fmla="*/ 1360843 w 2563557"/>
              <a:gd name="connsiteY120" fmla="*/ 662495 h 662520"/>
              <a:gd name="connsiteX121" fmla="*/ 1322871 w 2563557"/>
              <a:gd name="connsiteY121" fmla="*/ 649352 h 662520"/>
              <a:gd name="connsiteX122" fmla="*/ 1287296 w 2563557"/>
              <a:gd name="connsiteY122" fmla="*/ 630560 h 662520"/>
              <a:gd name="connsiteX123" fmla="*/ 1254670 w 2563557"/>
              <a:gd name="connsiteY123" fmla="*/ 606062 h 662520"/>
              <a:gd name="connsiteX124" fmla="*/ 1225546 w 2563557"/>
              <a:gd name="connsiteY124" fmla="*/ 575802 h 662520"/>
              <a:gd name="connsiteX125" fmla="*/ 1200477 w 2563557"/>
              <a:gd name="connsiteY125" fmla="*/ 539722 h 662520"/>
              <a:gd name="connsiteX126" fmla="*/ 1180016 w 2563557"/>
              <a:gd name="connsiteY126" fmla="*/ 497766 h 662520"/>
              <a:gd name="connsiteX127" fmla="*/ 1164717 w 2563557"/>
              <a:gd name="connsiteY127" fmla="*/ 449876 h 662520"/>
              <a:gd name="connsiteX128" fmla="*/ 1155131 w 2563557"/>
              <a:gd name="connsiteY128" fmla="*/ 395995 h 662520"/>
              <a:gd name="connsiteX129" fmla="*/ 1151813 w 2563557"/>
              <a:gd name="connsiteY129" fmla="*/ 336067 h 662520"/>
              <a:gd name="connsiteX130" fmla="*/ 1155053 w 2563557"/>
              <a:gd name="connsiteY130" fmla="*/ 276826 h 662520"/>
              <a:gd name="connsiteX131" fmla="*/ 1164415 w 2563557"/>
              <a:gd name="connsiteY131" fmla="*/ 223488 h 662520"/>
              <a:gd name="connsiteX132" fmla="*/ 1179368 w 2563557"/>
              <a:gd name="connsiteY132" fmla="*/ 175997 h 662520"/>
              <a:gd name="connsiteX133" fmla="*/ 1199377 w 2563557"/>
              <a:gd name="connsiteY133" fmla="*/ 134299 h 662520"/>
              <a:gd name="connsiteX134" fmla="*/ 1223910 w 2563557"/>
              <a:gd name="connsiteY134" fmla="*/ 98339 h 662520"/>
              <a:gd name="connsiteX135" fmla="*/ 1252434 w 2563557"/>
              <a:gd name="connsiteY135" fmla="*/ 68062 h 662520"/>
              <a:gd name="connsiteX136" fmla="*/ 1284414 w 2563557"/>
              <a:gd name="connsiteY136" fmla="*/ 43413 h 662520"/>
              <a:gd name="connsiteX137" fmla="*/ 1319318 w 2563557"/>
              <a:gd name="connsiteY137" fmla="*/ 24337 h 662520"/>
              <a:gd name="connsiteX138" fmla="*/ 1356613 w 2563557"/>
              <a:gd name="connsiteY138" fmla="*/ 10780 h 662520"/>
              <a:gd name="connsiteX139" fmla="*/ 1395766 w 2563557"/>
              <a:gd name="connsiteY139" fmla="*/ 2685 h 662520"/>
              <a:gd name="connsiteX140" fmla="*/ 1436243 w 2563557"/>
              <a:gd name="connsiteY140" fmla="*/ 0 h 662520"/>
              <a:gd name="connsiteX141" fmla="*/ 1476722 w 2563557"/>
              <a:gd name="connsiteY141" fmla="*/ 2685 h 662520"/>
              <a:gd name="connsiteX142" fmla="*/ 1515876 w 2563557"/>
              <a:gd name="connsiteY142" fmla="*/ 10780 h 662520"/>
              <a:gd name="connsiteX143" fmla="*/ 1553172 w 2563557"/>
              <a:gd name="connsiteY143" fmla="*/ 24337 h 662520"/>
              <a:gd name="connsiteX144" fmla="*/ 1588076 w 2563557"/>
              <a:gd name="connsiteY144" fmla="*/ 43413 h 662520"/>
              <a:gd name="connsiteX145" fmla="*/ 1620056 w 2563557"/>
              <a:gd name="connsiteY145" fmla="*/ 68062 h 662520"/>
              <a:gd name="connsiteX146" fmla="*/ 1648579 w 2563557"/>
              <a:gd name="connsiteY146" fmla="*/ 98339 h 662520"/>
              <a:gd name="connsiteX147" fmla="*/ 1673111 w 2563557"/>
              <a:gd name="connsiteY147" fmla="*/ 134299 h 662520"/>
              <a:gd name="connsiteX148" fmla="*/ 1693119 w 2563557"/>
              <a:gd name="connsiteY148" fmla="*/ 175997 h 662520"/>
              <a:gd name="connsiteX149" fmla="*/ 1708071 w 2563557"/>
              <a:gd name="connsiteY149" fmla="*/ 223488 h 662520"/>
              <a:gd name="connsiteX150" fmla="*/ 1717433 w 2563557"/>
              <a:gd name="connsiteY150" fmla="*/ 276826 h 662520"/>
              <a:gd name="connsiteX151" fmla="*/ 1720672 w 2563557"/>
              <a:gd name="connsiteY151" fmla="*/ 336067 h 662520"/>
              <a:gd name="connsiteX152" fmla="*/ 1717354 w 2563557"/>
              <a:gd name="connsiteY152" fmla="*/ 395995 h 662520"/>
              <a:gd name="connsiteX153" fmla="*/ 1707768 w 2563557"/>
              <a:gd name="connsiteY153" fmla="*/ 449876 h 662520"/>
              <a:gd name="connsiteX154" fmla="*/ 1692469 w 2563557"/>
              <a:gd name="connsiteY154" fmla="*/ 497766 h 662520"/>
              <a:gd name="connsiteX155" fmla="*/ 1672008 w 2563557"/>
              <a:gd name="connsiteY155" fmla="*/ 539722 h 662520"/>
              <a:gd name="connsiteX156" fmla="*/ 1646939 w 2563557"/>
              <a:gd name="connsiteY156" fmla="*/ 575802 h 662520"/>
              <a:gd name="connsiteX157" fmla="*/ 1617815 w 2563557"/>
              <a:gd name="connsiteY157" fmla="*/ 606062 h 662520"/>
              <a:gd name="connsiteX158" fmla="*/ 1585189 w 2563557"/>
              <a:gd name="connsiteY158" fmla="*/ 630560 h 662520"/>
              <a:gd name="connsiteX159" fmla="*/ 1549614 w 2563557"/>
              <a:gd name="connsiteY159" fmla="*/ 649352 h 662520"/>
              <a:gd name="connsiteX160" fmla="*/ 1511642 w 2563557"/>
              <a:gd name="connsiteY160" fmla="*/ 662495 h 662520"/>
              <a:gd name="connsiteX161" fmla="*/ 1943430 w 2563557"/>
              <a:gd name="connsiteY161" fmla="*/ 662495 h 662520"/>
              <a:gd name="connsiteX162" fmla="*/ 1905459 w 2563557"/>
              <a:gd name="connsiteY162" fmla="*/ 649348 h 662520"/>
              <a:gd name="connsiteX163" fmla="*/ 1869885 w 2563557"/>
              <a:gd name="connsiteY163" fmla="*/ 630555 h 662520"/>
              <a:gd name="connsiteX164" fmla="*/ 1837261 w 2563557"/>
              <a:gd name="connsiteY164" fmla="*/ 606057 h 662520"/>
              <a:gd name="connsiteX165" fmla="*/ 1808138 w 2563557"/>
              <a:gd name="connsiteY165" fmla="*/ 575797 h 662520"/>
              <a:gd name="connsiteX166" fmla="*/ 1783072 w 2563557"/>
              <a:gd name="connsiteY166" fmla="*/ 539718 h 662520"/>
              <a:gd name="connsiteX167" fmla="*/ 1762613 w 2563557"/>
              <a:gd name="connsiteY167" fmla="*/ 497763 h 662520"/>
              <a:gd name="connsiteX168" fmla="*/ 1747315 w 2563557"/>
              <a:gd name="connsiteY168" fmla="*/ 449874 h 662520"/>
              <a:gd name="connsiteX169" fmla="*/ 1737731 w 2563557"/>
              <a:gd name="connsiteY169" fmla="*/ 395995 h 662520"/>
              <a:gd name="connsiteX170" fmla="*/ 1734413 w 2563557"/>
              <a:gd name="connsiteY170" fmla="*/ 336067 h 662520"/>
              <a:gd name="connsiteX171" fmla="*/ 1737652 w 2563557"/>
              <a:gd name="connsiteY171" fmla="*/ 276826 h 662520"/>
              <a:gd name="connsiteX172" fmla="*/ 1747014 w 2563557"/>
              <a:gd name="connsiteY172" fmla="*/ 223488 h 662520"/>
              <a:gd name="connsiteX173" fmla="*/ 1761965 w 2563557"/>
              <a:gd name="connsiteY173" fmla="*/ 175997 h 662520"/>
              <a:gd name="connsiteX174" fmla="*/ 1781973 w 2563557"/>
              <a:gd name="connsiteY174" fmla="*/ 134299 h 662520"/>
              <a:gd name="connsiteX175" fmla="*/ 1806505 w 2563557"/>
              <a:gd name="connsiteY175" fmla="*/ 98339 h 662520"/>
              <a:gd name="connsiteX176" fmla="*/ 1835026 w 2563557"/>
              <a:gd name="connsiteY176" fmla="*/ 68062 h 662520"/>
              <a:gd name="connsiteX177" fmla="*/ 1867005 w 2563557"/>
              <a:gd name="connsiteY177" fmla="*/ 43413 h 662520"/>
              <a:gd name="connsiteX178" fmla="*/ 1901908 w 2563557"/>
              <a:gd name="connsiteY178" fmla="*/ 24337 h 662520"/>
              <a:gd name="connsiteX179" fmla="*/ 1939202 w 2563557"/>
              <a:gd name="connsiteY179" fmla="*/ 10780 h 662520"/>
              <a:gd name="connsiteX180" fmla="*/ 1978353 w 2563557"/>
              <a:gd name="connsiteY180" fmla="*/ 2685 h 662520"/>
              <a:gd name="connsiteX181" fmla="*/ 2018830 w 2563557"/>
              <a:gd name="connsiteY181" fmla="*/ 0 h 662520"/>
              <a:gd name="connsiteX182" fmla="*/ 2059309 w 2563557"/>
              <a:gd name="connsiteY182" fmla="*/ 2685 h 662520"/>
              <a:gd name="connsiteX183" fmla="*/ 2098463 w 2563557"/>
              <a:gd name="connsiteY183" fmla="*/ 10780 h 662520"/>
              <a:gd name="connsiteX184" fmla="*/ 2135759 w 2563557"/>
              <a:gd name="connsiteY184" fmla="*/ 24337 h 662520"/>
              <a:gd name="connsiteX185" fmla="*/ 2170664 w 2563557"/>
              <a:gd name="connsiteY185" fmla="*/ 43413 h 662520"/>
              <a:gd name="connsiteX186" fmla="*/ 2202644 w 2563557"/>
              <a:gd name="connsiteY186" fmla="*/ 68062 h 662520"/>
              <a:gd name="connsiteX187" fmla="*/ 2231166 w 2563557"/>
              <a:gd name="connsiteY187" fmla="*/ 98339 h 662520"/>
              <a:gd name="connsiteX188" fmla="*/ 2255698 w 2563557"/>
              <a:gd name="connsiteY188" fmla="*/ 134299 h 662520"/>
              <a:gd name="connsiteX189" fmla="*/ 2275706 w 2563557"/>
              <a:gd name="connsiteY189" fmla="*/ 175997 h 662520"/>
              <a:gd name="connsiteX190" fmla="*/ 2290658 w 2563557"/>
              <a:gd name="connsiteY190" fmla="*/ 223488 h 662520"/>
              <a:gd name="connsiteX191" fmla="*/ 2300020 w 2563557"/>
              <a:gd name="connsiteY191" fmla="*/ 276826 h 662520"/>
              <a:gd name="connsiteX192" fmla="*/ 2303259 w 2563557"/>
              <a:gd name="connsiteY192" fmla="*/ 336067 h 662520"/>
              <a:gd name="connsiteX193" fmla="*/ 2299941 w 2563557"/>
              <a:gd name="connsiteY193" fmla="*/ 395991 h 662520"/>
              <a:gd name="connsiteX194" fmla="*/ 2290357 w 2563557"/>
              <a:gd name="connsiteY194" fmla="*/ 449869 h 662520"/>
              <a:gd name="connsiteX195" fmla="*/ 2275059 w 2563557"/>
              <a:gd name="connsiteY195" fmla="*/ 497757 h 662520"/>
              <a:gd name="connsiteX196" fmla="*/ 2254600 w 2563557"/>
              <a:gd name="connsiteY196" fmla="*/ 539713 h 662520"/>
              <a:gd name="connsiteX197" fmla="*/ 2229533 w 2563557"/>
              <a:gd name="connsiteY197" fmla="*/ 575793 h 662520"/>
              <a:gd name="connsiteX198" fmla="*/ 2200411 w 2563557"/>
              <a:gd name="connsiteY198" fmla="*/ 606054 h 662520"/>
              <a:gd name="connsiteX199" fmla="*/ 2167787 w 2563557"/>
              <a:gd name="connsiteY199" fmla="*/ 630553 h 662520"/>
              <a:gd name="connsiteX200" fmla="*/ 2132213 w 2563557"/>
              <a:gd name="connsiteY200" fmla="*/ 649348 h 662520"/>
              <a:gd name="connsiteX201" fmla="*/ 2094242 w 2563557"/>
              <a:gd name="connsiteY201" fmla="*/ 662495 h 662520"/>
              <a:gd name="connsiteX202" fmla="*/ 2528582 w 2563557"/>
              <a:gd name="connsiteY202" fmla="*/ 662482 h 662520"/>
              <a:gd name="connsiteX203" fmla="*/ 2490620 w 2563557"/>
              <a:gd name="connsiteY203" fmla="*/ 649332 h 662520"/>
              <a:gd name="connsiteX204" fmla="*/ 2455053 w 2563557"/>
              <a:gd name="connsiteY204" fmla="*/ 630534 h 662520"/>
              <a:gd name="connsiteX205" fmla="*/ 2422435 w 2563557"/>
              <a:gd name="connsiteY205" fmla="*/ 606033 h 662520"/>
              <a:gd name="connsiteX206" fmla="*/ 2393318 w 2563557"/>
              <a:gd name="connsiteY206" fmla="*/ 575772 h 662520"/>
              <a:gd name="connsiteX207" fmla="*/ 2368257 w 2563557"/>
              <a:gd name="connsiteY207" fmla="*/ 539693 h 662520"/>
              <a:gd name="connsiteX208" fmla="*/ 2347803 w 2563557"/>
              <a:gd name="connsiteY208" fmla="*/ 497740 h 662520"/>
              <a:gd name="connsiteX209" fmla="*/ 2332510 w 2563557"/>
              <a:gd name="connsiteY209" fmla="*/ 449856 h 662520"/>
              <a:gd name="connsiteX210" fmla="*/ 2322930 w 2563557"/>
              <a:gd name="connsiteY210" fmla="*/ 395984 h 662520"/>
              <a:gd name="connsiteX211" fmla="*/ 2319616 w 2563557"/>
              <a:gd name="connsiteY211" fmla="*/ 336067 h 662520"/>
              <a:gd name="connsiteX212" fmla="*/ 2322855 w 2563557"/>
              <a:gd name="connsiteY212" fmla="*/ 276826 h 662520"/>
              <a:gd name="connsiteX213" fmla="*/ 2332217 w 2563557"/>
              <a:gd name="connsiteY213" fmla="*/ 223488 h 662520"/>
              <a:gd name="connsiteX214" fmla="*/ 2347169 w 2563557"/>
              <a:gd name="connsiteY214" fmla="*/ 175997 h 662520"/>
              <a:gd name="connsiteX215" fmla="*/ 2367177 w 2563557"/>
              <a:gd name="connsiteY215" fmla="*/ 134299 h 662520"/>
              <a:gd name="connsiteX216" fmla="*/ 2391708 w 2563557"/>
              <a:gd name="connsiteY216" fmla="*/ 98339 h 662520"/>
              <a:gd name="connsiteX217" fmla="*/ 2420230 w 2563557"/>
              <a:gd name="connsiteY217" fmla="*/ 68062 h 662520"/>
              <a:gd name="connsiteX218" fmla="*/ 2452208 w 2563557"/>
              <a:gd name="connsiteY218" fmla="*/ 43413 h 662520"/>
              <a:gd name="connsiteX219" fmla="*/ 2487111 w 2563557"/>
              <a:gd name="connsiteY219" fmla="*/ 24337 h 662520"/>
              <a:gd name="connsiteX220" fmla="*/ 2524405 w 2563557"/>
              <a:gd name="connsiteY220" fmla="*/ 10780 h 662520"/>
              <a:gd name="connsiteX221" fmla="*/ 2563557 w 2563557"/>
              <a:gd name="connsiteY221" fmla="*/ 2685 h 662520"/>
              <a:gd name="connsiteX0" fmla="*/ 74231 w 2528582"/>
              <a:gd name="connsiteY0" fmla="*/ 662482 h 662520"/>
              <a:gd name="connsiteX1" fmla="*/ 60344 w 2528582"/>
              <a:gd name="connsiteY1" fmla="*/ 659582 h 662520"/>
              <a:gd name="connsiteX2" fmla="*/ 47517 w 2528582"/>
              <a:gd name="connsiteY2" fmla="*/ 656437 h 662520"/>
              <a:gd name="connsiteX3" fmla="*/ 35823 w 2528582"/>
              <a:gd name="connsiteY3" fmla="*/ 653092 h 662520"/>
              <a:gd name="connsiteX4" fmla="*/ 25336 w 2528582"/>
              <a:gd name="connsiteY4" fmla="*/ 649592 h 662520"/>
              <a:gd name="connsiteX5" fmla="*/ 25336 w 2528582"/>
              <a:gd name="connsiteY5" fmla="*/ 533196 h 662520"/>
              <a:gd name="connsiteX6" fmla="*/ 104190 w 2528582"/>
              <a:gd name="connsiteY6" fmla="*/ 533196 h 662520"/>
              <a:gd name="connsiteX7" fmla="*/ 116931 w 2528582"/>
              <a:gd name="connsiteY7" fmla="*/ 550133 h 662520"/>
              <a:gd name="connsiteX8" fmla="*/ 135043 w 2528582"/>
              <a:gd name="connsiteY8" fmla="*/ 564522 h 662520"/>
              <a:gd name="connsiteX9" fmla="*/ 160020 w 2528582"/>
              <a:gd name="connsiteY9" fmla="*/ 574514 h 662520"/>
              <a:gd name="connsiteX10" fmla="*/ 193357 w 2528582"/>
              <a:gd name="connsiteY10" fmla="*/ 578256 h 662520"/>
              <a:gd name="connsiteX11" fmla="*/ 233829 w 2528582"/>
              <a:gd name="connsiteY11" fmla="*/ 573672 h 662520"/>
              <a:gd name="connsiteX12" fmla="*/ 297105 w 2528582"/>
              <a:gd name="connsiteY12" fmla="*/ 537246 h 662520"/>
              <a:gd name="connsiteX13" fmla="*/ 320040 w 2528582"/>
              <a:gd name="connsiteY13" fmla="*/ 505568 h 662520"/>
              <a:gd name="connsiteX14" fmla="*/ 337261 w 2528582"/>
              <a:gd name="connsiteY14" fmla="*/ 465022 h 662520"/>
              <a:gd name="connsiteX15" fmla="*/ 348834 w 2528582"/>
              <a:gd name="connsiteY15" fmla="*/ 415691 h 662520"/>
              <a:gd name="connsiteX16" fmla="*/ 354825 w 2528582"/>
              <a:gd name="connsiteY16" fmla="*/ 357657 h 662520"/>
              <a:gd name="connsiteX17" fmla="*/ 325357 w 2528582"/>
              <a:gd name="connsiteY17" fmla="*/ 385098 h 662520"/>
              <a:gd name="connsiteX18" fmla="*/ 289466 w 2528582"/>
              <a:gd name="connsiteY18" fmla="*/ 406117 h 662520"/>
              <a:gd name="connsiteX19" fmla="*/ 247767 w 2528582"/>
              <a:gd name="connsiteY19" fmla="*/ 419568 h 662520"/>
              <a:gd name="connsiteX20" fmla="*/ 200875 w 2528582"/>
              <a:gd name="connsiteY20" fmla="*/ 424306 h 662520"/>
              <a:gd name="connsiteX21" fmla="*/ 153099 w 2528582"/>
              <a:gd name="connsiteY21" fmla="*/ 420031 h 662520"/>
              <a:gd name="connsiteX22" fmla="*/ 110150 w 2528582"/>
              <a:gd name="connsiteY22" fmla="*/ 407348 h 662520"/>
              <a:gd name="connsiteX23" fmla="*/ 72948 w 2528582"/>
              <a:gd name="connsiteY23" fmla="*/ 386472 h 662520"/>
              <a:gd name="connsiteX24" fmla="*/ 42412 w 2528582"/>
              <a:gd name="connsiteY24" fmla="*/ 357614 h 662520"/>
              <a:gd name="connsiteX25" fmla="*/ 19463 w 2528582"/>
              <a:gd name="connsiteY25" fmla="*/ 320990 h 662520"/>
              <a:gd name="connsiteX26" fmla="*/ 5019 w 2528582"/>
              <a:gd name="connsiteY26" fmla="*/ 276814 h 662520"/>
              <a:gd name="connsiteX27" fmla="*/ 0 w 2528582"/>
              <a:gd name="connsiteY27" fmla="*/ 225297 h 662520"/>
              <a:gd name="connsiteX28" fmla="*/ 4447 w 2528582"/>
              <a:gd name="connsiteY28" fmla="*/ 178425 h 662520"/>
              <a:gd name="connsiteX29" fmla="*/ 17453 w 2528582"/>
              <a:gd name="connsiteY29" fmla="*/ 135445 h 662520"/>
              <a:gd name="connsiteX30" fmla="*/ 38511 w 2528582"/>
              <a:gd name="connsiteY30" fmla="*/ 97085 h 662520"/>
              <a:gd name="connsiteX31" fmla="*/ 67116 w 2528582"/>
              <a:gd name="connsiteY31" fmla="*/ 64071 h 662520"/>
              <a:gd name="connsiteX32" fmla="*/ 102760 w 2528582"/>
              <a:gd name="connsiteY32" fmla="*/ 37129 h 662520"/>
              <a:gd name="connsiteX33" fmla="*/ 144939 w 2528582"/>
              <a:gd name="connsiteY33" fmla="*/ 16986 h 662520"/>
              <a:gd name="connsiteX34" fmla="*/ 193146 w 2528582"/>
              <a:gd name="connsiteY34" fmla="*/ 4367 h 662520"/>
              <a:gd name="connsiteX35" fmla="*/ 246875 w 2528582"/>
              <a:gd name="connsiteY35" fmla="*/ 0 h 662520"/>
              <a:gd name="connsiteX36" fmla="*/ 290625 w 2528582"/>
              <a:gd name="connsiteY36" fmla="*/ 2882 h 662520"/>
              <a:gd name="connsiteX37" fmla="*/ 331492 w 2528582"/>
              <a:gd name="connsiteY37" fmla="*/ 11678 h 662520"/>
              <a:gd name="connsiteX38" fmla="*/ 369070 w 2528582"/>
              <a:gd name="connsiteY38" fmla="*/ 26614 h 662520"/>
              <a:gd name="connsiteX39" fmla="*/ 402953 w 2528582"/>
              <a:gd name="connsiteY39" fmla="*/ 47914 h 662520"/>
              <a:gd name="connsiteX40" fmla="*/ 432736 w 2528582"/>
              <a:gd name="connsiteY40" fmla="*/ 75804 h 662520"/>
              <a:gd name="connsiteX41" fmla="*/ 458013 w 2528582"/>
              <a:gd name="connsiteY41" fmla="*/ 110509 h 662520"/>
              <a:gd name="connsiteX42" fmla="*/ 478379 w 2528582"/>
              <a:gd name="connsiteY42" fmla="*/ 152255 h 662520"/>
              <a:gd name="connsiteX43" fmla="*/ 493429 w 2528582"/>
              <a:gd name="connsiteY43" fmla="*/ 201265 h 662520"/>
              <a:gd name="connsiteX44" fmla="*/ 502756 w 2528582"/>
              <a:gd name="connsiteY44" fmla="*/ 257766 h 662520"/>
              <a:gd name="connsiteX45" fmla="*/ 505955 w 2528582"/>
              <a:gd name="connsiteY45" fmla="*/ 321983 h 662520"/>
              <a:gd name="connsiteX46" fmla="*/ 503406 w 2528582"/>
              <a:gd name="connsiteY46" fmla="*/ 376707 h 662520"/>
              <a:gd name="connsiteX47" fmla="*/ 495858 w 2528582"/>
              <a:gd name="connsiteY47" fmla="*/ 427041 h 662520"/>
              <a:gd name="connsiteX48" fmla="*/ 483456 w 2528582"/>
              <a:gd name="connsiteY48" fmla="*/ 472909 h 662520"/>
              <a:gd name="connsiteX49" fmla="*/ 466346 w 2528582"/>
              <a:gd name="connsiteY49" fmla="*/ 514232 h 662520"/>
              <a:gd name="connsiteX50" fmla="*/ 444674 w 2528582"/>
              <a:gd name="connsiteY50" fmla="*/ 550937 h 662520"/>
              <a:gd name="connsiteX51" fmla="*/ 418587 w 2528582"/>
              <a:gd name="connsiteY51" fmla="*/ 582945 h 662520"/>
              <a:gd name="connsiteX52" fmla="*/ 388229 w 2528582"/>
              <a:gd name="connsiteY52" fmla="*/ 610181 h 662520"/>
              <a:gd name="connsiteX53" fmla="*/ 353748 w 2528582"/>
              <a:gd name="connsiteY53" fmla="*/ 632569 h 662520"/>
              <a:gd name="connsiteX54" fmla="*/ 315289 w 2528582"/>
              <a:gd name="connsiteY54" fmla="*/ 650033 h 662520"/>
              <a:gd name="connsiteX55" fmla="*/ 272999 w 2528582"/>
              <a:gd name="connsiteY55" fmla="*/ 662495 h 662520"/>
              <a:gd name="connsiteX56" fmla="*/ 592162 w 2528582"/>
              <a:gd name="connsiteY56" fmla="*/ 662520 h 662520"/>
              <a:gd name="connsiteX57" fmla="*/ 571167 w 2528582"/>
              <a:gd name="connsiteY57" fmla="*/ 658030 h 662520"/>
              <a:gd name="connsiteX58" fmla="*/ 551373 w 2528582"/>
              <a:gd name="connsiteY58" fmla="*/ 652783 h 662520"/>
              <a:gd name="connsiteX59" fmla="*/ 532537 w 2528582"/>
              <a:gd name="connsiteY59" fmla="*/ 646826 h 662520"/>
              <a:gd name="connsiteX60" fmla="*/ 514413 w 2528582"/>
              <a:gd name="connsiteY60" fmla="*/ 640206 h 662520"/>
              <a:gd name="connsiteX61" fmla="*/ 514413 w 2528582"/>
              <a:gd name="connsiteY61" fmla="*/ 516293 h 662520"/>
              <a:gd name="connsiteX62" fmla="*/ 596087 w 2528582"/>
              <a:gd name="connsiteY62" fmla="*/ 516293 h 662520"/>
              <a:gd name="connsiteX63" fmla="*/ 612203 w 2528582"/>
              <a:gd name="connsiteY63" fmla="*/ 539439 h 662520"/>
              <a:gd name="connsiteX64" fmla="*/ 635627 w 2528582"/>
              <a:gd name="connsiteY64" fmla="*/ 559242 h 662520"/>
              <a:gd name="connsiteX65" fmla="*/ 666972 w 2528582"/>
              <a:gd name="connsiteY65" fmla="*/ 573062 h 662520"/>
              <a:gd name="connsiteX66" fmla="*/ 706856 w 2528582"/>
              <a:gd name="connsiteY66" fmla="*/ 578256 h 662520"/>
              <a:gd name="connsiteX67" fmla="*/ 749359 w 2528582"/>
              <a:gd name="connsiteY67" fmla="*/ 571758 h 662520"/>
              <a:gd name="connsiteX68" fmla="*/ 784298 w 2528582"/>
              <a:gd name="connsiteY68" fmla="*/ 552322 h 662520"/>
              <a:gd name="connsiteX69" fmla="*/ 807972 w 2528582"/>
              <a:gd name="connsiteY69" fmla="*/ 520038 h 662520"/>
              <a:gd name="connsiteX70" fmla="*/ 816686 w 2528582"/>
              <a:gd name="connsiteY70" fmla="*/ 474992 h 662520"/>
              <a:gd name="connsiteX71" fmla="*/ 809424 w 2528582"/>
              <a:gd name="connsiteY71" fmla="*/ 430240 h 662520"/>
              <a:gd name="connsiteX72" fmla="*/ 787466 w 2528582"/>
              <a:gd name="connsiteY72" fmla="*/ 398602 h 662520"/>
              <a:gd name="connsiteX73" fmla="*/ 750549 w 2528582"/>
              <a:gd name="connsiteY73" fmla="*/ 379812 h 662520"/>
              <a:gd name="connsiteX74" fmla="*/ 698411 w 2528582"/>
              <a:gd name="connsiteY74" fmla="*/ 373608 h 662520"/>
              <a:gd name="connsiteX75" fmla="*/ 649592 w 2528582"/>
              <a:gd name="connsiteY75" fmla="*/ 373608 h 662520"/>
              <a:gd name="connsiteX76" fmla="*/ 649592 w 2528582"/>
              <a:gd name="connsiteY76" fmla="*/ 286308 h 662520"/>
              <a:gd name="connsiteX77" fmla="*/ 690892 w 2528582"/>
              <a:gd name="connsiteY77" fmla="*/ 286308 h 662520"/>
              <a:gd name="connsiteX78" fmla="*/ 744563 w 2528582"/>
              <a:gd name="connsiteY78" fmla="*/ 280133 h 662520"/>
              <a:gd name="connsiteX79" fmla="*/ 783007 w 2528582"/>
              <a:gd name="connsiteY79" fmla="*/ 261550 h 662520"/>
              <a:gd name="connsiteX80" fmla="*/ 806137 w 2528582"/>
              <a:gd name="connsiteY80" fmla="*/ 230469 h 662520"/>
              <a:gd name="connsiteX81" fmla="*/ 813866 w 2528582"/>
              <a:gd name="connsiteY81" fmla="*/ 186804 h 662520"/>
              <a:gd name="connsiteX82" fmla="*/ 808513 w 2528582"/>
              <a:gd name="connsiteY82" fmla="*/ 149115 h 662520"/>
              <a:gd name="connsiteX83" fmla="*/ 792160 w 2528582"/>
              <a:gd name="connsiteY83" fmla="*/ 121104 h 662520"/>
              <a:gd name="connsiteX84" fmla="*/ 764365 w 2528582"/>
              <a:gd name="connsiteY84" fmla="*/ 103651 h 662520"/>
              <a:gd name="connsiteX85" fmla="*/ 724687 w 2528582"/>
              <a:gd name="connsiteY85" fmla="*/ 97637 h 662520"/>
              <a:gd name="connsiteX86" fmla="*/ 687243 w 2528582"/>
              <a:gd name="connsiteY86" fmla="*/ 102374 h 662520"/>
              <a:gd name="connsiteX87" fmla="*/ 657456 w 2528582"/>
              <a:gd name="connsiteY87" fmla="*/ 115117 h 662520"/>
              <a:gd name="connsiteX88" fmla="*/ 634533 w 2528582"/>
              <a:gd name="connsiteY88" fmla="*/ 133668 h 662520"/>
              <a:gd name="connsiteX89" fmla="*/ 617677 w 2528582"/>
              <a:gd name="connsiteY89" fmla="*/ 155828 h 662520"/>
              <a:gd name="connsiteX90" fmla="*/ 539775 w 2528582"/>
              <a:gd name="connsiteY90" fmla="*/ 155828 h 662520"/>
              <a:gd name="connsiteX91" fmla="*/ 539775 w 2528582"/>
              <a:gd name="connsiteY91" fmla="*/ 33807 h 662520"/>
              <a:gd name="connsiteX92" fmla="*/ 584006 w 2528582"/>
              <a:gd name="connsiteY92" fmla="*/ 19813 h 662520"/>
              <a:gd name="connsiteX93" fmla="*/ 631056 w 2528582"/>
              <a:gd name="connsiteY93" fmla="*/ 9159 h 662520"/>
              <a:gd name="connsiteX94" fmla="*/ 681278 w 2528582"/>
              <a:gd name="connsiteY94" fmla="*/ 2378 h 662520"/>
              <a:gd name="connsiteX95" fmla="*/ 735025 w 2528582"/>
              <a:gd name="connsiteY95" fmla="*/ 0 h 662520"/>
              <a:gd name="connsiteX96" fmla="*/ 790395 w 2528582"/>
              <a:gd name="connsiteY96" fmla="*/ 3158 h 662520"/>
              <a:gd name="connsiteX97" fmla="*/ 838689 w 2528582"/>
              <a:gd name="connsiteY97" fmla="*/ 12853 h 662520"/>
              <a:gd name="connsiteX98" fmla="*/ 879380 w 2528582"/>
              <a:gd name="connsiteY98" fmla="*/ 29412 h 662520"/>
              <a:gd name="connsiteX99" fmla="*/ 911943 w 2528582"/>
              <a:gd name="connsiteY99" fmla="*/ 53163 h 662520"/>
              <a:gd name="connsiteX100" fmla="*/ 935853 w 2528582"/>
              <a:gd name="connsiteY100" fmla="*/ 84435 h 662520"/>
              <a:gd name="connsiteX101" fmla="*/ 950584 w 2528582"/>
              <a:gd name="connsiteY101" fmla="*/ 123555 h 662520"/>
              <a:gd name="connsiteX102" fmla="*/ 955611 w 2528582"/>
              <a:gd name="connsiteY102" fmla="*/ 170853 h 662520"/>
              <a:gd name="connsiteX103" fmla="*/ 949453 w 2528582"/>
              <a:gd name="connsiteY103" fmla="*/ 219568 h 662520"/>
              <a:gd name="connsiteX104" fmla="*/ 931581 w 2528582"/>
              <a:gd name="connsiteY104" fmla="*/ 258234 h 662520"/>
              <a:gd name="connsiteX105" fmla="*/ 902895 w 2528582"/>
              <a:gd name="connsiteY105" fmla="*/ 287843 h 662520"/>
              <a:gd name="connsiteX106" fmla="*/ 864296 w 2528582"/>
              <a:gd name="connsiteY106" fmla="*/ 309388 h 662520"/>
              <a:gd name="connsiteX107" fmla="*/ 816686 w 2528582"/>
              <a:gd name="connsiteY107" fmla="*/ 323862 h 662520"/>
              <a:gd name="connsiteX108" fmla="*/ 816686 w 2528582"/>
              <a:gd name="connsiteY108" fmla="*/ 327609 h 662520"/>
              <a:gd name="connsiteX109" fmla="*/ 870681 w 2528582"/>
              <a:gd name="connsiteY109" fmla="*/ 340566 h 662520"/>
              <a:gd name="connsiteX110" fmla="*/ 912283 w 2528582"/>
              <a:gd name="connsiteY110" fmla="*/ 362534 h 662520"/>
              <a:gd name="connsiteX111" fmla="*/ 941719 w 2528582"/>
              <a:gd name="connsiteY111" fmla="*/ 393513 h 662520"/>
              <a:gd name="connsiteX112" fmla="*/ 959215 w 2528582"/>
              <a:gd name="connsiteY112" fmla="*/ 433502 h 662520"/>
              <a:gd name="connsiteX113" fmla="*/ 964996 w 2528582"/>
              <a:gd name="connsiteY113" fmla="*/ 482498 h 662520"/>
              <a:gd name="connsiteX114" fmla="*/ 959936 w 2528582"/>
              <a:gd name="connsiteY114" fmla="*/ 527743 h 662520"/>
              <a:gd name="connsiteX115" fmla="*/ 944659 w 2528582"/>
              <a:gd name="connsiteY115" fmla="*/ 567021 h 662520"/>
              <a:gd name="connsiteX116" fmla="*/ 920122 w 2528582"/>
              <a:gd name="connsiteY116" fmla="*/ 600232 h 662520"/>
              <a:gd name="connsiteX117" fmla="*/ 887285 w 2528582"/>
              <a:gd name="connsiteY117" fmla="*/ 627278 h 662520"/>
              <a:gd name="connsiteX118" fmla="*/ 847106 w 2528582"/>
              <a:gd name="connsiteY118" fmla="*/ 648061 h 662520"/>
              <a:gd name="connsiteX119" fmla="*/ 800544 w 2528582"/>
              <a:gd name="connsiteY119" fmla="*/ 662482 h 662520"/>
              <a:gd name="connsiteX120" fmla="*/ 1360843 w 2528582"/>
              <a:gd name="connsiteY120" fmla="*/ 662495 h 662520"/>
              <a:gd name="connsiteX121" fmla="*/ 1322871 w 2528582"/>
              <a:gd name="connsiteY121" fmla="*/ 649352 h 662520"/>
              <a:gd name="connsiteX122" fmla="*/ 1287296 w 2528582"/>
              <a:gd name="connsiteY122" fmla="*/ 630560 h 662520"/>
              <a:gd name="connsiteX123" fmla="*/ 1254670 w 2528582"/>
              <a:gd name="connsiteY123" fmla="*/ 606062 h 662520"/>
              <a:gd name="connsiteX124" fmla="*/ 1225546 w 2528582"/>
              <a:gd name="connsiteY124" fmla="*/ 575802 h 662520"/>
              <a:gd name="connsiteX125" fmla="*/ 1200477 w 2528582"/>
              <a:gd name="connsiteY125" fmla="*/ 539722 h 662520"/>
              <a:gd name="connsiteX126" fmla="*/ 1180016 w 2528582"/>
              <a:gd name="connsiteY126" fmla="*/ 497766 h 662520"/>
              <a:gd name="connsiteX127" fmla="*/ 1164717 w 2528582"/>
              <a:gd name="connsiteY127" fmla="*/ 449876 h 662520"/>
              <a:gd name="connsiteX128" fmla="*/ 1155131 w 2528582"/>
              <a:gd name="connsiteY128" fmla="*/ 395995 h 662520"/>
              <a:gd name="connsiteX129" fmla="*/ 1151813 w 2528582"/>
              <a:gd name="connsiteY129" fmla="*/ 336067 h 662520"/>
              <a:gd name="connsiteX130" fmla="*/ 1155053 w 2528582"/>
              <a:gd name="connsiteY130" fmla="*/ 276826 h 662520"/>
              <a:gd name="connsiteX131" fmla="*/ 1164415 w 2528582"/>
              <a:gd name="connsiteY131" fmla="*/ 223488 h 662520"/>
              <a:gd name="connsiteX132" fmla="*/ 1179368 w 2528582"/>
              <a:gd name="connsiteY132" fmla="*/ 175997 h 662520"/>
              <a:gd name="connsiteX133" fmla="*/ 1199377 w 2528582"/>
              <a:gd name="connsiteY133" fmla="*/ 134299 h 662520"/>
              <a:gd name="connsiteX134" fmla="*/ 1223910 w 2528582"/>
              <a:gd name="connsiteY134" fmla="*/ 98339 h 662520"/>
              <a:gd name="connsiteX135" fmla="*/ 1252434 w 2528582"/>
              <a:gd name="connsiteY135" fmla="*/ 68062 h 662520"/>
              <a:gd name="connsiteX136" fmla="*/ 1284414 w 2528582"/>
              <a:gd name="connsiteY136" fmla="*/ 43413 h 662520"/>
              <a:gd name="connsiteX137" fmla="*/ 1319318 w 2528582"/>
              <a:gd name="connsiteY137" fmla="*/ 24337 h 662520"/>
              <a:gd name="connsiteX138" fmla="*/ 1356613 w 2528582"/>
              <a:gd name="connsiteY138" fmla="*/ 10780 h 662520"/>
              <a:gd name="connsiteX139" fmla="*/ 1395766 w 2528582"/>
              <a:gd name="connsiteY139" fmla="*/ 2685 h 662520"/>
              <a:gd name="connsiteX140" fmla="*/ 1436243 w 2528582"/>
              <a:gd name="connsiteY140" fmla="*/ 0 h 662520"/>
              <a:gd name="connsiteX141" fmla="*/ 1476722 w 2528582"/>
              <a:gd name="connsiteY141" fmla="*/ 2685 h 662520"/>
              <a:gd name="connsiteX142" fmla="*/ 1515876 w 2528582"/>
              <a:gd name="connsiteY142" fmla="*/ 10780 h 662520"/>
              <a:gd name="connsiteX143" fmla="*/ 1553172 w 2528582"/>
              <a:gd name="connsiteY143" fmla="*/ 24337 h 662520"/>
              <a:gd name="connsiteX144" fmla="*/ 1588076 w 2528582"/>
              <a:gd name="connsiteY144" fmla="*/ 43413 h 662520"/>
              <a:gd name="connsiteX145" fmla="*/ 1620056 w 2528582"/>
              <a:gd name="connsiteY145" fmla="*/ 68062 h 662520"/>
              <a:gd name="connsiteX146" fmla="*/ 1648579 w 2528582"/>
              <a:gd name="connsiteY146" fmla="*/ 98339 h 662520"/>
              <a:gd name="connsiteX147" fmla="*/ 1673111 w 2528582"/>
              <a:gd name="connsiteY147" fmla="*/ 134299 h 662520"/>
              <a:gd name="connsiteX148" fmla="*/ 1693119 w 2528582"/>
              <a:gd name="connsiteY148" fmla="*/ 175997 h 662520"/>
              <a:gd name="connsiteX149" fmla="*/ 1708071 w 2528582"/>
              <a:gd name="connsiteY149" fmla="*/ 223488 h 662520"/>
              <a:gd name="connsiteX150" fmla="*/ 1717433 w 2528582"/>
              <a:gd name="connsiteY150" fmla="*/ 276826 h 662520"/>
              <a:gd name="connsiteX151" fmla="*/ 1720672 w 2528582"/>
              <a:gd name="connsiteY151" fmla="*/ 336067 h 662520"/>
              <a:gd name="connsiteX152" fmla="*/ 1717354 w 2528582"/>
              <a:gd name="connsiteY152" fmla="*/ 395995 h 662520"/>
              <a:gd name="connsiteX153" fmla="*/ 1707768 w 2528582"/>
              <a:gd name="connsiteY153" fmla="*/ 449876 h 662520"/>
              <a:gd name="connsiteX154" fmla="*/ 1692469 w 2528582"/>
              <a:gd name="connsiteY154" fmla="*/ 497766 h 662520"/>
              <a:gd name="connsiteX155" fmla="*/ 1672008 w 2528582"/>
              <a:gd name="connsiteY155" fmla="*/ 539722 h 662520"/>
              <a:gd name="connsiteX156" fmla="*/ 1646939 w 2528582"/>
              <a:gd name="connsiteY156" fmla="*/ 575802 h 662520"/>
              <a:gd name="connsiteX157" fmla="*/ 1617815 w 2528582"/>
              <a:gd name="connsiteY157" fmla="*/ 606062 h 662520"/>
              <a:gd name="connsiteX158" fmla="*/ 1585189 w 2528582"/>
              <a:gd name="connsiteY158" fmla="*/ 630560 h 662520"/>
              <a:gd name="connsiteX159" fmla="*/ 1549614 w 2528582"/>
              <a:gd name="connsiteY159" fmla="*/ 649352 h 662520"/>
              <a:gd name="connsiteX160" fmla="*/ 1511642 w 2528582"/>
              <a:gd name="connsiteY160" fmla="*/ 662495 h 662520"/>
              <a:gd name="connsiteX161" fmla="*/ 1943430 w 2528582"/>
              <a:gd name="connsiteY161" fmla="*/ 662495 h 662520"/>
              <a:gd name="connsiteX162" fmla="*/ 1905459 w 2528582"/>
              <a:gd name="connsiteY162" fmla="*/ 649348 h 662520"/>
              <a:gd name="connsiteX163" fmla="*/ 1869885 w 2528582"/>
              <a:gd name="connsiteY163" fmla="*/ 630555 h 662520"/>
              <a:gd name="connsiteX164" fmla="*/ 1837261 w 2528582"/>
              <a:gd name="connsiteY164" fmla="*/ 606057 h 662520"/>
              <a:gd name="connsiteX165" fmla="*/ 1808138 w 2528582"/>
              <a:gd name="connsiteY165" fmla="*/ 575797 h 662520"/>
              <a:gd name="connsiteX166" fmla="*/ 1783072 w 2528582"/>
              <a:gd name="connsiteY166" fmla="*/ 539718 h 662520"/>
              <a:gd name="connsiteX167" fmla="*/ 1762613 w 2528582"/>
              <a:gd name="connsiteY167" fmla="*/ 497763 h 662520"/>
              <a:gd name="connsiteX168" fmla="*/ 1747315 w 2528582"/>
              <a:gd name="connsiteY168" fmla="*/ 449874 h 662520"/>
              <a:gd name="connsiteX169" fmla="*/ 1737731 w 2528582"/>
              <a:gd name="connsiteY169" fmla="*/ 395995 h 662520"/>
              <a:gd name="connsiteX170" fmla="*/ 1734413 w 2528582"/>
              <a:gd name="connsiteY170" fmla="*/ 336067 h 662520"/>
              <a:gd name="connsiteX171" fmla="*/ 1737652 w 2528582"/>
              <a:gd name="connsiteY171" fmla="*/ 276826 h 662520"/>
              <a:gd name="connsiteX172" fmla="*/ 1747014 w 2528582"/>
              <a:gd name="connsiteY172" fmla="*/ 223488 h 662520"/>
              <a:gd name="connsiteX173" fmla="*/ 1761965 w 2528582"/>
              <a:gd name="connsiteY173" fmla="*/ 175997 h 662520"/>
              <a:gd name="connsiteX174" fmla="*/ 1781973 w 2528582"/>
              <a:gd name="connsiteY174" fmla="*/ 134299 h 662520"/>
              <a:gd name="connsiteX175" fmla="*/ 1806505 w 2528582"/>
              <a:gd name="connsiteY175" fmla="*/ 98339 h 662520"/>
              <a:gd name="connsiteX176" fmla="*/ 1835026 w 2528582"/>
              <a:gd name="connsiteY176" fmla="*/ 68062 h 662520"/>
              <a:gd name="connsiteX177" fmla="*/ 1867005 w 2528582"/>
              <a:gd name="connsiteY177" fmla="*/ 43413 h 662520"/>
              <a:gd name="connsiteX178" fmla="*/ 1901908 w 2528582"/>
              <a:gd name="connsiteY178" fmla="*/ 24337 h 662520"/>
              <a:gd name="connsiteX179" fmla="*/ 1939202 w 2528582"/>
              <a:gd name="connsiteY179" fmla="*/ 10780 h 662520"/>
              <a:gd name="connsiteX180" fmla="*/ 1978353 w 2528582"/>
              <a:gd name="connsiteY180" fmla="*/ 2685 h 662520"/>
              <a:gd name="connsiteX181" fmla="*/ 2018830 w 2528582"/>
              <a:gd name="connsiteY181" fmla="*/ 0 h 662520"/>
              <a:gd name="connsiteX182" fmla="*/ 2059309 w 2528582"/>
              <a:gd name="connsiteY182" fmla="*/ 2685 h 662520"/>
              <a:gd name="connsiteX183" fmla="*/ 2098463 w 2528582"/>
              <a:gd name="connsiteY183" fmla="*/ 10780 h 662520"/>
              <a:gd name="connsiteX184" fmla="*/ 2135759 w 2528582"/>
              <a:gd name="connsiteY184" fmla="*/ 24337 h 662520"/>
              <a:gd name="connsiteX185" fmla="*/ 2170664 w 2528582"/>
              <a:gd name="connsiteY185" fmla="*/ 43413 h 662520"/>
              <a:gd name="connsiteX186" fmla="*/ 2202644 w 2528582"/>
              <a:gd name="connsiteY186" fmla="*/ 68062 h 662520"/>
              <a:gd name="connsiteX187" fmla="*/ 2231166 w 2528582"/>
              <a:gd name="connsiteY187" fmla="*/ 98339 h 662520"/>
              <a:gd name="connsiteX188" fmla="*/ 2255698 w 2528582"/>
              <a:gd name="connsiteY188" fmla="*/ 134299 h 662520"/>
              <a:gd name="connsiteX189" fmla="*/ 2275706 w 2528582"/>
              <a:gd name="connsiteY189" fmla="*/ 175997 h 662520"/>
              <a:gd name="connsiteX190" fmla="*/ 2290658 w 2528582"/>
              <a:gd name="connsiteY190" fmla="*/ 223488 h 662520"/>
              <a:gd name="connsiteX191" fmla="*/ 2300020 w 2528582"/>
              <a:gd name="connsiteY191" fmla="*/ 276826 h 662520"/>
              <a:gd name="connsiteX192" fmla="*/ 2303259 w 2528582"/>
              <a:gd name="connsiteY192" fmla="*/ 336067 h 662520"/>
              <a:gd name="connsiteX193" fmla="*/ 2299941 w 2528582"/>
              <a:gd name="connsiteY193" fmla="*/ 395991 h 662520"/>
              <a:gd name="connsiteX194" fmla="*/ 2290357 w 2528582"/>
              <a:gd name="connsiteY194" fmla="*/ 449869 h 662520"/>
              <a:gd name="connsiteX195" fmla="*/ 2275059 w 2528582"/>
              <a:gd name="connsiteY195" fmla="*/ 497757 h 662520"/>
              <a:gd name="connsiteX196" fmla="*/ 2254600 w 2528582"/>
              <a:gd name="connsiteY196" fmla="*/ 539713 h 662520"/>
              <a:gd name="connsiteX197" fmla="*/ 2229533 w 2528582"/>
              <a:gd name="connsiteY197" fmla="*/ 575793 h 662520"/>
              <a:gd name="connsiteX198" fmla="*/ 2200411 w 2528582"/>
              <a:gd name="connsiteY198" fmla="*/ 606054 h 662520"/>
              <a:gd name="connsiteX199" fmla="*/ 2167787 w 2528582"/>
              <a:gd name="connsiteY199" fmla="*/ 630553 h 662520"/>
              <a:gd name="connsiteX200" fmla="*/ 2132213 w 2528582"/>
              <a:gd name="connsiteY200" fmla="*/ 649348 h 662520"/>
              <a:gd name="connsiteX201" fmla="*/ 2094242 w 2528582"/>
              <a:gd name="connsiteY201" fmla="*/ 662495 h 662520"/>
              <a:gd name="connsiteX202" fmla="*/ 2528582 w 2528582"/>
              <a:gd name="connsiteY202" fmla="*/ 662482 h 662520"/>
              <a:gd name="connsiteX203" fmla="*/ 2490620 w 2528582"/>
              <a:gd name="connsiteY203" fmla="*/ 649332 h 662520"/>
              <a:gd name="connsiteX204" fmla="*/ 2455053 w 2528582"/>
              <a:gd name="connsiteY204" fmla="*/ 630534 h 662520"/>
              <a:gd name="connsiteX205" fmla="*/ 2422435 w 2528582"/>
              <a:gd name="connsiteY205" fmla="*/ 606033 h 662520"/>
              <a:gd name="connsiteX206" fmla="*/ 2393318 w 2528582"/>
              <a:gd name="connsiteY206" fmla="*/ 575772 h 662520"/>
              <a:gd name="connsiteX207" fmla="*/ 2368257 w 2528582"/>
              <a:gd name="connsiteY207" fmla="*/ 539693 h 662520"/>
              <a:gd name="connsiteX208" fmla="*/ 2347803 w 2528582"/>
              <a:gd name="connsiteY208" fmla="*/ 497740 h 662520"/>
              <a:gd name="connsiteX209" fmla="*/ 2332510 w 2528582"/>
              <a:gd name="connsiteY209" fmla="*/ 449856 h 662520"/>
              <a:gd name="connsiteX210" fmla="*/ 2322930 w 2528582"/>
              <a:gd name="connsiteY210" fmla="*/ 395984 h 662520"/>
              <a:gd name="connsiteX211" fmla="*/ 2319616 w 2528582"/>
              <a:gd name="connsiteY211" fmla="*/ 336067 h 662520"/>
              <a:gd name="connsiteX212" fmla="*/ 2322855 w 2528582"/>
              <a:gd name="connsiteY212" fmla="*/ 276826 h 662520"/>
              <a:gd name="connsiteX213" fmla="*/ 2332217 w 2528582"/>
              <a:gd name="connsiteY213" fmla="*/ 223488 h 662520"/>
              <a:gd name="connsiteX214" fmla="*/ 2347169 w 2528582"/>
              <a:gd name="connsiteY214" fmla="*/ 175997 h 662520"/>
              <a:gd name="connsiteX215" fmla="*/ 2367177 w 2528582"/>
              <a:gd name="connsiteY215" fmla="*/ 134299 h 662520"/>
              <a:gd name="connsiteX216" fmla="*/ 2391708 w 2528582"/>
              <a:gd name="connsiteY216" fmla="*/ 98339 h 662520"/>
              <a:gd name="connsiteX217" fmla="*/ 2420230 w 2528582"/>
              <a:gd name="connsiteY217" fmla="*/ 68062 h 662520"/>
              <a:gd name="connsiteX218" fmla="*/ 2452208 w 2528582"/>
              <a:gd name="connsiteY218" fmla="*/ 43413 h 662520"/>
              <a:gd name="connsiteX219" fmla="*/ 2487111 w 2528582"/>
              <a:gd name="connsiteY219" fmla="*/ 24337 h 662520"/>
              <a:gd name="connsiteX220" fmla="*/ 2524405 w 2528582"/>
              <a:gd name="connsiteY220" fmla="*/ 10780 h 662520"/>
              <a:gd name="connsiteX0" fmla="*/ 74231 w 2528582"/>
              <a:gd name="connsiteY0" fmla="*/ 662482 h 662520"/>
              <a:gd name="connsiteX1" fmla="*/ 60344 w 2528582"/>
              <a:gd name="connsiteY1" fmla="*/ 659582 h 662520"/>
              <a:gd name="connsiteX2" fmla="*/ 47517 w 2528582"/>
              <a:gd name="connsiteY2" fmla="*/ 656437 h 662520"/>
              <a:gd name="connsiteX3" fmla="*/ 35823 w 2528582"/>
              <a:gd name="connsiteY3" fmla="*/ 653092 h 662520"/>
              <a:gd name="connsiteX4" fmla="*/ 25336 w 2528582"/>
              <a:gd name="connsiteY4" fmla="*/ 649592 h 662520"/>
              <a:gd name="connsiteX5" fmla="*/ 25336 w 2528582"/>
              <a:gd name="connsiteY5" fmla="*/ 533196 h 662520"/>
              <a:gd name="connsiteX6" fmla="*/ 104190 w 2528582"/>
              <a:gd name="connsiteY6" fmla="*/ 533196 h 662520"/>
              <a:gd name="connsiteX7" fmla="*/ 116931 w 2528582"/>
              <a:gd name="connsiteY7" fmla="*/ 550133 h 662520"/>
              <a:gd name="connsiteX8" fmla="*/ 135043 w 2528582"/>
              <a:gd name="connsiteY8" fmla="*/ 564522 h 662520"/>
              <a:gd name="connsiteX9" fmla="*/ 160020 w 2528582"/>
              <a:gd name="connsiteY9" fmla="*/ 574514 h 662520"/>
              <a:gd name="connsiteX10" fmla="*/ 193357 w 2528582"/>
              <a:gd name="connsiteY10" fmla="*/ 578256 h 662520"/>
              <a:gd name="connsiteX11" fmla="*/ 233829 w 2528582"/>
              <a:gd name="connsiteY11" fmla="*/ 573672 h 662520"/>
              <a:gd name="connsiteX12" fmla="*/ 297105 w 2528582"/>
              <a:gd name="connsiteY12" fmla="*/ 537246 h 662520"/>
              <a:gd name="connsiteX13" fmla="*/ 320040 w 2528582"/>
              <a:gd name="connsiteY13" fmla="*/ 505568 h 662520"/>
              <a:gd name="connsiteX14" fmla="*/ 337261 w 2528582"/>
              <a:gd name="connsiteY14" fmla="*/ 465022 h 662520"/>
              <a:gd name="connsiteX15" fmla="*/ 348834 w 2528582"/>
              <a:gd name="connsiteY15" fmla="*/ 415691 h 662520"/>
              <a:gd name="connsiteX16" fmla="*/ 354825 w 2528582"/>
              <a:gd name="connsiteY16" fmla="*/ 357657 h 662520"/>
              <a:gd name="connsiteX17" fmla="*/ 325357 w 2528582"/>
              <a:gd name="connsiteY17" fmla="*/ 385098 h 662520"/>
              <a:gd name="connsiteX18" fmla="*/ 289466 w 2528582"/>
              <a:gd name="connsiteY18" fmla="*/ 406117 h 662520"/>
              <a:gd name="connsiteX19" fmla="*/ 247767 w 2528582"/>
              <a:gd name="connsiteY19" fmla="*/ 419568 h 662520"/>
              <a:gd name="connsiteX20" fmla="*/ 200875 w 2528582"/>
              <a:gd name="connsiteY20" fmla="*/ 424306 h 662520"/>
              <a:gd name="connsiteX21" fmla="*/ 153099 w 2528582"/>
              <a:gd name="connsiteY21" fmla="*/ 420031 h 662520"/>
              <a:gd name="connsiteX22" fmla="*/ 110150 w 2528582"/>
              <a:gd name="connsiteY22" fmla="*/ 407348 h 662520"/>
              <a:gd name="connsiteX23" fmla="*/ 72948 w 2528582"/>
              <a:gd name="connsiteY23" fmla="*/ 386472 h 662520"/>
              <a:gd name="connsiteX24" fmla="*/ 42412 w 2528582"/>
              <a:gd name="connsiteY24" fmla="*/ 357614 h 662520"/>
              <a:gd name="connsiteX25" fmla="*/ 19463 w 2528582"/>
              <a:gd name="connsiteY25" fmla="*/ 320990 h 662520"/>
              <a:gd name="connsiteX26" fmla="*/ 5019 w 2528582"/>
              <a:gd name="connsiteY26" fmla="*/ 276814 h 662520"/>
              <a:gd name="connsiteX27" fmla="*/ 0 w 2528582"/>
              <a:gd name="connsiteY27" fmla="*/ 225297 h 662520"/>
              <a:gd name="connsiteX28" fmla="*/ 4447 w 2528582"/>
              <a:gd name="connsiteY28" fmla="*/ 178425 h 662520"/>
              <a:gd name="connsiteX29" fmla="*/ 17453 w 2528582"/>
              <a:gd name="connsiteY29" fmla="*/ 135445 h 662520"/>
              <a:gd name="connsiteX30" fmla="*/ 38511 w 2528582"/>
              <a:gd name="connsiteY30" fmla="*/ 97085 h 662520"/>
              <a:gd name="connsiteX31" fmla="*/ 67116 w 2528582"/>
              <a:gd name="connsiteY31" fmla="*/ 64071 h 662520"/>
              <a:gd name="connsiteX32" fmla="*/ 102760 w 2528582"/>
              <a:gd name="connsiteY32" fmla="*/ 37129 h 662520"/>
              <a:gd name="connsiteX33" fmla="*/ 144939 w 2528582"/>
              <a:gd name="connsiteY33" fmla="*/ 16986 h 662520"/>
              <a:gd name="connsiteX34" fmla="*/ 193146 w 2528582"/>
              <a:gd name="connsiteY34" fmla="*/ 4367 h 662520"/>
              <a:gd name="connsiteX35" fmla="*/ 246875 w 2528582"/>
              <a:gd name="connsiteY35" fmla="*/ 0 h 662520"/>
              <a:gd name="connsiteX36" fmla="*/ 290625 w 2528582"/>
              <a:gd name="connsiteY36" fmla="*/ 2882 h 662520"/>
              <a:gd name="connsiteX37" fmla="*/ 331492 w 2528582"/>
              <a:gd name="connsiteY37" fmla="*/ 11678 h 662520"/>
              <a:gd name="connsiteX38" fmla="*/ 369070 w 2528582"/>
              <a:gd name="connsiteY38" fmla="*/ 26614 h 662520"/>
              <a:gd name="connsiteX39" fmla="*/ 402953 w 2528582"/>
              <a:gd name="connsiteY39" fmla="*/ 47914 h 662520"/>
              <a:gd name="connsiteX40" fmla="*/ 432736 w 2528582"/>
              <a:gd name="connsiteY40" fmla="*/ 75804 h 662520"/>
              <a:gd name="connsiteX41" fmla="*/ 458013 w 2528582"/>
              <a:gd name="connsiteY41" fmla="*/ 110509 h 662520"/>
              <a:gd name="connsiteX42" fmla="*/ 478379 w 2528582"/>
              <a:gd name="connsiteY42" fmla="*/ 152255 h 662520"/>
              <a:gd name="connsiteX43" fmla="*/ 493429 w 2528582"/>
              <a:gd name="connsiteY43" fmla="*/ 201265 h 662520"/>
              <a:gd name="connsiteX44" fmla="*/ 502756 w 2528582"/>
              <a:gd name="connsiteY44" fmla="*/ 257766 h 662520"/>
              <a:gd name="connsiteX45" fmla="*/ 505955 w 2528582"/>
              <a:gd name="connsiteY45" fmla="*/ 321983 h 662520"/>
              <a:gd name="connsiteX46" fmla="*/ 503406 w 2528582"/>
              <a:gd name="connsiteY46" fmla="*/ 376707 h 662520"/>
              <a:gd name="connsiteX47" fmla="*/ 495858 w 2528582"/>
              <a:gd name="connsiteY47" fmla="*/ 427041 h 662520"/>
              <a:gd name="connsiteX48" fmla="*/ 483456 w 2528582"/>
              <a:gd name="connsiteY48" fmla="*/ 472909 h 662520"/>
              <a:gd name="connsiteX49" fmla="*/ 466346 w 2528582"/>
              <a:gd name="connsiteY49" fmla="*/ 514232 h 662520"/>
              <a:gd name="connsiteX50" fmla="*/ 444674 w 2528582"/>
              <a:gd name="connsiteY50" fmla="*/ 550937 h 662520"/>
              <a:gd name="connsiteX51" fmla="*/ 418587 w 2528582"/>
              <a:gd name="connsiteY51" fmla="*/ 582945 h 662520"/>
              <a:gd name="connsiteX52" fmla="*/ 388229 w 2528582"/>
              <a:gd name="connsiteY52" fmla="*/ 610181 h 662520"/>
              <a:gd name="connsiteX53" fmla="*/ 353748 w 2528582"/>
              <a:gd name="connsiteY53" fmla="*/ 632569 h 662520"/>
              <a:gd name="connsiteX54" fmla="*/ 315289 w 2528582"/>
              <a:gd name="connsiteY54" fmla="*/ 650033 h 662520"/>
              <a:gd name="connsiteX55" fmla="*/ 272999 w 2528582"/>
              <a:gd name="connsiteY55" fmla="*/ 662495 h 662520"/>
              <a:gd name="connsiteX56" fmla="*/ 592162 w 2528582"/>
              <a:gd name="connsiteY56" fmla="*/ 662520 h 662520"/>
              <a:gd name="connsiteX57" fmla="*/ 571167 w 2528582"/>
              <a:gd name="connsiteY57" fmla="*/ 658030 h 662520"/>
              <a:gd name="connsiteX58" fmla="*/ 551373 w 2528582"/>
              <a:gd name="connsiteY58" fmla="*/ 652783 h 662520"/>
              <a:gd name="connsiteX59" fmla="*/ 532537 w 2528582"/>
              <a:gd name="connsiteY59" fmla="*/ 646826 h 662520"/>
              <a:gd name="connsiteX60" fmla="*/ 514413 w 2528582"/>
              <a:gd name="connsiteY60" fmla="*/ 640206 h 662520"/>
              <a:gd name="connsiteX61" fmla="*/ 514413 w 2528582"/>
              <a:gd name="connsiteY61" fmla="*/ 516293 h 662520"/>
              <a:gd name="connsiteX62" fmla="*/ 596087 w 2528582"/>
              <a:gd name="connsiteY62" fmla="*/ 516293 h 662520"/>
              <a:gd name="connsiteX63" fmla="*/ 612203 w 2528582"/>
              <a:gd name="connsiteY63" fmla="*/ 539439 h 662520"/>
              <a:gd name="connsiteX64" fmla="*/ 635627 w 2528582"/>
              <a:gd name="connsiteY64" fmla="*/ 559242 h 662520"/>
              <a:gd name="connsiteX65" fmla="*/ 666972 w 2528582"/>
              <a:gd name="connsiteY65" fmla="*/ 573062 h 662520"/>
              <a:gd name="connsiteX66" fmla="*/ 706856 w 2528582"/>
              <a:gd name="connsiteY66" fmla="*/ 578256 h 662520"/>
              <a:gd name="connsiteX67" fmla="*/ 749359 w 2528582"/>
              <a:gd name="connsiteY67" fmla="*/ 571758 h 662520"/>
              <a:gd name="connsiteX68" fmla="*/ 784298 w 2528582"/>
              <a:gd name="connsiteY68" fmla="*/ 552322 h 662520"/>
              <a:gd name="connsiteX69" fmla="*/ 807972 w 2528582"/>
              <a:gd name="connsiteY69" fmla="*/ 520038 h 662520"/>
              <a:gd name="connsiteX70" fmla="*/ 816686 w 2528582"/>
              <a:gd name="connsiteY70" fmla="*/ 474992 h 662520"/>
              <a:gd name="connsiteX71" fmla="*/ 809424 w 2528582"/>
              <a:gd name="connsiteY71" fmla="*/ 430240 h 662520"/>
              <a:gd name="connsiteX72" fmla="*/ 787466 w 2528582"/>
              <a:gd name="connsiteY72" fmla="*/ 398602 h 662520"/>
              <a:gd name="connsiteX73" fmla="*/ 750549 w 2528582"/>
              <a:gd name="connsiteY73" fmla="*/ 379812 h 662520"/>
              <a:gd name="connsiteX74" fmla="*/ 698411 w 2528582"/>
              <a:gd name="connsiteY74" fmla="*/ 373608 h 662520"/>
              <a:gd name="connsiteX75" fmla="*/ 649592 w 2528582"/>
              <a:gd name="connsiteY75" fmla="*/ 373608 h 662520"/>
              <a:gd name="connsiteX76" fmla="*/ 649592 w 2528582"/>
              <a:gd name="connsiteY76" fmla="*/ 286308 h 662520"/>
              <a:gd name="connsiteX77" fmla="*/ 690892 w 2528582"/>
              <a:gd name="connsiteY77" fmla="*/ 286308 h 662520"/>
              <a:gd name="connsiteX78" fmla="*/ 744563 w 2528582"/>
              <a:gd name="connsiteY78" fmla="*/ 280133 h 662520"/>
              <a:gd name="connsiteX79" fmla="*/ 783007 w 2528582"/>
              <a:gd name="connsiteY79" fmla="*/ 261550 h 662520"/>
              <a:gd name="connsiteX80" fmla="*/ 806137 w 2528582"/>
              <a:gd name="connsiteY80" fmla="*/ 230469 h 662520"/>
              <a:gd name="connsiteX81" fmla="*/ 813866 w 2528582"/>
              <a:gd name="connsiteY81" fmla="*/ 186804 h 662520"/>
              <a:gd name="connsiteX82" fmla="*/ 808513 w 2528582"/>
              <a:gd name="connsiteY82" fmla="*/ 149115 h 662520"/>
              <a:gd name="connsiteX83" fmla="*/ 792160 w 2528582"/>
              <a:gd name="connsiteY83" fmla="*/ 121104 h 662520"/>
              <a:gd name="connsiteX84" fmla="*/ 764365 w 2528582"/>
              <a:gd name="connsiteY84" fmla="*/ 103651 h 662520"/>
              <a:gd name="connsiteX85" fmla="*/ 724687 w 2528582"/>
              <a:gd name="connsiteY85" fmla="*/ 97637 h 662520"/>
              <a:gd name="connsiteX86" fmla="*/ 687243 w 2528582"/>
              <a:gd name="connsiteY86" fmla="*/ 102374 h 662520"/>
              <a:gd name="connsiteX87" fmla="*/ 657456 w 2528582"/>
              <a:gd name="connsiteY87" fmla="*/ 115117 h 662520"/>
              <a:gd name="connsiteX88" fmla="*/ 634533 w 2528582"/>
              <a:gd name="connsiteY88" fmla="*/ 133668 h 662520"/>
              <a:gd name="connsiteX89" fmla="*/ 617677 w 2528582"/>
              <a:gd name="connsiteY89" fmla="*/ 155828 h 662520"/>
              <a:gd name="connsiteX90" fmla="*/ 539775 w 2528582"/>
              <a:gd name="connsiteY90" fmla="*/ 155828 h 662520"/>
              <a:gd name="connsiteX91" fmla="*/ 539775 w 2528582"/>
              <a:gd name="connsiteY91" fmla="*/ 33807 h 662520"/>
              <a:gd name="connsiteX92" fmla="*/ 584006 w 2528582"/>
              <a:gd name="connsiteY92" fmla="*/ 19813 h 662520"/>
              <a:gd name="connsiteX93" fmla="*/ 631056 w 2528582"/>
              <a:gd name="connsiteY93" fmla="*/ 9159 h 662520"/>
              <a:gd name="connsiteX94" fmla="*/ 681278 w 2528582"/>
              <a:gd name="connsiteY94" fmla="*/ 2378 h 662520"/>
              <a:gd name="connsiteX95" fmla="*/ 735025 w 2528582"/>
              <a:gd name="connsiteY95" fmla="*/ 0 h 662520"/>
              <a:gd name="connsiteX96" fmla="*/ 790395 w 2528582"/>
              <a:gd name="connsiteY96" fmla="*/ 3158 h 662520"/>
              <a:gd name="connsiteX97" fmla="*/ 838689 w 2528582"/>
              <a:gd name="connsiteY97" fmla="*/ 12853 h 662520"/>
              <a:gd name="connsiteX98" fmla="*/ 879380 w 2528582"/>
              <a:gd name="connsiteY98" fmla="*/ 29412 h 662520"/>
              <a:gd name="connsiteX99" fmla="*/ 911943 w 2528582"/>
              <a:gd name="connsiteY99" fmla="*/ 53163 h 662520"/>
              <a:gd name="connsiteX100" fmla="*/ 935853 w 2528582"/>
              <a:gd name="connsiteY100" fmla="*/ 84435 h 662520"/>
              <a:gd name="connsiteX101" fmla="*/ 950584 w 2528582"/>
              <a:gd name="connsiteY101" fmla="*/ 123555 h 662520"/>
              <a:gd name="connsiteX102" fmla="*/ 955611 w 2528582"/>
              <a:gd name="connsiteY102" fmla="*/ 170853 h 662520"/>
              <a:gd name="connsiteX103" fmla="*/ 949453 w 2528582"/>
              <a:gd name="connsiteY103" fmla="*/ 219568 h 662520"/>
              <a:gd name="connsiteX104" fmla="*/ 931581 w 2528582"/>
              <a:gd name="connsiteY104" fmla="*/ 258234 h 662520"/>
              <a:gd name="connsiteX105" fmla="*/ 902895 w 2528582"/>
              <a:gd name="connsiteY105" fmla="*/ 287843 h 662520"/>
              <a:gd name="connsiteX106" fmla="*/ 864296 w 2528582"/>
              <a:gd name="connsiteY106" fmla="*/ 309388 h 662520"/>
              <a:gd name="connsiteX107" fmla="*/ 816686 w 2528582"/>
              <a:gd name="connsiteY107" fmla="*/ 323862 h 662520"/>
              <a:gd name="connsiteX108" fmla="*/ 816686 w 2528582"/>
              <a:gd name="connsiteY108" fmla="*/ 327609 h 662520"/>
              <a:gd name="connsiteX109" fmla="*/ 870681 w 2528582"/>
              <a:gd name="connsiteY109" fmla="*/ 340566 h 662520"/>
              <a:gd name="connsiteX110" fmla="*/ 912283 w 2528582"/>
              <a:gd name="connsiteY110" fmla="*/ 362534 h 662520"/>
              <a:gd name="connsiteX111" fmla="*/ 941719 w 2528582"/>
              <a:gd name="connsiteY111" fmla="*/ 393513 h 662520"/>
              <a:gd name="connsiteX112" fmla="*/ 959215 w 2528582"/>
              <a:gd name="connsiteY112" fmla="*/ 433502 h 662520"/>
              <a:gd name="connsiteX113" fmla="*/ 964996 w 2528582"/>
              <a:gd name="connsiteY113" fmla="*/ 482498 h 662520"/>
              <a:gd name="connsiteX114" fmla="*/ 959936 w 2528582"/>
              <a:gd name="connsiteY114" fmla="*/ 527743 h 662520"/>
              <a:gd name="connsiteX115" fmla="*/ 944659 w 2528582"/>
              <a:gd name="connsiteY115" fmla="*/ 567021 h 662520"/>
              <a:gd name="connsiteX116" fmla="*/ 920122 w 2528582"/>
              <a:gd name="connsiteY116" fmla="*/ 600232 h 662520"/>
              <a:gd name="connsiteX117" fmla="*/ 887285 w 2528582"/>
              <a:gd name="connsiteY117" fmla="*/ 627278 h 662520"/>
              <a:gd name="connsiteX118" fmla="*/ 847106 w 2528582"/>
              <a:gd name="connsiteY118" fmla="*/ 648061 h 662520"/>
              <a:gd name="connsiteX119" fmla="*/ 800544 w 2528582"/>
              <a:gd name="connsiteY119" fmla="*/ 662482 h 662520"/>
              <a:gd name="connsiteX120" fmla="*/ 1360843 w 2528582"/>
              <a:gd name="connsiteY120" fmla="*/ 662495 h 662520"/>
              <a:gd name="connsiteX121" fmla="*/ 1322871 w 2528582"/>
              <a:gd name="connsiteY121" fmla="*/ 649352 h 662520"/>
              <a:gd name="connsiteX122" fmla="*/ 1287296 w 2528582"/>
              <a:gd name="connsiteY122" fmla="*/ 630560 h 662520"/>
              <a:gd name="connsiteX123" fmla="*/ 1254670 w 2528582"/>
              <a:gd name="connsiteY123" fmla="*/ 606062 h 662520"/>
              <a:gd name="connsiteX124" fmla="*/ 1225546 w 2528582"/>
              <a:gd name="connsiteY124" fmla="*/ 575802 h 662520"/>
              <a:gd name="connsiteX125" fmla="*/ 1200477 w 2528582"/>
              <a:gd name="connsiteY125" fmla="*/ 539722 h 662520"/>
              <a:gd name="connsiteX126" fmla="*/ 1180016 w 2528582"/>
              <a:gd name="connsiteY126" fmla="*/ 497766 h 662520"/>
              <a:gd name="connsiteX127" fmla="*/ 1164717 w 2528582"/>
              <a:gd name="connsiteY127" fmla="*/ 449876 h 662520"/>
              <a:gd name="connsiteX128" fmla="*/ 1155131 w 2528582"/>
              <a:gd name="connsiteY128" fmla="*/ 395995 h 662520"/>
              <a:gd name="connsiteX129" fmla="*/ 1151813 w 2528582"/>
              <a:gd name="connsiteY129" fmla="*/ 336067 h 662520"/>
              <a:gd name="connsiteX130" fmla="*/ 1155053 w 2528582"/>
              <a:gd name="connsiteY130" fmla="*/ 276826 h 662520"/>
              <a:gd name="connsiteX131" fmla="*/ 1164415 w 2528582"/>
              <a:gd name="connsiteY131" fmla="*/ 223488 h 662520"/>
              <a:gd name="connsiteX132" fmla="*/ 1179368 w 2528582"/>
              <a:gd name="connsiteY132" fmla="*/ 175997 h 662520"/>
              <a:gd name="connsiteX133" fmla="*/ 1199377 w 2528582"/>
              <a:gd name="connsiteY133" fmla="*/ 134299 h 662520"/>
              <a:gd name="connsiteX134" fmla="*/ 1223910 w 2528582"/>
              <a:gd name="connsiteY134" fmla="*/ 98339 h 662520"/>
              <a:gd name="connsiteX135" fmla="*/ 1252434 w 2528582"/>
              <a:gd name="connsiteY135" fmla="*/ 68062 h 662520"/>
              <a:gd name="connsiteX136" fmla="*/ 1284414 w 2528582"/>
              <a:gd name="connsiteY136" fmla="*/ 43413 h 662520"/>
              <a:gd name="connsiteX137" fmla="*/ 1319318 w 2528582"/>
              <a:gd name="connsiteY137" fmla="*/ 24337 h 662520"/>
              <a:gd name="connsiteX138" fmla="*/ 1356613 w 2528582"/>
              <a:gd name="connsiteY138" fmla="*/ 10780 h 662520"/>
              <a:gd name="connsiteX139" fmla="*/ 1395766 w 2528582"/>
              <a:gd name="connsiteY139" fmla="*/ 2685 h 662520"/>
              <a:gd name="connsiteX140" fmla="*/ 1436243 w 2528582"/>
              <a:gd name="connsiteY140" fmla="*/ 0 h 662520"/>
              <a:gd name="connsiteX141" fmla="*/ 1476722 w 2528582"/>
              <a:gd name="connsiteY141" fmla="*/ 2685 h 662520"/>
              <a:gd name="connsiteX142" fmla="*/ 1515876 w 2528582"/>
              <a:gd name="connsiteY142" fmla="*/ 10780 h 662520"/>
              <a:gd name="connsiteX143" fmla="*/ 1553172 w 2528582"/>
              <a:gd name="connsiteY143" fmla="*/ 24337 h 662520"/>
              <a:gd name="connsiteX144" fmla="*/ 1588076 w 2528582"/>
              <a:gd name="connsiteY144" fmla="*/ 43413 h 662520"/>
              <a:gd name="connsiteX145" fmla="*/ 1620056 w 2528582"/>
              <a:gd name="connsiteY145" fmla="*/ 68062 h 662520"/>
              <a:gd name="connsiteX146" fmla="*/ 1648579 w 2528582"/>
              <a:gd name="connsiteY146" fmla="*/ 98339 h 662520"/>
              <a:gd name="connsiteX147" fmla="*/ 1673111 w 2528582"/>
              <a:gd name="connsiteY147" fmla="*/ 134299 h 662520"/>
              <a:gd name="connsiteX148" fmla="*/ 1693119 w 2528582"/>
              <a:gd name="connsiteY148" fmla="*/ 175997 h 662520"/>
              <a:gd name="connsiteX149" fmla="*/ 1708071 w 2528582"/>
              <a:gd name="connsiteY149" fmla="*/ 223488 h 662520"/>
              <a:gd name="connsiteX150" fmla="*/ 1717433 w 2528582"/>
              <a:gd name="connsiteY150" fmla="*/ 276826 h 662520"/>
              <a:gd name="connsiteX151" fmla="*/ 1720672 w 2528582"/>
              <a:gd name="connsiteY151" fmla="*/ 336067 h 662520"/>
              <a:gd name="connsiteX152" fmla="*/ 1717354 w 2528582"/>
              <a:gd name="connsiteY152" fmla="*/ 395995 h 662520"/>
              <a:gd name="connsiteX153" fmla="*/ 1707768 w 2528582"/>
              <a:gd name="connsiteY153" fmla="*/ 449876 h 662520"/>
              <a:gd name="connsiteX154" fmla="*/ 1692469 w 2528582"/>
              <a:gd name="connsiteY154" fmla="*/ 497766 h 662520"/>
              <a:gd name="connsiteX155" fmla="*/ 1672008 w 2528582"/>
              <a:gd name="connsiteY155" fmla="*/ 539722 h 662520"/>
              <a:gd name="connsiteX156" fmla="*/ 1646939 w 2528582"/>
              <a:gd name="connsiteY156" fmla="*/ 575802 h 662520"/>
              <a:gd name="connsiteX157" fmla="*/ 1617815 w 2528582"/>
              <a:gd name="connsiteY157" fmla="*/ 606062 h 662520"/>
              <a:gd name="connsiteX158" fmla="*/ 1585189 w 2528582"/>
              <a:gd name="connsiteY158" fmla="*/ 630560 h 662520"/>
              <a:gd name="connsiteX159" fmla="*/ 1549614 w 2528582"/>
              <a:gd name="connsiteY159" fmla="*/ 649352 h 662520"/>
              <a:gd name="connsiteX160" fmla="*/ 1511642 w 2528582"/>
              <a:gd name="connsiteY160" fmla="*/ 662495 h 662520"/>
              <a:gd name="connsiteX161" fmla="*/ 1943430 w 2528582"/>
              <a:gd name="connsiteY161" fmla="*/ 662495 h 662520"/>
              <a:gd name="connsiteX162" fmla="*/ 1905459 w 2528582"/>
              <a:gd name="connsiteY162" fmla="*/ 649348 h 662520"/>
              <a:gd name="connsiteX163" fmla="*/ 1869885 w 2528582"/>
              <a:gd name="connsiteY163" fmla="*/ 630555 h 662520"/>
              <a:gd name="connsiteX164" fmla="*/ 1837261 w 2528582"/>
              <a:gd name="connsiteY164" fmla="*/ 606057 h 662520"/>
              <a:gd name="connsiteX165" fmla="*/ 1808138 w 2528582"/>
              <a:gd name="connsiteY165" fmla="*/ 575797 h 662520"/>
              <a:gd name="connsiteX166" fmla="*/ 1783072 w 2528582"/>
              <a:gd name="connsiteY166" fmla="*/ 539718 h 662520"/>
              <a:gd name="connsiteX167" fmla="*/ 1762613 w 2528582"/>
              <a:gd name="connsiteY167" fmla="*/ 497763 h 662520"/>
              <a:gd name="connsiteX168" fmla="*/ 1747315 w 2528582"/>
              <a:gd name="connsiteY168" fmla="*/ 449874 h 662520"/>
              <a:gd name="connsiteX169" fmla="*/ 1737731 w 2528582"/>
              <a:gd name="connsiteY169" fmla="*/ 395995 h 662520"/>
              <a:gd name="connsiteX170" fmla="*/ 1734413 w 2528582"/>
              <a:gd name="connsiteY170" fmla="*/ 336067 h 662520"/>
              <a:gd name="connsiteX171" fmla="*/ 1737652 w 2528582"/>
              <a:gd name="connsiteY171" fmla="*/ 276826 h 662520"/>
              <a:gd name="connsiteX172" fmla="*/ 1747014 w 2528582"/>
              <a:gd name="connsiteY172" fmla="*/ 223488 h 662520"/>
              <a:gd name="connsiteX173" fmla="*/ 1761965 w 2528582"/>
              <a:gd name="connsiteY173" fmla="*/ 175997 h 662520"/>
              <a:gd name="connsiteX174" fmla="*/ 1781973 w 2528582"/>
              <a:gd name="connsiteY174" fmla="*/ 134299 h 662520"/>
              <a:gd name="connsiteX175" fmla="*/ 1806505 w 2528582"/>
              <a:gd name="connsiteY175" fmla="*/ 98339 h 662520"/>
              <a:gd name="connsiteX176" fmla="*/ 1835026 w 2528582"/>
              <a:gd name="connsiteY176" fmla="*/ 68062 h 662520"/>
              <a:gd name="connsiteX177" fmla="*/ 1867005 w 2528582"/>
              <a:gd name="connsiteY177" fmla="*/ 43413 h 662520"/>
              <a:gd name="connsiteX178" fmla="*/ 1901908 w 2528582"/>
              <a:gd name="connsiteY178" fmla="*/ 24337 h 662520"/>
              <a:gd name="connsiteX179" fmla="*/ 1939202 w 2528582"/>
              <a:gd name="connsiteY179" fmla="*/ 10780 h 662520"/>
              <a:gd name="connsiteX180" fmla="*/ 1978353 w 2528582"/>
              <a:gd name="connsiteY180" fmla="*/ 2685 h 662520"/>
              <a:gd name="connsiteX181" fmla="*/ 2018830 w 2528582"/>
              <a:gd name="connsiteY181" fmla="*/ 0 h 662520"/>
              <a:gd name="connsiteX182" fmla="*/ 2059309 w 2528582"/>
              <a:gd name="connsiteY182" fmla="*/ 2685 h 662520"/>
              <a:gd name="connsiteX183" fmla="*/ 2098463 w 2528582"/>
              <a:gd name="connsiteY183" fmla="*/ 10780 h 662520"/>
              <a:gd name="connsiteX184" fmla="*/ 2135759 w 2528582"/>
              <a:gd name="connsiteY184" fmla="*/ 24337 h 662520"/>
              <a:gd name="connsiteX185" fmla="*/ 2170664 w 2528582"/>
              <a:gd name="connsiteY185" fmla="*/ 43413 h 662520"/>
              <a:gd name="connsiteX186" fmla="*/ 2202644 w 2528582"/>
              <a:gd name="connsiteY186" fmla="*/ 68062 h 662520"/>
              <a:gd name="connsiteX187" fmla="*/ 2231166 w 2528582"/>
              <a:gd name="connsiteY187" fmla="*/ 98339 h 662520"/>
              <a:gd name="connsiteX188" fmla="*/ 2255698 w 2528582"/>
              <a:gd name="connsiteY188" fmla="*/ 134299 h 662520"/>
              <a:gd name="connsiteX189" fmla="*/ 2275706 w 2528582"/>
              <a:gd name="connsiteY189" fmla="*/ 175997 h 662520"/>
              <a:gd name="connsiteX190" fmla="*/ 2290658 w 2528582"/>
              <a:gd name="connsiteY190" fmla="*/ 223488 h 662520"/>
              <a:gd name="connsiteX191" fmla="*/ 2300020 w 2528582"/>
              <a:gd name="connsiteY191" fmla="*/ 276826 h 662520"/>
              <a:gd name="connsiteX192" fmla="*/ 2303259 w 2528582"/>
              <a:gd name="connsiteY192" fmla="*/ 336067 h 662520"/>
              <a:gd name="connsiteX193" fmla="*/ 2299941 w 2528582"/>
              <a:gd name="connsiteY193" fmla="*/ 395991 h 662520"/>
              <a:gd name="connsiteX194" fmla="*/ 2290357 w 2528582"/>
              <a:gd name="connsiteY194" fmla="*/ 449869 h 662520"/>
              <a:gd name="connsiteX195" fmla="*/ 2275059 w 2528582"/>
              <a:gd name="connsiteY195" fmla="*/ 497757 h 662520"/>
              <a:gd name="connsiteX196" fmla="*/ 2254600 w 2528582"/>
              <a:gd name="connsiteY196" fmla="*/ 539713 h 662520"/>
              <a:gd name="connsiteX197" fmla="*/ 2229533 w 2528582"/>
              <a:gd name="connsiteY197" fmla="*/ 575793 h 662520"/>
              <a:gd name="connsiteX198" fmla="*/ 2200411 w 2528582"/>
              <a:gd name="connsiteY198" fmla="*/ 606054 h 662520"/>
              <a:gd name="connsiteX199" fmla="*/ 2167787 w 2528582"/>
              <a:gd name="connsiteY199" fmla="*/ 630553 h 662520"/>
              <a:gd name="connsiteX200" fmla="*/ 2132213 w 2528582"/>
              <a:gd name="connsiteY200" fmla="*/ 649348 h 662520"/>
              <a:gd name="connsiteX201" fmla="*/ 2094242 w 2528582"/>
              <a:gd name="connsiteY201" fmla="*/ 662495 h 662520"/>
              <a:gd name="connsiteX202" fmla="*/ 2528582 w 2528582"/>
              <a:gd name="connsiteY202" fmla="*/ 662482 h 662520"/>
              <a:gd name="connsiteX203" fmla="*/ 2490620 w 2528582"/>
              <a:gd name="connsiteY203" fmla="*/ 649332 h 662520"/>
              <a:gd name="connsiteX204" fmla="*/ 2455053 w 2528582"/>
              <a:gd name="connsiteY204" fmla="*/ 630534 h 662520"/>
              <a:gd name="connsiteX205" fmla="*/ 2422435 w 2528582"/>
              <a:gd name="connsiteY205" fmla="*/ 606033 h 662520"/>
              <a:gd name="connsiteX206" fmla="*/ 2393318 w 2528582"/>
              <a:gd name="connsiteY206" fmla="*/ 575772 h 662520"/>
              <a:gd name="connsiteX207" fmla="*/ 2368257 w 2528582"/>
              <a:gd name="connsiteY207" fmla="*/ 539693 h 662520"/>
              <a:gd name="connsiteX208" fmla="*/ 2347803 w 2528582"/>
              <a:gd name="connsiteY208" fmla="*/ 497740 h 662520"/>
              <a:gd name="connsiteX209" fmla="*/ 2332510 w 2528582"/>
              <a:gd name="connsiteY209" fmla="*/ 449856 h 662520"/>
              <a:gd name="connsiteX210" fmla="*/ 2322930 w 2528582"/>
              <a:gd name="connsiteY210" fmla="*/ 395984 h 662520"/>
              <a:gd name="connsiteX211" fmla="*/ 2319616 w 2528582"/>
              <a:gd name="connsiteY211" fmla="*/ 336067 h 662520"/>
              <a:gd name="connsiteX212" fmla="*/ 2322855 w 2528582"/>
              <a:gd name="connsiteY212" fmla="*/ 276826 h 662520"/>
              <a:gd name="connsiteX213" fmla="*/ 2332217 w 2528582"/>
              <a:gd name="connsiteY213" fmla="*/ 223488 h 662520"/>
              <a:gd name="connsiteX214" fmla="*/ 2347169 w 2528582"/>
              <a:gd name="connsiteY214" fmla="*/ 175997 h 662520"/>
              <a:gd name="connsiteX215" fmla="*/ 2367177 w 2528582"/>
              <a:gd name="connsiteY215" fmla="*/ 134299 h 662520"/>
              <a:gd name="connsiteX216" fmla="*/ 2391708 w 2528582"/>
              <a:gd name="connsiteY216" fmla="*/ 98339 h 662520"/>
              <a:gd name="connsiteX217" fmla="*/ 2420230 w 2528582"/>
              <a:gd name="connsiteY217" fmla="*/ 68062 h 662520"/>
              <a:gd name="connsiteX218" fmla="*/ 2452208 w 2528582"/>
              <a:gd name="connsiteY218" fmla="*/ 43413 h 662520"/>
              <a:gd name="connsiteX219" fmla="*/ 2487111 w 2528582"/>
              <a:gd name="connsiteY219" fmla="*/ 24337 h 662520"/>
              <a:gd name="connsiteX0" fmla="*/ 74231 w 2528582"/>
              <a:gd name="connsiteY0" fmla="*/ 662482 h 662520"/>
              <a:gd name="connsiteX1" fmla="*/ 60344 w 2528582"/>
              <a:gd name="connsiteY1" fmla="*/ 659582 h 662520"/>
              <a:gd name="connsiteX2" fmla="*/ 47517 w 2528582"/>
              <a:gd name="connsiteY2" fmla="*/ 656437 h 662520"/>
              <a:gd name="connsiteX3" fmla="*/ 35823 w 2528582"/>
              <a:gd name="connsiteY3" fmla="*/ 653092 h 662520"/>
              <a:gd name="connsiteX4" fmla="*/ 25336 w 2528582"/>
              <a:gd name="connsiteY4" fmla="*/ 649592 h 662520"/>
              <a:gd name="connsiteX5" fmla="*/ 25336 w 2528582"/>
              <a:gd name="connsiteY5" fmla="*/ 533196 h 662520"/>
              <a:gd name="connsiteX6" fmla="*/ 104190 w 2528582"/>
              <a:gd name="connsiteY6" fmla="*/ 533196 h 662520"/>
              <a:gd name="connsiteX7" fmla="*/ 116931 w 2528582"/>
              <a:gd name="connsiteY7" fmla="*/ 550133 h 662520"/>
              <a:gd name="connsiteX8" fmla="*/ 135043 w 2528582"/>
              <a:gd name="connsiteY8" fmla="*/ 564522 h 662520"/>
              <a:gd name="connsiteX9" fmla="*/ 160020 w 2528582"/>
              <a:gd name="connsiteY9" fmla="*/ 574514 h 662520"/>
              <a:gd name="connsiteX10" fmla="*/ 193357 w 2528582"/>
              <a:gd name="connsiteY10" fmla="*/ 578256 h 662520"/>
              <a:gd name="connsiteX11" fmla="*/ 233829 w 2528582"/>
              <a:gd name="connsiteY11" fmla="*/ 573672 h 662520"/>
              <a:gd name="connsiteX12" fmla="*/ 297105 w 2528582"/>
              <a:gd name="connsiteY12" fmla="*/ 537246 h 662520"/>
              <a:gd name="connsiteX13" fmla="*/ 320040 w 2528582"/>
              <a:gd name="connsiteY13" fmla="*/ 505568 h 662520"/>
              <a:gd name="connsiteX14" fmla="*/ 337261 w 2528582"/>
              <a:gd name="connsiteY14" fmla="*/ 465022 h 662520"/>
              <a:gd name="connsiteX15" fmla="*/ 348834 w 2528582"/>
              <a:gd name="connsiteY15" fmla="*/ 415691 h 662520"/>
              <a:gd name="connsiteX16" fmla="*/ 354825 w 2528582"/>
              <a:gd name="connsiteY16" fmla="*/ 357657 h 662520"/>
              <a:gd name="connsiteX17" fmla="*/ 325357 w 2528582"/>
              <a:gd name="connsiteY17" fmla="*/ 385098 h 662520"/>
              <a:gd name="connsiteX18" fmla="*/ 289466 w 2528582"/>
              <a:gd name="connsiteY18" fmla="*/ 406117 h 662520"/>
              <a:gd name="connsiteX19" fmla="*/ 247767 w 2528582"/>
              <a:gd name="connsiteY19" fmla="*/ 419568 h 662520"/>
              <a:gd name="connsiteX20" fmla="*/ 200875 w 2528582"/>
              <a:gd name="connsiteY20" fmla="*/ 424306 h 662520"/>
              <a:gd name="connsiteX21" fmla="*/ 153099 w 2528582"/>
              <a:gd name="connsiteY21" fmla="*/ 420031 h 662520"/>
              <a:gd name="connsiteX22" fmla="*/ 110150 w 2528582"/>
              <a:gd name="connsiteY22" fmla="*/ 407348 h 662520"/>
              <a:gd name="connsiteX23" fmla="*/ 72948 w 2528582"/>
              <a:gd name="connsiteY23" fmla="*/ 386472 h 662520"/>
              <a:gd name="connsiteX24" fmla="*/ 42412 w 2528582"/>
              <a:gd name="connsiteY24" fmla="*/ 357614 h 662520"/>
              <a:gd name="connsiteX25" fmla="*/ 19463 w 2528582"/>
              <a:gd name="connsiteY25" fmla="*/ 320990 h 662520"/>
              <a:gd name="connsiteX26" fmla="*/ 5019 w 2528582"/>
              <a:gd name="connsiteY26" fmla="*/ 276814 h 662520"/>
              <a:gd name="connsiteX27" fmla="*/ 0 w 2528582"/>
              <a:gd name="connsiteY27" fmla="*/ 225297 h 662520"/>
              <a:gd name="connsiteX28" fmla="*/ 4447 w 2528582"/>
              <a:gd name="connsiteY28" fmla="*/ 178425 h 662520"/>
              <a:gd name="connsiteX29" fmla="*/ 17453 w 2528582"/>
              <a:gd name="connsiteY29" fmla="*/ 135445 h 662520"/>
              <a:gd name="connsiteX30" fmla="*/ 38511 w 2528582"/>
              <a:gd name="connsiteY30" fmla="*/ 97085 h 662520"/>
              <a:gd name="connsiteX31" fmla="*/ 67116 w 2528582"/>
              <a:gd name="connsiteY31" fmla="*/ 64071 h 662520"/>
              <a:gd name="connsiteX32" fmla="*/ 102760 w 2528582"/>
              <a:gd name="connsiteY32" fmla="*/ 37129 h 662520"/>
              <a:gd name="connsiteX33" fmla="*/ 144939 w 2528582"/>
              <a:gd name="connsiteY33" fmla="*/ 16986 h 662520"/>
              <a:gd name="connsiteX34" fmla="*/ 193146 w 2528582"/>
              <a:gd name="connsiteY34" fmla="*/ 4367 h 662520"/>
              <a:gd name="connsiteX35" fmla="*/ 246875 w 2528582"/>
              <a:gd name="connsiteY35" fmla="*/ 0 h 662520"/>
              <a:gd name="connsiteX36" fmla="*/ 290625 w 2528582"/>
              <a:gd name="connsiteY36" fmla="*/ 2882 h 662520"/>
              <a:gd name="connsiteX37" fmla="*/ 331492 w 2528582"/>
              <a:gd name="connsiteY37" fmla="*/ 11678 h 662520"/>
              <a:gd name="connsiteX38" fmla="*/ 369070 w 2528582"/>
              <a:gd name="connsiteY38" fmla="*/ 26614 h 662520"/>
              <a:gd name="connsiteX39" fmla="*/ 402953 w 2528582"/>
              <a:gd name="connsiteY39" fmla="*/ 47914 h 662520"/>
              <a:gd name="connsiteX40" fmla="*/ 432736 w 2528582"/>
              <a:gd name="connsiteY40" fmla="*/ 75804 h 662520"/>
              <a:gd name="connsiteX41" fmla="*/ 458013 w 2528582"/>
              <a:gd name="connsiteY41" fmla="*/ 110509 h 662520"/>
              <a:gd name="connsiteX42" fmla="*/ 478379 w 2528582"/>
              <a:gd name="connsiteY42" fmla="*/ 152255 h 662520"/>
              <a:gd name="connsiteX43" fmla="*/ 493429 w 2528582"/>
              <a:gd name="connsiteY43" fmla="*/ 201265 h 662520"/>
              <a:gd name="connsiteX44" fmla="*/ 502756 w 2528582"/>
              <a:gd name="connsiteY44" fmla="*/ 257766 h 662520"/>
              <a:gd name="connsiteX45" fmla="*/ 505955 w 2528582"/>
              <a:gd name="connsiteY45" fmla="*/ 321983 h 662520"/>
              <a:gd name="connsiteX46" fmla="*/ 503406 w 2528582"/>
              <a:gd name="connsiteY46" fmla="*/ 376707 h 662520"/>
              <a:gd name="connsiteX47" fmla="*/ 495858 w 2528582"/>
              <a:gd name="connsiteY47" fmla="*/ 427041 h 662520"/>
              <a:gd name="connsiteX48" fmla="*/ 483456 w 2528582"/>
              <a:gd name="connsiteY48" fmla="*/ 472909 h 662520"/>
              <a:gd name="connsiteX49" fmla="*/ 466346 w 2528582"/>
              <a:gd name="connsiteY49" fmla="*/ 514232 h 662520"/>
              <a:gd name="connsiteX50" fmla="*/ 444674 w 2528582"/>
              <a:gd name="connsiteY50" fmla="*/ 550937 h 662520"/>
              <a:gd name="connsiteX51" fmla="*/ 418587 w 2528582"/>
              <a:gd name="connsiteY51" fmla="*/ 582945 h 662520"/>
              <a:gd name="connsiteX52" fmla="*/ 388229 w 2528582"/>
              <a:gd name="connsiteY52" fmla="*/ 610181 h 662520"/>
              <a:gd name="connsiteX53" fmla="*/ 353748 w 2528582"/>
              <a:gd name="connsiteY53" fmla="*/ 632569 h 662520"/>
              <a:gd name="connsiteX54" fmla="*/ 315289 w 2528582"/>
              <a:gd name="connsiteY54" fmla="*/ 650033 h 662520"/>
              <a:gd name="connsiteX55" fmla="*/ 272999 w 2528582"/>
              <a:gd name="connsiteY55" fmla="*/ 662495 h 662520"/>
              <a:gd name="connsiteX56" fmla="*/ 592162 w 2528582"/>
              <a:gd name="connsiteY56" fmla="*/ 662520 h 662520"/>
              <a:gd name="connsiteX57" fmla="*/ 571167 w 2528582"/>
              <a:gd name="connsiteY57" fmla="*/ 658030 h 662520"/>
              <a:gd name="connsiteX58" fmla="*/ 551373 w 2528582"/>
              <a:gd name="connsiteY58" fmla="*/ 652783 h 662520"/>
              <a:gd name="connsiteX59" fmla="*/ 532537 w 2528582"/>
              <a:gd name="connsiteY59" fmla="*/ 646826 h 662520"/>
              <a:gd name="connsiteX60" fmla="*/ 514413 w 2528582"/>
              <a:gd name="connsiteY60" fmla="*/ 640206 h 662520"/>
              <a:gd name="connsiteX61" fmla="*/ 514413 w 2528582"/>
              <a:gd name="connsiteY61" fmla="*/ 516293 h 662520"/>
              <a:gd name="connsiteX62" fmla="*/ 596087 w 2528582"/>
              <a:gd name="connsiteY62" fmla="*/ 516293 h 662520"/>
              <a:gd name="connsiteX63" fmla="*/ 612203 w 2528582"/>
              <a:gd name="connsiteY63" fmla="*/ 539439 h 662520"/>
              <a:gd name="connsiteX64" fmla="*/ 635627 w 2528582"/>
              <a:gd name="connsiteY64" fmla="*/ 559242 h 662520"/>
              <a:gd name="connsiteX65" fmla="*/ 666972 w 2528582"/>
              <a:gd name="connsiteY65" fmla="*/ 573062 h 662520"/>
              <a:gd name="connsiteX66" fmla="*/ 706856 w 2528582"/>
              <a:gd name="connsiteY66" fmla="*/ 578256 h 662520"/>
              <a:gd name="connsiteX67" fmla="*/ 749359 w 2528582"/>
              <a:gd name="connsiteY67" fmla="*/ 571758 h 662520"/>
              <a:gd name="connsiteX68" fmla="*/ 784298 w 2528582"/>
              <a:gd name="connsiteY68" fmla="*/ 552322 h 662520"/>
              <a:gd name="connsiteX69" fmla="*/ 807972 w 2528582"/>
              <a:gd name="connsiteY69" fmla="*/ 520038 h 662520"/>
              <a:gd name="connsiteX70" fmla="*/ 816686 w 2528582"/>
              <a:gd name="connsiteY70" fmla="*/ 474992 h 662520"/>
              <a:gd name="connsiteX71" fmla="*/ 809424 w 2528582"/>
              <a:gd name="connsiteY71" fmla="*/ 430240 h 662520"/>
              <a:gd name="connsiteX72" fmla="*/ 787466 w 2528582"/>
              <a:gd name="connsiteY72" fmla="*/ 398602 h 662520"/>
              <a:gd name="connsiteX73" fmla="*/ 750549 w 2528582"/>
              <a:gd name="connsiteY73" fmla="*/ 379812 h 662520"/>
              <a:gd name="connsiteX74" fmla="*/ 698411 w 2528582"/>
              <a:gd name="connsiteY74" fmla="*/ 373608 h 662520"/>
              <a:gd name="connsiteX75" fmla="*/ 649592 w 2528582"/>
              <a:gd name="connsiteY75" fmla="*/ 373608 h 662520"/>
              <a:gd name="connsiteX76" fmla="*/ 649592 w 2528582"/>
              <a:gd name="connsiteY76" fmla="*/ 286308 h 662520"/>
              <a:gd name="connsiteX77" fmla="*/ 690892 w 2528582"/>
              <a:gd name="connsiteY77" fmla="*/ 286308 h 662520"/>
              <a:gd name="connsiteX78" fmla="*/ 744563 w 2528582"/>
              <a:gd name="connsiteY78" fmla="*/ 280133 h 662520"/>
              <a:gd name="connsiteX79" fmla="*/ 783007 w 2528582"/>
              <a:gd name="connsiteY79" fmla="*/ 261550 h 662520"/>
              <a:gd name="connsiteX80" fmla="*/ 806137 w 2528582"/>
              <a:gd name="connsiteY80" fmla="*/ 230469 h 662520"/>
              <a:gd name="connsiteX81" fmla="*/ 813866 w 2528582"/>
              <a:gd name="connsiteY81" fmla="*/ 186804 h 662520"/>
              <a:gd name="connsiteX82" fmla="*/ 808513 w 2528582"/>
              <a:gd name="connsiteY82" fmla="*/ 149115 h 662520"/>
              <a:gd name="connsiteX83" fmla="*/ 792160 w 2528582"/>
              <a:gd name="connsiteY83" fmla="*/ 121104 h 662520"/>
              <a:gd name="connsiteX84" fmla="*/ 764365 w 2528582"/>
              <a:gd name="connsiteY84" fmla="*/ 103651 h 662520"/>
              <a:gd name="connsiteX85" fmla="*/ 724687 w 2528582"/>
              <a:gd name="connsiteY85" fmla="*/ 97637 h 662520"/>
              <a:gd name="connsiteX86" fmla="*/ 687243 w 2528582"/>
              <a:gd name="connsiteY86" fmla="*/ 102374 h 662520"/>
              <a:gd name="connsiteX87" fmla="*/ 657456 w 2528582"/>
              <a:gd name="connsiteY87" fmla="*/ 115117 h 662520"/>
              <a:gd name="connsiteX88" fmla="*/ 634533 w 2528582"/>
              <a:gd name="connsiteY88" fmla="*/ 133668 h 662520"/>
              <a:gd name="connsiteX89" fmla="*/ 617677 w 2528582"/>
              <a:gd name="connsiteY89" fmla="*/ 155828 h 662520"/>
              <a:gd name="connsiteX90" fmla="*/ 539775 w 2528582"/>
              <a:gd name="connsiteY90" fmla="*/ 155828 h 662520"/>
              <a:gd name="connsiteX91" fmla="*/ 539775 w 2528582"/>
              <a:gd name="connsiteY91" fmla="*/ 33807 h 662520"/>
              <a:gd name="connsiteX92" fmla="*/ 584006 w 2528582"/>
              <a:gd name="connsiteY92" fmla="*/ 19813 h 662520"/>
              <a:gd name="connsiteX93" fmla="*/ 631056 w 2528582"/>
              <a:gd name="connsiteY93" fmla="*/ 9159 h 662520"/>
              <a:gd name="connsiteX94" fmla="*/ 681278 w 2528582"/>
              <a:gd name="connsiteY94" fmla="*/ 2378 h 662520"/>
              <a:gd name="connsiteX95" fmla="*/ 735025 w 2528582"/>
              <a:gd name="connsiteY95" fmla="*/ 0 h 662520"/>
              <a:gd name="connsiteX96" fmla="*/ 790395 w 2528582"/>
              <a:gd name="connsiteY96" fmla="*/ 3158 h 662520"/>
              <a:gd name="connsiteX97" fmla="*/ 838689 w 2528582"/>
              <a:gd name="connsiteY97" fmla="*/ 12853 h 662520"/>
              <a:gd name="connsiteX98" fmla="*/ 879380 w 2528582"/>
              <a:gd name="connsiteY98" fmla="*/ 29412 h 662520"/>
              <a:gd name="connsiteX99" fmla="*/ 911943 w 2528582"/>
              <a:gd name="connsiteY99" fmla="*/ 53163 h 662520"/>
              <a:gd name="connsiteX100" fmla="*/ 935853 w 2528582"/>
              <a:gd name="connsiteY100" fmla="*/ 84435 h 662520"/>
              <a:gd name="connsiteX101" fmla="*/ 950584 w 2528582"/>
              <a:gd name="connsiteY101" fmla="*/ 123555 h 662520"/>
              <a:gd name="connsiteX102" fmla="*/ 955611 w 2528582"/>
              <a:gd name="connsiteY102" fmla="*/ 170853 h 662520"/>
              <a:gd name="connsiteX103" fmla="*/ 949453 w 2528582"/>
              <a:gd name="connsiteY103" fmla="*/ 219568 h 662520"/>
              <a:gd name="connsiteX104" fmla="*/ 931581 w 2528582"/>
              <a:gd name="connsiteY104" fmla="*/ 258234 h 662520"/>
              <a:gd name="connsiteX105" fmla="*/ 902895 w 2528582"/>
              <a:gd name="connsiteY105" fmla="*/ 287843 h 662520"/>
              <a:gd name="connsiteX106" fmla="*/ 864296 w 2528582"/>
              <a:gd name="connsiteY106" fmla="*/ 309388 h 662520"/>
              <a:gd name="connsiteX107" fmla="*/ 816686 w 2528582"/>
              <a:gd name="connsiteY107" fmla="*/ 323862 h 662520"/>
              <a:gd name="connsiteX108" fmla="*/ 816686 w 2528582"/>
              <a:gd name="connsiteY108" fmla="*/ 327609 h 662520"/>
              <a:gd name="connsiteX109" fmla="*/ 870681 w 2528582"/>
              <a:gd name="connsiteY109" fmla="*/ 340566 h 662520"/>
              <a:gd name="connsiteX110" fmla="*/ 912283 w 2528582"/>
              <a:gd name="connsiteY110" fmla="*/ 362534 h 662520"/>
              <a:gd name="connsiteX111" fmla="*/ 941719 w 2528582"/>
              <a:gd name="connsiteY111" fmla="*/ 393513 h 662520"/>
              <a:gd name="connsiteX112" fmla="*/ 959215 w 2528582"/>
              <a:gd name="connsiteY112" fmla="*/ 433502 h 662520"/>
              <a:gd name="connsiteX113" fmla="*/ 964996 w 2528582"/>
              <a:gd name="connsiteY113" fmla="*/ 482498 h 662520"/>
              <a:gd name="connsiteX114" fmla="*/ 959936 w 2528582"/>
              <a:gd name="connsiteY114" fmla="*/ 527743 h 662520"/>
              <a:gd name="connsiteX115" fmla="*/ 944659 w 2528582"/>
              <a:gd name="connsiteY115" fmla="*/ 567021 h 662520"/>
              <a:gd name="connsiteX116" fmla="*/ 920122 w 2528582"/>
              <a:gd name="connsiteY116" fmla="*/ 600232 h 662520"/>
              <a:gd name="connsiteX117" fmla="*/ 887285 w 2528582"/>
              <a:gd name="connsiteY117" fmla="*/ 627278 h 662520"/>
              <a:gd name="connsiteX118" fmla="*/ 847106 w 2528582"/>
              <a:gd name="connsiteY118" fmla="*/ 648061 h 662520"/>
              <a:gd name="connsiteX119" fmla="*/ 800544 w 2528582"/>
              <a:gd name="connsiteY119" fmla="*/ 662482 h 662520"/>
              <a:gd name="connsiteX120" fmla="*/ 1360843 w 2528582"/>
              <a:gd name="connsiteY120" fmla="*/ 662495 h 662520"/>
              <a:gd name="connsiteX121" fmla="*/ 1322871 w 2528582"/>
              <a:gd name="connsiteY121" fmla="*/ 649352 h 662520"/>
              <a:gd name="connsiteX122" fmla="*/ 1287296 w 2528582"/>
              <a:gd name="connsiteY122" fmla="*/ 630560 h 662520"/>
              <a:gd name="connsiteX123" fmla="*/ 1254670 w 2528582"/>
              <a:gd name="connsiteY123" fmla="*/ 606062 h 662520"/>
              <a:gd name="connsiteX124" fmla="*/ 1225546 w 2528582"/>
              <a:gd name="connsiteY124" fmla="*/ 575802 h 662520"/>
              <a:gd name="connsiteX125" fmla="*/ 1200477 w 2528582"/>
              <a:gd name="connsiteY125" fmla="*/ 539722 h 662520"/>
              <a:gd name="connsiteX126" fmla="*/ 1180016 w 2528582"/>
              <a:gd name="connsiteY126" fmla="*/ 497766 h 662520"/>
              <a:gd name="connsiteX127" fmla="*/ 1164717 w 2528582"/>
              <a:gd name="connsiteY127" fmla="*/ 449876 h 662520"/>
              <a:gd name="connsiteX128" fmla="*/ 1155131 w 2528582"/>
              <a:gd name="connsiteY128" fmla="*/ 395995 h 662520"/>
              <a:gd name="connsiteX129" fmla="*/ 1151813 w 2528582"/>
              <a:gd name="connsiteY129" fmla="*/ 336067 h 662520"/>
              <a:gd name="connsiteX130" fmla="*/ 1155053 w 2528582"/>
              <a:gd name="connsiteY130" fmla="*/ 276826 h 662520"/>
              <a:gd name="connsiteX131" fmla="*/ 1164415 w 2528582"/>
              <a:gd name="connsiteY131" fmla="*/ 223488 h 662520"/>
              <a:gd name="connsiteX132" fmla="*/ 1179368 w 2528582"/>
              <a:gd name="connsiteY132" fmla="*/ 175997 h 662520"/>
              <a:gd name="connsiteX133" fmla="*/ 1199377 w 2528582"/>
              <a:gd name="connsiteY133" fmla="*/ 134299 h 662520"/>
              <a:gd name="connsiteX134" fmla="*/ 1223910 w 2528582"/>
              <a:gd name="connsiteY134" fmla="*/ 98339 h 662520"/>
              <a:gd name="connsiteX135" fmla="*/ 1252434 w 2528582"/>
              <a:gd name="connsiteY135" fmla="*/ 68062 h 662520"/>
              <a:gd name="connsiteX136" fmla="*/ 1284414 w 2528582"/>
              <a:gd name="connsiteY136" fmla="*/ 43413 h 662520"/>
              <a:gd name="connsiteX137" fmla="*/ 1319318 w 2528582"/>
              <a:gd name="connsiteY137" fmla="*/ 24337 h 662520"/>
              <a:gd name="connsiteX138" fmla="*/ 1356613 w 2528582"/>
              <a:gd name="connsiteY138" fmla="*/ 10780 h 662520"/>
              <a:gd name="connsiteX139" fmla="*/ 1395766 w 2528582"/>
              <a:gd name="connsiteY139" fmla="*/ 2685 h 662520"/>
              <a:gd name="connsiteX140" fmla="*/ 1436243 w 2528582"/>
              <a:gd name="connsiteY140" fmla="*/ 0 h 662520"/>
              <a:gd name="connsiteX141" fmla="*/ 1476722 w 2528582"/>
              <a:gd name="connsiteY141" fmla="*/ 2685 h 662520"/>
              <a:gd name="connsiteX142" fmla="*/ 1515876 w 2528582"/>
              <a:gd name="connsiteY142" fmla="*/ 10780 h 662520"/>
              <a:gd name="connsiteX143" fmla="*/ 1553172 w 2528582"/>
              <a:gd name="connsiteY143" fmla="*/ 24337 h 662520"/>
              <a:gd name="connsiteX144" fmla="*/ 1588076 w 2528582"/>
              <a:gd name="connsiteY144" fmla="*/ 43413 h 662520"/>
              <a:gd name="connsiteX145" fmla="*/ 1620056 w 2528582"/>
              <a:gd name="connsiteY145" fmla="*/ 68062 h 662520"/>
              <a:gd name="connsiteX146" fmla="*/ 1648579 w 2528582"/>
              <a:gd name="connsiteY146" fmla="*/ 98339 h 662520"/>
              <a:gd name="connsiteX147" fmla="*/ 1673111 w 2528582"/>
              <a:gd name="connsiteY147" fmla="*/ 134299 h 662520"/>
              <a:gd name="connsiteX148" fmla="*/ 1693119 w 2528582"/>
              <a:gd name="connsiteY148" fmla="*/ 175997 h 662520"/>
              <a:gd name="connsiteX149" fmla="*/ 1708071 w 2528582"/>
              <a:gd name="connsiteY149" fmla="*/ 223488 h 662520"/>
              <a:gd name="connsiteX150" fmla="*/ 1717433 w 2528582"/>
              <a:gd name="connsiteY150" fmla="*/ 276826 h 662520"/>
              <a:gd name="connsiteX151" fmla="*/ 1720672 w 2528582"/>
              <a:gd name="connsiteY151" fmla="*/ 336067 h 662520"/>
              <a:gd name="connsiteX152" fmla="*/ 1717354 w 2528582"/>
              <a:gd name="connsiteY152" fmla="*/ 395995 h 662520"/>
              <a:gd name="connsiteX153" fmla="*/ 1707768 w 2528582"/>
              <a:gd name="connsiteY153" fmla="*/ 449876 h 662520"/>
              <a:gd name="connsiteX154" fmla="*/ 1692469 w 2528582"/>
              <a:gd name="connsiteY154" fmla="*/ 497766 h 662520"/>
              <a:gd name="connsiteX155" fmla="*/ 1672008 w 2528582"/>
              <a:gd name="connsiteY155" fmla="*/ 539722 h 662520"/>
              <a:gd name="connsiteX156" fmla="*/ 1646939 w 2528582"/>
              <a:gd name="connsiteY156" fmla="*/ 575802 h 662520"/>
              <a:gd name="connsiteX157" fmla="*/ 1617815 w 2528582"/>
              <a:gd name="connsiteY157" fmla="*/ 606062 h 662520"/>
              <a:gd name="connsiteX158" fmla="*/ 1585189 w 2528582"/>
              <a:gd name="connsiteY158" fmla="*/ 630560 h 662520"/>
              <a:gd name="connsiteX159" fmla="*/ 1549614 w 2528582"/>
              <a:gd name="connsiteY159" fmla="*/ 649352 h 662520"/>
              <a:gd name="connsiteX160" fmla="*/ 1511642 w 2528582"/>
              <a:gd name="connsiteY160" fmla="*/ 662495 h 662520"/>
              <a:gd name="connsiteX161" fmla="*/ 1943430 w 2528582"/>
              <a:gd name="connsiteY161" fmla="*/ 662495 h 662520"/>
              <a:gd name="connsiteX162" fmla="*/ 1905459 w 2528582"/>
              <a:gd name="connsiteY162" fmla="*/ 649348 h 662520"/>
              <a:gd name="connsiteX163" fmla="*/ 1869885 w 2528582"/>
              <a:gd name="connsiteY163" fmla="*/ 630555 h 662520"/>
              <a:gd name="connsiteX164" fmla="*/ 1837261 w 2528582"/>
              <a:gd name="connsiteY164" fmla="*/ 606057 h 662520"/>
              <a:gd name="connsiteX165" fmla="*/ 1808138 w 2528582"/>
              <a:gd name="connsiteY165" fmla="*/ 575797 h 662520"/>
              <a:gd name="connsiteX166" fmla="*/ 1783072 w 2528582"/>
              <a:gd name="connsiteY166" fmla="*/ 539718 h 662520"/>
              <a:gd name="connsiteX167" fmla="*/ 1762613 w 2528582"/>
              <a:gd name="connsiteY167" fmla="*/ 497763 h 662520"/>
              <a:gd name="connsiteX168" fmla="*/ 1747315 w 2528582"/>
              <a:gd name="connsiteY168" fmla="*/ 449874 h 662520"/>
              <a:gd name="connsiteX169" fmla="*/ 1737731 w 2528582"/>
              <a:gd name="connsiteY169" fmla="*/ 395995 h 662520"/>
              <a:gd name="connsiteX170" fmla="*/ 1734413 w 2528582"/>
              <a:gd name="connsiteY170" fmla="*/ 336067 h 662520"/>
              <a:gd name="connsiteX171" fmla="*/ 1737652 w 2528582"/>
              <a:gd name="connsiteY171" fmla="*/ 276826 h 662520"/>
              <a:gd name="connsiteX172" fmla="*/ 1747014 w 2528582"/>
              <a:gd name="connsiteY172" fmla="*/ 223488 h 662520"/>
              <a:gd name="connsiteX173" fmla="*/ 1761965 w 2528582"/>
              <a:gd name="connsiteY173" fmla="*/ 175997 h 662520"/>
              <a:gd name="connsiteX174" fmla="*/ 1781973 w 2528582"/>
              <a:gd name="connsiteY174" fmla="*/ 134299 h 662520"/>
              <a:gd name="connsiteX175" fmla="*/ 1806505 w 2528582"/>
              <a:gd name="connsiteY175" fmla="*/ 98339 h 662520"/>
              <a:gd name="connsiteX176" fmla="*/ 1835026 w 2528582"/>
              <a:gd name="connsiteY176" fmla="*/ 68062 h 662520"/>
              <a:gd name="connsiteX177" fmla="*/ 1867005 w 2528582"/>
              <a:gd name="connsiteY177" fmla="*/ 43413 h 662520"/>
              <a:gd name="connsiteX178" fmla="*/ 1901908 w 2528582"/>
              <a:gd name="connsiteY178" fmla="*/ 24337 h 662520"/>
              <a:gd name="connsiteX179" fmla="*/ 1939202 w 2528582"/>
              <a:gd name="connsiteY179" fmla="*/ 10780 h 662520"/>
              <a:gd name="connsiteX180" fmla="*/ 1978353 w 2528582"/>
              <a:gd name="connsiteY180" fmla="*/ 2685 h 662520"/>
              <a:gd name="connsiteX181" fmla="*/ 2018830 w 2528582"/>
              <a:gd name="connsiteY181" fmla="*/ 0 h 662520"/>
              <a:gd name="connsiteX182" fmla="*/ 2059309 w 2528582"/>
              <a:gd name="connsiteY182" fmla="*/ 2685 h 662520"/>
              <a:gd name="connsiteX183" fmla="*/ 2098463 w 2528582"/>
              <a:gd name="connsiteY183" fmla="*/ 10780 h 662520"/>
              <a:gd name="connsiteX184" fmla="*/ 2135759 w 2528582"/>
              <a:gd name="connsiteY184" fmla="*/ 24337 h 662520"/>
              <a:gd name="connsiteX185" fmla="*/ 2170664 w 2528582"/>
              <a:gd name="connsiteY185" fmla="*/ 43413 h 662520"/>
              <a:gd name="connsiteX186" fmla="*/ 2202644 w 2528582"/>
              <a:gd name="connsiteY186" fmla="*/ 68062 h 662520"/>
              <a:gd name="connsiteX187" fmla="*/ 2231166 w 2528582"/>
              <a:gd name="connsiteY187" fmla="*/ 98339 h 662520"/>
              <a:gd name="connsiteX188" fmla="*/ 2255698 w 2528582"/>
              <a:gd name="connsiteY188" fmla="*/ 134299 h 662520"/>
              <a:gd name="connsiteX189" fmla="*/ 2275706 w 2528582"/>
              <a:gd name="connsiteY189" fmla="*/ 175997 h 662520"/>
              <a:gd name="connsiteX190" fmla="*/ 2290658 w 2528582"/>
              <a:gd name="connsiteY190" fmla="*/ 223488 h 662520"/>
              <a:gd name="connsiteX191" fmla="*/ 2300020 w 2528582"/>
              <a:gd name="connsiteY191" fmla="*/ 276826 h 662520"/>
              <a:gd name="connsiteX192" fmla="*/ 2303259 w 2528582"/>
              <a:gd name="connsiteY192" fmla="*/ 336067 h 662520"/>
              <a:gd name="connsiteX193" fmla="*/ 2299941 w 2528582"/>
              <a:gd name="connsiteY193" fmla="*/ 395991 h 662520"/>
              <a:gd name="connsiteX194" fmla="*/ 2290357 w 2528582"/>
              <a:gd name="connsiteY194" fmla="*/ 449869 h 662520"/>
              <a:gd name="connsiteX195" fmla="*/ 2275059 w 2528582"/>
              <a:gd name="connsiteY195" fmla="*/ 497757 h 662520"/>
              <a:gd name="connsiteX196" fmla="*/ 2254600 w 2528582"/>
              <a:gd name="connsiteY196" fmla="*/ 539713 h 662520"/>
              <a:gd name="connsiteX197" fmla="*/ 2229533 w 2528582"/>
              <a:gd name="connsiteY197" fmla="*/ 575793 h 662520"/>
              <a:gd name="connsiteX198" fmla="*/ 2200411 w 2528582"/>
              <a:gd name="connsiteY198" fmla="*/ 606054 h 662520"/>
              <a:gd name="connsiteX199" fmla="*/ 2167787 w 2528582"/>
              <a:gd name="connsiteY199" fmla="*/ 630553 h 662520"/>
              <a:gd name="connsiteX200" fmla="*/ 2132213 w 2528582"/>
              <a:gd name="connsiteY200" fmla="*/ 649348 h 662520"/>
              <a:gd name="connsiteX201" fmla="*/ 2094242 w 2528582"/>
              <a:gd name="connsiteY201" fmla="*/ 662495 h 662520"/>
              <a:gd name="connsiteX202" fmla="*/ 2528582 w 2528582"/>
              <a:gd name="connsiteY202" fmla="*/ 662482 h 662520"/>
              <a:gd name="connsiteX203" fmla="*/ 2490620 w 2528582"/>
              <a:gd name="connsiteY203" fmla="*/ 649332 h 662520"/>
              <a:gd name="connsiteX204" fmla="*/ 2455053 w 2528582"/>
              <a:gd name="connsiteY204" fmla="*/ 630534 h 662520"/>
              <a:gd name="connsiteX205" fmla="*/ 2422435 w 2528582"/>
              <a:gd name="connsiteY205" fmla="*/ 606033 h 662520"/>
              <a:gd name="connsiteX206" fmla="*/ 2393318 w 2528582"/>
              <a:gd name="connsiteY206" fmla="*/ 575772 h 662520"/>
              <a:gd name="connsiteX207" fmla="*/ 2368257 w 2528582"/>
              <a:gd name="connsiteY207" fmla="*/ 539693 h 662520"/>
              <a:gd name="connsiteX208" fmla="*/ 2347803 w 2528582"/>
              <a:gd name="connsiteY208" fmla="*/ 497740 h 662520"/>
              <a:gd name="connsiteX209" fmla="*/ 2332510 w 2528582"/>
              <a:gd name="connsiteY209" fmla="*/ 449856 h 662520"/>
              <a:gd name="connsiteX210" fmla="*/ 2322930 w 2528582"/>
              <a:gd name="connsiteY210" fmla="*/ 395984 h 662520"/>
              <a:gd name="connsiteX211" fmla="*/ 2319616 w 2528582"/>
              <a:gd name="connsiteY211" fmla="*/ 336067 h 662520"/>
              <a:gd name="connsiteX212" fmla="*/ 2322855 w 2528582"/>
              <a:gd name="connsiteY212" fmla="*/ 276826 h 662520"/>
              <a:gd name="connsiteX213" fmla="*/ 2332217 w 2528582"/>
              <a:gd name="connsiteY213" fmla="*/ 223488 h 662520"/>
              <a:gd name="connsiteX214" fmla="*/ 2347169 w 2528582"/>
              <a:gd name="connsiteY214" fmla="*/ 175997 h 662520"/>
              <a:gd name="connsiteX215" fmla="*/ 2367177 w 2528582"/>
              <a:gd name="connsiteY215" fmla="*/ 134299 h 662520"/>
              <a:gd name="connsiteX216" fmla="*/ 2391708 w 2528582"/>
              <a:gd name="connsiteY216" fmla="*/ 98339 h 662520"/>
              <a:gd name="connsiteX217" fmla="*/ 2420230 w 2528582"/>
              <a:gd name="connsiteY217" fmla="*/ 68062 h 662520"/>
              <a:gd name="connsiteX218" fmla="*/ 2452208 w 2528582"/>
              <a:gd name="connsiteY218" fmla="*/ 43413 h 662520"/>
              <a:gd name="connsiteX0" fmla="*/ 74231 w 2528582"/>
              <a:gd name="connsiteY0" fmla="*/ 662482 h 662520"/>
              <a:gd name="connsiteX1" fmla="*/ 60344 w 2528582"/>
              <a:gd name="connsiteY1" fmla="*/ 659582 h 662520"/>
              <a:gd name="connsiteX2" fmla="*/ 47517 w 2528582"/>
              <a:gd name="connsiteY2" fmla="*/ 656437 h 662520"/>
              <a:gd name="connsiteX3" fmla="*/ 35823 w 2528582"/>
              <a:gd name="connsiteY3" fmla="*/ 653092 h 662520"/>
              <a:gd name="connsiteX4" fmla="*/ 25336 w 2528582"/>
              <a:gd name="connsiteY4" fmla="*/ 649592 h 662520"/>
              <a:gd name="connsiteX5" fmla="*/ 25336 w 2528582"/>
              <a:gd name="connsiteY5" fmla="*/ 533196 h 662520"/>
              <a:gd name="connsiteX6" fmla="*/ 104190 w 2528582"/>
              <a:gd name="connsiteY6" fmla="*/ 533196 h 662520"/>
              <a:gd name="connsiteX7" fmla="*/ 116931 w 2528582"/>
              <a:gd name="connsiteY7" fmla="*/ 550133 h 662520"/>
              <a:gd name="connsiteX8" fmla="*/ 135043 w 2528582"/>
              <a:gd name="connsiteY8" fmla="*/ 564522 h 662520"/>
              <a:gd name="connsiteX9" fmla="*/ 160020 w 2528582"/>
              <a:gd name="connsiteY9" fmla="*/ 574514 h 662520"/>
              <a:gd name="connsiteX10" fmla="*/ 193357 w 2528582"/>
              <a:gd name="connsiteY10" fmla="*/ 578256 h 662520"/>
              <a:gd name="connsiteX11" fmla="*/ 233829 w 2528582"/>
              <a:gd name="connsiteY11" fmla="*/ 573672 h 662520"/>
              <a:gd name="connsiteX12" fmla="*/ 297105 w 2528582"/>
              <a:gd name="connsiteY12" fmla="*/ 537246 h 662520"/>
              <a:gd name="connsiteX13" fmla="*/ 320040 w 2528582"/>
              <a:gd name="connsiteY13" fmla="*/ 505568 h 662520"/>
              <a:gd name="connsiteX14" fmla="*/ 337261 w 2528582"/>
              <a:gd name="connsiteY14" fmla="*/ 465022 h 662520"/>
              <a:gd name="connsiteX15" fmla="*/ 348834 w 2528582"/>
              <a:gd name="connsiteY15" fmla="*/ 415691 h 662520"/>
              <a:gd name="connsiteX16" fmla="*/ 354825 w 2528582"/>
              <a:gd name="connsiteY16" fmla="*/ 357657 h 662520"/>
              <a:gd name="connsiteX17" fmla="*/ 325357 w 2528582"/>
              <a:gd name="connsiteY17" fmla="*/ 385098 h 662520"/>
              <a:gd name="connsiteX18" fmla="*/ 289466 w 2528582"/>
              <a:gd name="connsiteY18" fmla="*/ 406117 h 662520"/>
              <a:gd name="connsiteX19" fmla="*/ 247767 w 2528582"/>
              <a:gd name="connsiteY19" fmla="*/ 419568 h 662520"/>
              <a:gd name="connsiteX20" fmla="*/ 200875 w 2528582"/>
              <a:gd name="connsiteY20" fmla="*/ 424306 h 662520"/>
              <a:gd name="connsiteX21" fmla="*/ 153099 w 2528582"/>
              <a:gd name="connsiteY21" fmla="*/ 420031 h 662520"/>
              <a:gd name="connsiteX22" fmla="*/ 110150 w 2528582"/>
              <a:gd name="connsiteY22" fmla="*/ 407348 h 662520"/>
              <a:gd name="connsiteX23" fmla="*/ 72948 w 2528582"/>
              <a:gd name="connsiteY23" fmla="*/ 386472 h 662520"/>
              <a:gd name="connsiteX24" fmla="*/ 42412 w 2528582"/>
              <a:gd name="connsiteY24" fmla="*/ 357614 h 662520"/>
              <a:gd name="connsiteX25" fmla="*/ 19463 w 2528582"/>
              <a:gd name="connsiteY25" fmla="*/ 320990 h 662520"/>
              <a:gd name="connsiteX26" fmla="*/ 5019 w 2528582"/>
              <a:gd name="connsiteY26" fmla="*/ 276814 h 662520"/>
              <a:gd name="connsiteX27" fmla="*/ 0 w 2528582"/>
              <a:gd name="connsiteY27" fmla="*/ 225297 h 662520"/>
              <a:gd name="connsiteX28" fmla="*/ 4447 w 2528582"/>
              <a:gd name="connsiteY28" fmla="*/ 178425 h 662520"/>
              <a:gd name="connsiteX29" fmla="*/ 17453 w 2528582"/>
              <a:gd name="connsiteY29" fmla="*/ 135445 h 662520"/>
              <a:gd name="connsiteX30" fmla="*/ 38511 w 2528582"/>
              <a:gd name="connsiteY30" fmla="*/ 97085 h 662520"/>
              <a:gd name="connsiteX31" fmla="*/ 67116 w 2528582"/>
              <a:gd name="connsiteY31" fmla="*/ 64071 h 662520"/>
              <a:gd name="connsiteX32" fmla="*/ 102760 w 2528582"/>
              <a:gd name="connsiteY32" fmla="*/ 37129 h 662520"/>
              <a:gd name="connsiteX33" fmla="*/ 144939 w 2528582"/>
              <a:gd name="connsiteY33" fmla="*/ 16986 h 662520"/>
              <a:gd name="connsiteX34" fmla="*/ 193146 w 2528582"/>
              <a:gd name="connsiteY34" fmla="*/ 4367 h 662520"/>
              <a:gd name="connsiteX35" fmla="*/ 246875 w 2528582"/>
              <a:gd name="connsiteY35" fmla="*/ 0 h 662520"/>
              <a:gd name="connsiteX36" fmla="*/ 290625 w 2528582"/>
              <a:gd name="connsiteY36" fmla="*/ 2882 h 662520"/>
              <a:gd name="connsiteX37" fmla="*/ 331492 w 2528582"/>
              <a:gd name="connsiteY37" fmla="*/ 11678 h 662520"/>
              <a:gd name="connsiteX38" fmla="*/ 369070 w 2528582"/>
              <a:gd name="connsiteY38" fmla="*/ 26614 h 662520"/>
              <a:gd name="connsiteX39" fmla="*/ 402953 w 2528582"/>
              <a:gd name="connsiteY39" fmla="*/ 47914 h 662520"/>
              <a:gd name="connsiteX40" fmla="*/ 432736 w 2528582"/>
              <a:gd name="connsiteY40" fmla="*/ 75804 h 662520"/>
              <a:gd name="connsiteX41" fmla="*/ 458013 w 2528582"/>
              <a:gd name="connsiteY41" fmla="*/ 110509 h 662520"/>
              <a:gd name="connsiteX42" fmla="*/ 478379 w 2528582"/>
              <a:gd name="connsiteY42" fmla="*/ 152255 h 662520"/>
              <a:gd name="connsiteX43" fmla="*/ 493429 w 2528582"/>
              <a:gd name="connsiteY43" fmla="*/ 201265 h 662520"/>
              <a:gd name="connsiteX44" fmla="*/ 502756 w 2528582"/>
              <a:gd name="connsiteY44" fmla="*/ 257766 h 662520"/>
              <a:gd name="connsiteX45" fmla="*/ 505955 w 2528582"/>
              <a:gd name="connsiteY45" fmla="*/ 321983 h 662520"/>
              <a:gd name="connsiteX46" fmla="*/ 503406 w 2528582"/>
              <a:gd name="connsiteY46" fmla="*/ 376707 h 662520"/>
              <a:gd name="connsiteX47" fmla="*/ 495858 w 2528582"/>
              <a:gd name="connsiteY47" fmla="*/ 427041 h 662520"/>
              <a:gd name="connsiteX48" fmla="*/ 483456 w 2528582"/>
              <a:gd name="connsiteY48" fmla="*/ 472909 h 662520"/>
              <a:gd name="connsiteX49" fmla="*/ 466346 w 2528582"/>
              <a:gd name="connsiteY49" fmla="*/ 514232 h 662520"/>
              <a:gd name="connsiteX50" fmla="*/ 444674 w 2528582"/>
              <a:gd name="connsiteY50" fmla="*/ 550937 h 662520"/>
              <a:gd name="connsiteX51" fmla="*/ 418587 w 2528582"/>
              <a:gd name="connsiteY51" fmla="*/ 582945 h 662520"/>
              <a:gd name="connsiteX52" fmla="*/ 388229 w 2528582"/>
              <a:gd name="connsiteY52" fmla="*/ 610181 h 662520"/>
              <a:gd name="connsiteX53" fmla="*/ 353748 w 2528582"/>
              <a:gd name="connsiteY53" fmla="*/ 632569 h 662520"/>
              <a:gd name="connsiteX54" fmla="*/ 315289 w 2528582"/>
              <a:gd name="connsiteY54" fmla="*/ 650033 h 662520"/>
              <a:gd name="connsiteX55" fmla="*/ 272999 w 2528582"/>
              <a:gd name="connsiteY55" fmla="*/ 662495 h 662520"/>
              <a:gd name="connsiteX56" fmla="*/ 592162 w 2528582"/>
              <a:gd name="connsiteY56" fmla="*/ 662520 h 662520"/>
              <a:gd name="connsiteX57" fmla="*/ 571167 w 2528582"/>
              <a:gd name="connsiteY57" fmla="*/ 658030 h 662520"/>
              <a:gd name="connsiteX58" fmla="*/ 551373 w 2528582"/>
              <a:gd name="connsiteY58" fmla="*/ 652783 h 662520"/>
              <a:gd name="connsiteX59" fmla="*/ 532537 w 2528582"/>
              <a:gd name="connsiteY59" fmla="*/ 646826 h 662520"/>
              <a:gd name="connsiteX60" fmla="*/ 514413 w 2528582"/>
              <a:gd name="connsiteY60" fmla="*/ 640206 h 662520"/>
              <a:gd name="connsiteX61" fmla="*/ 514413 w 2528582"/>
              <a:gd name="connsiteY61" fmla="*/ 516293 h 662520"/>
              <a:gd name="connsiteX62" fmla="*/ 596087 w 2528582"/>
              <a:gd name="connsiteY62" fmla="*/ 516293 h 662520"/>
              <a:gd name="connsiteX63" fmla="*/ 612203 w 2528582"/>
              <a:gd name="connsiteY63" fmla="*/ 539439 h 662520"/>
              <a:gd name="connsiteX64" fmla="*/ 635627 w 2528582"/>
              <a:gd name="connsiteY64" fmla="*/ 559242 h 662520"/>
              <a:gd name="connsiteX65" fmla="*/ 666972 w 2528582"/>
              <a:gd name="connsiteY65" fmla="*/ 573062 h 662520"/>
              <a:gd name="connsiteX66" fmla="*/ 706856 w 2528582"/>
              <a:gd name="connsiteY66" fmla="*/ 578256 h 662520"/>
              <a:gd name="connsiteX67" fmla="*/ 749359 w 2528582"/>
              <a:gd name="connsiteY67" fmla="*/ 571758 h 662520"/>
              <a:gd name="connsiteX68" fmla="*/ 784298 w 2528582"/>
              <a:gd name="connsiteY68" fmla="*/ 552322 h 662520"/>
              <a:gd name="connsiteX69" fmla="*/ 807972 w 2528582"/>
              <a:gd name="connsiteY69" fmla="*/ 520038 h 662520"/>
              <a:gd name="connsiteX70" fmla="*/ 816686 w 2528582"/>
              <a:gd name="connsiteY70" fmla="*/ 474992 h 662520"/>
              <a:gd name="connsiteX71" fmla="*/ 809424 w 2528582"/>
              <a:gd name="connsiteY71" fmla="*/ 430240 h 662520"/>
              <a:gd name="connsiteX72" fmla="*/ 787466 w 2528582"/>
              <a:gd name="connsiteY72" fmla="*/ 398602 h 662520"/>
              <a:gd name="connsiteX73" fmla="*/ 750549 w 2528582"/>
              <a:gd name="connsiteY73" fmla="*/ 379812 h 662520"/>
              <a:gd name="connsiteX74" fmla="*/ 698411 w 2528582"/>
              <a:gd name="connsiteY74" fmla="*/ 373608 h 662520"/>
              <a:gd name="connsiteX75" fmla="*/ 649592 w 2528582"/>
              <a:gd name="connsiteY75" fmla="*/ 373608 h 662520"/>
              <a:gd name="connsiteX76" fmla="*/ 649592 w 2528582"/>
              <a:gd name="connsiteY76" fmla="*/ 286308 h 662520"/>
              <a:gd name="connsiteX77" fmla="*/ 690892 w 2528582"/>
              <a:gd name="connsiteY77" fmla="*/ 286308 h 662520"/>
              <a:gd name="connsiteX78" fmla="*/ 744563 w 2528582"/>
              <a:gd name="connsiteY78" fmla="*/ 280133 h 662520"/>
              <a:gd name="connsiteX79" fmla="*/ 783007 w 2528582"/>
              <a:gd name="connsiteY79" fmla="*/ 261550 h 662520"/>
              <a:gd name="connsiteX80" fmla="*/ 806137 w 2528582"/>
              <a:gd name="connsiteY80" fmla="*/ 230469 h 662520"/>
              <a:gd name="connsiteX81" fmla="*/ 813866 w 2528582"/>
              <a:gd name="connsiteY81" fmla="*/ 186804 h 662520"/>
              <a:gd name="connsiteX82" fmla="*/ 808513 w 2528582"/>
              <a:gd name="connsiteY82" fmla="*/ 149115 h 662520"/>
              <a:gd name="connsiteX83" fmla="*/ 792160 w 2528582"/>
              <a:gd name="connsiteY83" fmla="*/ 121104 h 662520"/>
              <a:gd name="connsiteX84" fmla="*/ 764365 w 2528582"/>
              <a:gd name="connsiteY84" fmla="*/ 103651 h 662520"/>
              <a:gd name="connsiteX85" fmla="*/ 724687 w 2528582"/>
              <a:gd name="connsiteY85" fmla="*/ 97637 h 662520"/>
              <a:gd name="connsiteX86" fmla="*/ 687243 w 2528582"/>
              <a:gd name="connsiteY86" fmla="*/ 102374 h 662520"/>
              <a:gd name="connsiteX87" fmla="*/ 657456 w 2528582"/>
              <a:gd name="connsiteY87" fmla="*/ 115117 h 662520"/>
              <a:gd name="connsiteX88" fmla="*/ 634533 w 2528582"/>
              <a:gd name="connsiteY88" fmla="*/ 133668 h 662520"/>
              <a:gd name="connsiteX89" fmla="*/ 617677 w 2528582"/>
              <a:gd name="connsiteY89" fmla="*/ 155828 h 662520"/>
              <a:gd name="connsiteX90" fmla="*/ 539775 w 2528582"/>
              <a:gd name="connsiteY90" fmla="*/ 155828 h 662520"/>
              <a:gd name="connsiteX91" fmla="*/ 539775 w 2528582"/>
              <a:gd name="connsiteY91" fmla="*/ 33807 h 662520"/>
              <a:gd name="connsiteX92" fmla="*/ 584006 w 2528582"/>
              <a:gd name="connsiteY92" fmla="*/ 19813 h 662520"/>
              <a:gd name="connsiteX93" fmla="*/ 631056 w 2528582"/>
              <a:gd name="connsiteY93" fmla="*/ 9159 h 662520"/>
              <a:gd name="connsiteX94" fmla="*/ 681278 w 2528582"/>
              <a:gd name="connsiteY94" fmla="*/ 2378 h 662520"/>
              <a:gd name="connsiteX95" fmla="*/ 735025 w 2528582"/>
              <a:gd name="connsiteY95" fmla="*/ 0 h 662520"/>
              <a:gd name="connsiteX96" fmla="*/ 790395 w 2528582"/>
              <a:gd name="connsiteY96" fmla="*/ 3158 h 662520"/>
              <a:gd name="connsiteX97" fmla="*/ 838689 w 2528582"/>
              <a:gd name="connsiteY97" fmla="*/ 12853 h 662520"/>
              <a:gd name="connsiteX98" fmla="*/ 879380 w 2528582"/>
              <a:gd name="connsiteY98" fmla="*/ 29412 h 662520"/>
              <a:gd name="connsiteX99" fmla="*/ 911943 w 2528582"/>
              <a:gd name="connsiteY99" fmla="*/ 53163 h 662520"/>
              <a:gd name="connsiteX100" fmla="*/ 935853 w 2528582"/>
              <a:gd name="connsiteY100" fmla="*/ 84435 h 662520"/>
              <a:gd name="connsiteX101" fmla="*/ 950584 w 2528582"/>
              <a:gd name="connsiteY101" fmla="*/ 123555 h 662520"/>
              <a:gd name="connsiteX102" fmla="*/ 955611 w 2528582"/>
              <a:gd name="connsiteY102" fmla="*/ 170853 h 662520"/>
              <a:gd name="connsiteX103" fmla="*/ 949453 w 2528582"/>
              <a:gd name="connsiteY103" fmla="*/ 219568 h 662520"/>
              <a:gd name="connsiteX104" fmla="*/ 931581 w 2528582"/>
              <a:gd name="connsiteY104" fmla="*/ 258234 h 662520"/>
              <a:gd name="connsiteX105" fmla="*/ 902895 w 2528582"/>
              <a:gd name="connsiteY105" fmla="*/ 287843 h 662520"/>
              <a:gd name="connsiteX106" fmla="*/ 864296 w 2528582"/>
              <a:gd name="connsiteY106" fmla="*/ 309388 h 662520"/>
              <a:gd name="connsiteX107" fmla="*/ 816686 w 2528582"/>
              <a:gd name="connsiteY107" fmla="*/ 323862 h 662520"/>
              <a:gd name="connsiteX108" fmla="*/ 816686 w 2528582"/>
              <a:gd name="connsiteY108" fmla="*/ 327609 h 662520"/>
              <a:gd name="connsiteX109" fmla="*/ 870681 w 2528582"/>
              <a:gd name="connsiteY109" fmla="*/ 340566 h 662520"/>
              <a:gd name="connsiteX110" fmla="*/ 912283 w 2528582"/>
              <a:gd name="connsiteY110" fmla="*/ 362534 h 662520"/>
              <a:gd name="connsiteX111" fmla="*/ 941719 w 2528582"/>
              <a:gd name="connsiteY111" fmla="*/ 393513 h 662520"/>
              <a:gd name="connsiteX112" fmla="*/ 959215 w 2528582"/>
              <a:gd name="connsiteY112" fmla="*/ 433502 h 662520"/>
              <a:gd name="connsiteX113" fmla="*/ 964996 w 2528582"/>
              <a:gd name="connsiteY113" fmla="*/ 482498 h 662520"/>
              <a:gd name="connsiteX114" fmla="*/ 959936 w 2528582"/>
              <a:gd name="connsiteY114" fmla="*/ 527743 h 662520"/>
              <a:gd name="connsiteX115" fmla="*/ 944659 w 2528582"/>
              <a:gd name="connsiteY115" fmla="*/ 567021 h 662520"/>
              <a:gd name="connsiteX116" fmla="*/ 920122 w 2528582"/>
              <a:gd name="connsiteY116" fmla="*/ 600232 h 662520"/>
              <a:gd name="connsiteX117" fmla="*/ 887285 w 2528582"/>
              <a:gd name="connsiteY117" fmla="*/ 627278 h 662520"/>
              <a:gd name="connsiteX118" fmla="*/ 847106 w 2528582"/>
              <a:gd name="connsiteY118" fmla="*/ 648061 h 662520"/>
              <a:gd name="connsiteX119" fmla="*/ 800544 w 2528582"/>
              <a:gd name="connsiteY119" fmla="*/ 662482 h 662520"/>
              <a:gd name="connsiteX120" fmla="*/ 1360843 w 2528582"/>
              <a:gd name="connsiteY120" fmla="*/ 662495 h 662520"/>
              <a:gd name="connsiteX121" fmla="*/ 1322871 w 2528582"/>
              <a:gd name="connsiteY121" fmla="*/ 649352 h 662520"/>
              <a:gd name="connsiteX122" fmla="*/ 1287296 w 2528582"/>
              <a:gd name="connsiteY122" fmla="*/ 630560 h 662520"/>
              <a:gd name="connsiteX123" fmla="*/ 1254670 w 2528582"/>
              <a:gd name="connsiteY123" fmla="*/ 606062 h 662520"/>
              <a:gd name="connsiteX124" fmla="*/ 1225546 w 2528582"/>
              <a:gd name="connsiteY124" fmla="*/ 575802 h 662520"/>
              <a:gd name="connsiteX125" fmla="*/ 1200477 w 2528582"/>
              <a:gd name="connsiteY125" fmla="*/ 539722 h 662520"/>
              <a:gd name="connsiteX126" fmla="*/ 1180016 w 2528582"/>
              <a:gd name="connsiteY126" fmla="*/ 497766 h 662520"/>
              <a:gd name="connsiteX127" fmla="*/ 1164717 w 2528582"/>
              <a:gd name="connsiteY127" fmla="*/ 449876 h 662520"/>
              <a:gd name="connsiteX128" fmla="*/ 1155131 w 2528582"/>
              <a:gd name="connsiteY128" fmla="*/ 395995 h 662520"/>
              <a:gd name="connsiteX129" fmla="*/ 1151813 w 2528582"/>
              <a:gd name="connsiteY129" fmla="*/ 336067 h 662520"/>
              <a:gd name="connsiteX130" fmla="*/ 1155053 w 2528582"/>
              <a:gd name="connsiteY130" fmla="*/ 276826 h 662520"/>
              <a:gd name="connsiteX131" fmla="*/ 1164415 w 2528582"/>
              <a:gd name="connsiteY131" fmla="*/ 223488 h 662520"/>
              <a:gd name="connsiteX132" fmla="*/ 1179368 w 2528582"/>
              <a:gd name="connsiteY132" fmla="*/ 175997 h 662520"/>
              <a:gd name="connsiteX133" fmla="*/ 1199377 w 2528582"/>
              <a:gd name="connsiteY133" fmla="*/ 134299 h 662520"/>
              <a:gd name="connsiteX134" fmla="*/ 1223910 w 2528582"/>
              <a:gd name="connsiteY134" fmla="*/ 98339 h 662520"/>
              <a:gd name="connsiteX135" fmla="*/ 1252434 w 2528582"/>
              <a:gd name="connsiteY135" fmla="*/ 68062 h 662520"/>
              <a:gd name="connsiteX136" fmla="*/ 1284414 w 2528582"/>
              <a:gd name="connsiteY136" fmla="*/ 43413 h 662520"/>
              <a:gd name="connsiteX137" fmla="*/ 1319318 w 2528582"/>
              <a:gd name="connsiteY137" fmla="*/ 24337 h 662520"/>
              <a:gd name="connsiteX138" fmla="*/ 1356613 w 2528582"/>
              <a:gd name="connsiteY138" fmla="*/ 10780 h 662520"/>
              <a:gd name="connsiteX139" fmla="*/ 1395766 w 2528582"/>
              <a:gd name="connsiteY139" fmla="*/ 2685 h 662520"/>
              <a:gd name="connsiteX140" fmla="*/ 1436243 w 2528582"/>
              <a:gd name="connsiteY140" fmla="*/ 0 h 662520"/>
              <a:gd name="connsiteX141" fmla="*/ 1476722 w 2528582"/>
              <a:gd name="connsiteY141" fmla="*/ 2685 h 662520"/>
              <a:gd name="connsiteX142" fmla="*/ 1515876 w 2528582"/>
              <a:gd name="connsiteY142" fmla="*/ 10780 h 662520"/>
              <a:gd name="connsiteX143" fmla="*/ 1553172 w 2528582"/>
              <a:gd name="connsiteY143" fmla="*/ 24337 h 662520"/>
              <a:gd name="connsiteX144" fmla="*/ 1588076 w 2528582"/>
              <a:gd name="connsiteY144" fmla="*/ 43413 h 662520"/>
              <a:gd name="connsiteX145" fmla="*/ 1620056 w 2528582"/>
              <a:gd name="connsiteY145" fmla="*/ 68062 h 662520"/>
              <a:gd name="connsiteX146" fmla="*/ 1648579 w 2528582"/>
              <a:gd name="connsiteY146" fmla="*/ 98339 h 662520"/>
              <a:gd name="connsiteX147" fmla="*/ 1673111 w 2528582"/>
              <a:gd name="connsiteY147" fmla="*/ 134299 h 662520"/>
              <a:gd name="connsiteX148" fmla="*/ 1693119 w 2528582"/>
              <a:gd name="connsiteY148" fmla="*/ 175997 h 662520"/>
              <a:gd name="connsiteX149" fmla="*/ 1708071 w 2528582"/>
              <a:gd name="connsiteY149" fmla="*/ 223488 h 662520"/>
              <a:gd name="connsiteX150" fmla="*/ 1717433 w 2528582"/>
              <a:gd name="connsiteY150" fmla="*/ 276826 h 662520"/>
              <a:gd name="connsiteX151" fmla="*/ 1720672 w 2528582"/>
              <a:gd name="connsiteY151" fmla="*/ 336067 h 662520"/>
              <a:gd name="connsiteX152" fmla="*/ 1717354 w 2528582"/>
              <a:gd name="connsiteY152" fmla="*/ 395995 h 662520"/>
              <a:gd name="connsiteX153" fmla="*/ 1707768 w 2528582"/>
              <a:gd name="connsiteY153" fmla="*/ 449876 h 662520"/>
              <a:gd name="connsiteX154" fmla="*/ 1692469 w 2528582"/>
              <a:gd name="connsiteY154" fmla="*/ 497766 h 662520"/>
              <a:gd name="connsiteX155" fmla="*/ 1672008 w 2528582"/>
              <a:gd name="connsiteY155" fmla="*/ 539722 h 662520"/>
              <a:gd name="connsiteX156" fmla="*/ 1646939 w 2528582"/>
              <a:gd name="connsiteY156" fmla="*/ 575802 h 662520"/>
              <a:gd name="connsiteX157" fmla="*/ 1617815 w 2528582"/>
              <a:gd name="connsiteY157" fmla="*/ 606062 h 662520"/>
              <a:gd name="connsiteX158" fmla="*/ 1585189 w 2528582"/>
              <a:gd name="connsiteY158" fmla="*/ 630560 h 662520"/>
              <a:gd name="connsiteX159" fmla="*/ 1549614 w 2528582"/>
              <a:gd name="connsiteY159" fmla="*/ 649352 h 662520"/>
              <a:gd name="connsiteX160" fmla="*/ 1511642 w 2528582"/>
              <a:gd name="connsiteY160" fmla="*/ 662495 h 662520"/>
              <a:gd name="connsiteX161" fmla="*/ 1943430 w 2528582"/>
              <a:gd name="connsiteY161" fmla="*/ 662495 h 662520"/>
              <a:gd name="connsiteX162" fmla="*/ 1905459 w 2528582"/>
              <a:gd name="connsiteY162" fmla="*/ 649348 h 662520"/>
              <a:gd name="connsiteX163" fmla="*/ 1869885 w 2528582"/>
              <a:gd name="connsiteY163" fmla="*/ 630555 h 662520"/>
              <a:gd name="connsiteX164" fmla="*/ 1837261 w 2528582"/>
              <a:gd name="connsiteY164" fmla="*/ 606057 h 662520"/>
              <a:gd name="connsiteX165" fmla="*/ 1808138 w 2528582"/>
              <a:gd name="connsiteY165" fmla="*/ 575797 h 662520"/>
              <a:gd name="connsiteX166" fmla="*/ 1783072 w 2528582"/>
              <a:gd name="connsiteY166" fmla="*/ 539718 h 662520"/>
              <a:gd name="connsiteX167" fmla="*/ 1762613 w 2528582"/>
              <a:gd name="connsiteY167" fmla="*/ 497763 h 662520"/>
              <a:gd name="connsiteX168" fmla="*/ 1747315 w 2528582"/>
              <a:gd name="connsiteY168" fmla="*/ 449874 h 662520"/>
              <a:gd name="connsiteX169" fmla="*/ 1737731 w 2528582"/>
              <a:gd name="connsiteY169" fmla="*/ 395995 h 662520"/>
              <a:gd name="connsiteX170" fmla="*/ 1734413 w 2528582"/>
              <a:gd name="connsiteY170" fmla="*/ 336067 h 662520"/>
              <a:gd name="connsiteX171" fmla="*/ 1737652 w 2528582"/>
              <a:gd name="connsiteY171" fmla="*/ 276826 h 662520"/>
              <a:gd name="connsiteX172" fmla="*/ 1747014 w 2528582"/>
              <a:gd name="connsiteY172" fmla="*/ 223488 h 662520"/>
              <a:gd name="connsiteX173" fmla="*/ 1761965 w 2528582"/>
              <a:gd name="connsiteY173" fmla="*/ 175997 h 662520"/>
              <a:gd name="connsiteX174" fmla="*/ 1781973 w 2528582"/>
              <a:gd name="connsiteY174" fmla="*/ 134299 h 662520"/>
              <a:gd name="connsiteX175" fmla="*/ 1806505 w 2528582"/>
              <a:gd name="connsiteY175" fmla="*/ 98339 h 662520"/>
              <a:gd name="connsiteX176" fmla="*/ 1835026 w 2528582"/>
              <a:gd name="connsiteY176" fmla="*/ 68062 h 662520"/>
              <a:gd name="connsiteX177" fmla="*/ 1867005 w 2528582"/>
              <a:gd name="connsiteY177" fmla="*/ 43413 h 662520"/>
              <a:gd name="connsiteX178" fmla="*/ 1901908 w 2528582"/>
              <a:gd name="connsiteY178" fmla="*/ 24337 h 662520"/>
              <a:gd name="connsiteX179" fmla="*/ 1939202 w 2528582"/>
              <a:gd name="connsiteY179" fmla="*/ 10780 h 662520"/>
              <a:gd name="connsiteX180" fmla="*/ 1978353 w 2528582"/>
              <a:gd name="connsiteY180" fmla="*/ 2685 h 662520"/>
              <a:gd name="connsiteX181" fmla="*/ 2018830 w 2528582"/>
              <a:gd name="connsiteY181" fmla="*/ 0 h 662520"/>
              <a:gd name="connsiteX182" fmla="*/ 2059309 w 2528582"/>
              <a:gd name="connsiteY182" fmla="*/ 2685 h 662520"/>
              <a:gd name="connsiteX183" fmla="*/ 2098463 w 2528582"/>
              <a:gd name="connsiteY183" fmla="*/ 10780 h 662520"/>
              <a:gd name="connsiteX184" fmla="*/ 2135759 w 2528582"/>
              <a:gd name="connsiteY184" fmla="*/ 24337 h 662520"/>
              <a:gd name="connsiteX185" fmla="*/ 2170664 w 2528582"/>
              <a:gd name="connsiteY185" fmla="*/ 43413 h 662520"/>
              <a:gd name="connsiteX186" fmla="*/ 2202644 w 2528582"/>
              <a:gd name="connsiteY186" fmla="*/ 68062 h 662520"/>
              <a:gd name="connsiteX187" fmla="*/ 2231166 w 2528582"/>
              <a:gd name="connsiteY187" fmla="*/ 98339 h 662520"/>
              <a:gd name="connsiteX188" fmla="*/ 2255698 w 2528582"/>
              <a:gd name="connsiteY188" fmla="*/ 134299 h 662520"/>
              <a:gd name="connsiteX189" fmla="*/ 2275706 w 2528582"/>
              <a:gd name="connsiteY189" fmla="*/ 175997 h 662520"/>
              <a:gd name="connsiteX190" fmla="*/ 2290658 w 2528582"/>
              <a:gd name="connsiteY190" fmla="*/ 223488 h 662520"/>
              <a:gd name="connsiteX191" fmla="*/ 2300020 w 2528582"/>
              <a:gd name="connsiteY191" fmla="*/ 276826 h 662520"/>
              <a:gd name="connsiteX192" fmla="*/ 2303259 w 2528582"/>
              <a:gd name="connsiteY192" fmla="*/ 336067 h 662520"/>
              <a:gd name="connsiteX193" fmla="*/ 2299941 w 2528582"/>
              <a:gd name="connsiteY193" fmla="*/ 395991 h 662520"/>
              <a:gd name="connsiteX194" fmla="*/ 2290357 w 2528582"/>
              <a:gd name="connsiteY194" fmla="*/ 449869 h 662520"/>
              <a:gd name="connsiteX195" fmla="*/ 2275059 w 2528582"/>
              <a:gd name="connsiteY195" fmla="*/ 497757 h 662520"/>
              <a:gd name="connsiteX196" fmla="*/ 2254600 w 2528582"/>
              <a:gd name="connsiteY196" fmla="*/ 539713 h 662520"/>
              <a:gd name="connsiteX197" fmla="*/ 2229533 w 2528582"/>
              <a:gd name="connsiteY197" fmla="*/ 575793 h 662520"/>
              <a:gd name="connsiteX198" fmla="*/ 2200411 w 2528582"/>
              <a:gd name="connsiteY198" fmla="*/ 606054 h 662520"/>
              <a:gd name="connsiteX199" fmla="*/ 2167787 w 2528582"/>
              <a:gd name="connsiteY199" fmla="*/ 630553 h 662520"/>
              <a:gd name="connsiteX200" fmla="*/ 2132213 w 2528582"/>
              <a:gd name="connsiteY200" fmla="*/ 649348 h 662520"/>
              <a:gd name="connsiteX201" fmla="*/ 2094242 w 2528582"/>
              <a:gd name="connsiteY201" fmla="*/ 662495 h 662520"/>
              <a:gd name="connsiteX202" fmla="*/ 2528582 w 2528582"/>
              <a:gd name="connsiteY202" fmla="*/ 662482 h 662520"/>
              <a:gd name="connsiteX203" fmla="*/ 2490620 w 2528582"/>
              <a:gd name="connsiteY203" fmla="*/ 649332 h 662520"/>
              <a:gd name="connsiteX204" fmla="*/ 2455053 w 2528582"/>
              <a:gd name="connsiteY204" fmla="*/ 630534 h 662520"/>
              <a:gd name="connsiteX205" fmla="*/ 2422435 w 2528582"/>
              <a:gd name="connsiteY205" fmla="*/ 606033 h 662520"/>
              <a:gd name="connsiteX206" fmla="*/ 2393318 w 2528582"/>
              <a:gd name="connsiteY206" fmla="*/ 575772 h 662520"/>
              <a:gd name="connsiteX207" fmla="*/ 2368257 w 2528582"/>
              <a:gd name="connsiteY207" fmla="*/ 539693 h 662520"/>
              <a:gd name="connsiteX208" fmla="*/ 2347803 w 2528582"/>
              <a:gd name="connsiteY208" fmla="*/ 497740 h 662520"/>
              <a:gd name="connsiteX209" fmla="*/ 2332510 w 2528582"/>
              <a:gd name="connsiteY209" fmla="*/ 449856 h 662520"/>
              <a:gd name="connsiteX210" fmla="*/ 2322930 w 2528582"/>
              <a:gd name="connsiteY210" fmla="*/ 395984 h 662520"/>
              <a:gd name="connsiteX211" fmla="*/ 2319616 w 2528582"/>
              <a:gd name="connsiteY211" fmla="*/ 336067 h 662520"/>
              <a:gd name="connsiteX212" fmla="*/ 2322855 w 2528582"/>
              <a:gd name="connsiteY212" fmla="*/ 276826 h 662520"/>
              <a:gd name="connsiteX213" fmla="*/ 2332217 w 2528582"/>
              <a:gd name="connsiteY213" fmla="*/ 223488 h 662520"/>
              <a:gd name="connsiteX214" fmla="*/ 2347169 w 2528582"/>
              <a:gd name="connsiteY214" fmla="*/ 175997 h 662520"/>
              <a:gd name="connsiteX215" fmla="*/ 2367177 w 2528582"/>
              <a:gd name="connsiteY215" fmla="*/ 134299 h 662520"/>
              <a:gd name="connsiteX216" fmla="*/ 2391708 w 2528582"/>
              <a:gd name="connsiteY216" fmla="*/ 98339 h 662520"/>
              <a:gd name="connsiteX217" fmla="*/ 2420230 w 2528582"/>
              <a:gd name="connsiteY217" fmla="*/ 68062 h 662520"/>
              <a:gd name="connsiteX0" fmla="*/ 74231 w 2528582"/>
              <a:gd name="connsiteY0" fmla="*/ 662482 h 662520"/>
              <a:gd name="connsiteX1" fmla="*/ 60344 w 2528582"/>
              <a:gd name="connsiteY1" fmla="*/ 659582 h 662520"/>
              <a:gd name="connsiteX2" fmla="*/ 47517 w 2528582"/>
              <a:gd name="connsiteY2" fmla="*/ 656437 h 662520"/>
              <a:gd name="connsiteX3" fmla="*/ 35823 w 2528582"/>
              <a:gd name="connsiteY3" fmla="*/ 653092 h 662520"/>
              <a:gd name="connsiteX4" fmla="*/ 25336 w 2528582"/>
              <a:gd name="connsiteY4" fmla="*/ 649592 h 662520"/>
              <a:gd name="connsiteX5" fmla="*/ 25336 w 2528582"/>
              <a:gd name="connsiteY5" fmla="*/ 533196 h 662520"/>
              <a:gd name="connsiteX6" fmla="*/ 104190 w 2528582"/>
              <a:gd name="connsiteY6" fmla="*/ 533196 h 662520"/>
              <a:gd name="connsiteX7" fmla="*/ 116931 w 2528582"/>
              <a:gd name="connsiteY7" fmla="*/ 550133 h 662520"/>
              <a:gd name="connsiteX8" fmla="*/ 135043 w 2528582"/>
              <a:gd name="connsiteY8" fmla="*/ 564522 h 662520"/>
              <a:gd name="connsiteX9" fmla="*/ 160020 w 2528582"/>
              <a:gd name="connsiteY9" fmla="*/ 574514 h 662520"/>
              <a:gd name="connsiteX10" fmla="*/ 193357 w 2528582"/>
              <a:gd name="connsiteY10" fmla="*/ 578256 h 662520"/>
              <a:gd name="connsiteX11" fmla="*/ 233829 w 2528582"/>
              <a:gd name="connsiteY11" fmla="*/ 573672 h 662520"/>
              <a:gd name="connsiteX12" fmla="*/ 297105 w 2528582"/>
              <a:gd name="connsiteY12" fmla="*/ 537246 h 662520"/>
              <a:gd name="connsiteX13" fmla="*/ 320040 w 2528582"/>
              <a:gd name="connsiteY13" fmla="*/ 505568 h 662520"/>
              <a:gd name="connsiteX14" fmla="*/ 337261 w 2528582"/>
              <a:gd name="connsiteY14" fmla="*/ 465022 h 662520"/>
              <a:gd name="connsiteX15" fmla="*/ 348834 w 2528582"/>
              <a:gd name="connsiteY15" fmla="*/ 415691 h 662520"/>
              <a:gd name="connsiteX16" fmla="*/ 354825 w 2528582"/>
              <a:gd name="connsiteY16" fmla="*/ 357657 h 662520"/>
              <a:gd name="connsiteX17" fmla="*/ 325357 w 2528582"/>
              <a:gd name="connsiteY17" fmla="*/ 385098 h 662520"/>
              <a:gd name="connsiteX18" fmla="*/ 289466 w 2528582"/>
              <a:gd name="connsiteY18" fmla="*/ 406117 h 662520"/>
              <a:gd name="connsiteX19" fmla="*/ 247767 w 2528582"/>
              <a:gd name="connsiteY19" fmla="*/ 419568 h 662520"/>
              <a:gd name="connsiteX20" fmla="*/ 200875 w 2528582"/>
              <a:gd name="connsiteY20" fmla="*/ 424306 h 662520"/>
              <a:gd name="connsiteX21" fmla="*/ 153099 w 2528582"/>
              <a:gd name="connsiteY21" fmla="*/ 420031 h 662520"/>
              <a:gd name="connsiteX22" fmla="*/ 110150 w 2528582"/>
              <a:gd name="connsiteY22" fmla="*/ 407348 h 662520"/>
              <a:gd name="connsiteX23" fmla="*/ 72948 w 2528582"/>
              <a:gd name="connsiteY23" fmla="*/ 386472 h 662520"/>
              <a:gd name="connsiteX24" fmla="*/ 42412 w 2528582"/>
              <a:gd name="connsiteY24" fmla="*/ 357614 h 662520"/>
              <a:gd name="connsiteX25" fmla="*/ 19463 w 2528582"/>
              <a:gd name="connsiteY25" fmla="*/ 320990 h 662520"/>
              <a:gd name="connsiteX26" fmla="*/ 5019 w 2528582"/>
              <a:gd name="connsiteY26" fmla="*/ 276814 h 662520"/>
              <a:gd name="connsiteX27" fmla="*/ 0 w 2528582"/>
              <a:gd name="connsiteY27" fmla="*/ 225297 h 662520"/>
              <a:gd name="connsiteX28" fmla="*/ 4447 w 2528582"/>
              <a:gd name="connsiteY28" fmla="*/ 178425 h 662520"/>
              <a:gd name="connsiteX29" fmla="*/ 17453 w 2528582"/>
              <a:gd name="connsiteY29" fmla="*/ 135445 h 662520"/>
              <a:gd name="connsiteX30" fmla="*/ 38511 w 2528582"/>
              <a:gd name="connsiteY30" fmla="*/ 97085 h 662520"/>
              <a:gd name="connsiteX31" fmla="*/ 67116 w 2528582"/>
              <a:gd name="connsiteY31" fmla="*/ 64071 h 662520"/>
              <a:gd name="connsiteX32" fmla="*/ 102760 w 2528582"/>
              <a:gd name="connsiteY32" fmla="*/ 37129 h 662520"/>
              <a:gd name="connsiteX33" fmla="*/ 144939 w 2528582"/>
              <a:gd name="connsiteY33" fmla="*/ 16986 h 662520"/>
              <a:gd name="connsiteX34" fmla="*/ 193146 w 2528582"/>
              <a:gd name="connsiteY34" fmla="*/ 4367 h 662520"/>
              <a:gd name="connsiteX35" fmla="*/ 246875 w 2528582"/>
              <a:gd name="connsiteY35" fmla="*/ 0 h 662520"/>
              <a:gd name="connsiteX36" fmla="*/ 290625 w 2528582"/>
              <a:gd name="connsiteY36" fmla="*/ 2882 h 662520"/>
              <a:gd name="connsiteX37" fmla="*/ 331492 w 2528582"/>
              <a:gd name="connsiteY37" fmla="*/ 11678 h 662520"/>
              <a:gd name="connsiteX38" fmla="*/ 369070 w 2528582"/>
              <a:gd name="connsiteY38" fmla="*/ 26614 h 662520"/>
              <a:gd name="connsiteX39" fmla="*/ 402953 w 2528582"/>
              <a:gd name="connsiteY39" fmla="*/ 47914 h 662520"/>
              <a:gd name="connsiteX40" fmla="*/ 432736 w 2528582"/>
              <a:gd name="connsiteY40" fmla="*/ 75804 h 662520"/>
              <a:gd name="connsiteX41" fmla="*/ 458013 w 2528582"/>
              <a:gd name="connsiteY41" fmla="*/ 110509 h 662520"/>
              <a:gd name="connsiteX42" fmla="*/ 478379 w 2528582"/>
              <a:gd name="connsiteY42" fmla="*/ 152255 h 662520"/>
              <a:gd name="connsiteX43" fmla="*/ 493429 w 2528582"/>
              <a:gd name="connsiteY43" fmla="*/ 201265 h 662520"/>
              <a:gd name="connsiteX44" fmla="*/ 502756 w 2528582"/>
              <a:gd name="connsiteY44" fmla="*/ 257766 h 662520"/>
              <a:gd name="connsiteX45" fmla="*/ 505955 w 2528582"/>
              <a:gd name="connsiteY45" fmla="*/ 321983 h 662520"/>
              <a:gd name="connsiteX46" fmla="*/ 503406 w 2528582"/>
              <a:gd name="connsiteY46" fmla="*/ 376707 h 662520"/>
              <a:gd name="connsiteX47" fmla="*/ 495858 w 2528582"/>
              <a:gd name="connsiteY47" fmla="*/ 427041 h 662520"/>
              <a:gd name="connsiteX48" fmla="*/ 483456 w 2528582"/>
              <a:gd name="connsiteY48" fmla="*/ 472909 h 662520"/>
              <a:gd name="connsiteX49" fmla="*/ 466346 w 2528582"/>
              <a:gd name="connsiteY49" fmla="*/ 514232 h 662520"/>
              <a:gd name="connsiteX50" fmla="*/ 444674 w 2528582"/>
              <a:gd name="connsiteY50" fmla="*/ 550937 h 662520"/>
              <a:gd name="connsiteX51" fmla="*/ 418587 w 2528582"/>
              <a:gd name="connsiteY51" fmla="*/ 582945 h 662520"/>
              <a:gd name="connsiteX52" fmla="*/ 388229 w 2528582"/>
              <a:gd name="connsiteY52" fmla="*/ 610181 h 662520"/>
              <a:gd name="connsiteX53" fmla="*/ 353748 w 2528582"/>
              <a:gd name="connsiteY53" fmla="*/ 632569 h 662520"/>
              <a:gd name="connsiteX54" fmla="*/ 315289 w 2528582"/>
              <a:gd name="connsiteY54" fmla="*/ 650033 h 662520"/>
              <a:gd name="connsiteX55" fmla="*/ 272999 w 2528582"/>
              <a:gd name="connsiteY55" fmla="*/ 662495 h 662520"/>
              <a:gd name="connsiteX56" fmla="*/ 592162 w 2528582"/>
              <a:gd name="connsiteY56" fmla="*/ 662520 h 662520"/>
              <a:gd name="connsiteX57" fmla="*/ 571167 w 2528582"/>
              <a:gd name="connsiteY57" fmla="*/ 658030 h 662520"/>
              <a:gd name="connsiteX58" fmla="*/ 551373 w 2528582"/>
              <a:gd name="connsiteY58" fmla="*/ 652783 h 662520"/>
              <a:gd name="connsiteX59" fmla="*/ 532537 w 2528582"/>
              <a:gd name="connsiteY59" fmla="*/ 646826 h 662520"/>
              <a:gd name="connsiteX60" fmla="*/ 514413 w 2528582"/>
              <a:gd name="connsiteY60" fmla="*/ 640206 h 662520"/>
              <a:gd name="connsiteX61" fmla="*/ 514413 w 2528582"/>
              <a:gd name="connsiteY61" fmla="*/ 516293 h 662520"/>
              <a:gd name="connsiteX62" fmla="*/ 596087 w 2528582"/>
              <a:gd name="connsiteY62" fmla="*/ 516293 h 662520"/>
              <a:gd name="connsiteX63" fmla="*/ 612203 w 2528582"/>
              <a:gd name="connsiteY63" fmla="*/ 539439 h 662520"/>
              <a:gd name="connsiteX64" fmla="*/ 635627 w 2528582"/>
              <a:gd name="connsiteY64" fmla="*/ 559242 h 662520"/>
              <a:gd name="connsiteX65" fmla="*/ 666972 w 2528582"/>
              <a:gd name="connsiteY65" fmla="*/ 573062 h 662520"/>
              <a:gd name="connsiteX66" fmla="*/ 706856 w 2528582"/>
              <a:gd name="connsiteY66" fmla="*/ 578256 h 662520"/>
              <a:gd name="connsiteX67" fmla="*/ 749359 w 2528582"/>
              <a:gd name="connsiteY67" fmla="*/ 571758 h 662520"/>
              <a:gd name="connsiteX68" fmla="*/ 784298 w 2528582"/>
              <a:gd name="connsiteY68" fmla="*/ 552322 h 662520"/>
              <a:gd name="connsiteX69" fmla="*/ 807972 w 2528582"/>
              <a:gd name="connsiteY69" fmla="*/ 520038 h 662520"/>
              <a:gd name="connsiteX70" fmla="*/ 816686 w 2528582"/>
              <a:gd name="connsiteY70" fmla="*/ 474992 h 662520"/>
              <a:gd name="connsiteX71" fmla="*/ 809424 w 2528582"/>
              <a:gd name="connsiteY71" fmla="*/ 430240 h 662520"/>
              <a:gd name="connsiteX72" fmla="*/ 787466 w 2528582"/>
              <a:gd name="connsiteY72" fmla="*/ 398602 h 662520"/>
              <a:gd name="connsiteX73" fmla="*/ 750549 w 2528582"/>
              <a:gd name="connsiteY73" fmla="*/ 379812 h 662520"/>
              <a:gd name="connsiteX74" fmla="*/ 698411 w 2528582"/>
              <a:gd name="connsiteY74" fmla="*/ 373608 h 662520"/>
              <a:gd name="connsiteX75" fmla="*/ 649592 w 2528582"/>
              <a:gd name="connsiteY75" fmla="*/ 373608 h 662520"/>
              <a:gd name="connsiteX76" fmla="*/ 649592 w 2528582"/>
              <a:gd name="connsiteY76" fmla="*/ 286308 h 662520"/>
              <a:gd name="connsiteX77" fmla="*/ 690892 w 2528582"/>
              <a:gd name="connsiteY77" fmla="*/ 286308 h 662520"/>
              <a:gd name="connsiteX78" fmla="*/ 744563 w 2528582"/>
              <a:gd name="connsiteY78" fmla="*/ 280133 h 662520"/>
              <a:gd name="connsiteX79" fmla="*/ 783007 w 2528582"/>
              <a:gd name="connsiteY79" fmla="*/ 261550 h 662520"/>
              <a:gd name="connsiteX80" fmla="*/ 806137 w 2528582"/>
              <a:gd name="connsiteY80" fmla="*/ 230469 h 662520"/>
              <a:gd name="connsiteX81" fmla="*/ 813866 w 2528582"/>
              <a:gd name="connsiteY81" fmla="*/ 186804 h 662520"/>
              <a:gd name="connsiteX82" fmla="*/ 808513 w 2528582"/>
              <a:gd name="connsiteY82" fmla="*/ 149115 h 662520"/>
              <a:gd name="connsiteX83" fmla="*/ 792160 w 2528582"/>
              <a:gd name="connsiteY83" fmla="*/ 121104 h 662520"/>
              <a:gd name="connsiteX84" fmla="*/ 764365 w 2528582"/>
              <a:gd name="connsiteY84" fmla="*/ 103651 h 662520"/>
              <a:gd name="connsiteX85" fmla="*/ 724687 w 2528582"/>
              <a:gd name="connsiteY85" fmla="*/ 97637 h 662520"/>
              <a:gd name="connsiteX86" fmla="*/ 687243 w 2528582"/>
              <a:gd name="connsiteY86" fmla="*/ 102374 h 662520"/>
              <a:gd name="connsiteX87" fmla="*/ 657456 w 2528582"/>
              <a:gd name="connsiteY87" fmla="*/ 115117 h 662520"/>
              <a:gd name="connsiteX88" fmla="*/ 634533 w 2528582"/>
              <a:gd name="connsiteY88" fmla="*/ 133668 h 662520"/>
              <a:gd name="connsiteX89" fmla="*/ 617677 w 2528582"/>
              <a:gd name="connsiteY89" fmla="*/ 155828 h 662520"/>
              <a:gd name="connsiteX90" fmla="*/ 539775 w 2528582"/>
              <a:gd name="connsiteY90" fmla="*/ 155828 h 662520"/>
              <a:gd name="connsiteX91" fmla="*/ 539775 w 2528582"/>
              <a:gd name="connsiteY91" fmla="*/ 33807 h 662520"/>
              <a:gd name="connsiteX92" fmla="*/ 584006 w 2528582"/>
              <a:gd name="connsiteY92" fmla="*/ 19813 h 662520"/>
              <a:gd name="connsiteX93" fmla="*/ 631056 w 2528582"/>
              <a:gd name="connsiteY93" fmla="*/ 9159 h 662520"/>
              <a:gd name="connsiteX94" fmla="*/ 681278 w 2528582"/>
              <a:gd name="connsiteY94" fmla="*/ 2378 h 662520"/>
              <a:gd name="connsiteX95" fmla="*/ 735025 w 2528582"/>
              <a:gd name="connsiteY95" fmla="*/ 0 h 662520"/>
              <a:gd name="connsiteX96" fmla="*/ 790395 w 2528582"/>
              <a:gd name="connsiteY96" fmla="*/ 3158 h 662520"/>
              <a:gd name="connsiteX97" fmla="*/ 838689 w 2528582"/>
              <a:gd name="connsiteY97" fmla="*/ 12853 h 662520"/>
              <a:gd name="connsiteX98" fmla="*/ 879380 w 2528582"/>
              <a:gd name="connsiteY98" fmla="*/ 29412 h 662520"/>
              <a:gd name="connsiteX99" fmla="*/ 911943 w 2528582"/>
              <a:gd name="connsiteY99" fmla="*/ 53163 h 662520"/>
              <a:gd name="connsiteX100" fmla="*/ 935853 w 2528582"/>
              <a:gd name="connsiteY100" fmla="*/ 84435 h 662520"/>
              <a:gd name="connsiteX101" fmla="*/ 950584 w 2528582"/>
              <a:gd name="connsiteY101" fmla="*/ 123555 h 662520"/>
              <a:gd name="connsiteX102" fmla="*/ 955611 w 2528582"/>
              <a:gd name="connsiteY102" fmla="*/ 170853 h 662520"/>
              <a:gd name="connsiteX103" fmla="*/ 949453 w 2528582"/>
              <a:gd name="connsiteY103" fmla="*/ 219568 h 662520"/>
              <a:gd name="connsiteX104" fmla="*/ 931581 w 2528582"/>
              <a:gd name="connsiteY104" fmla="*/ 258234 h 662520"/>
              <a:gd name="connsiteX105" fmla="*/ 902895 w 2528582"/>
              <a:gd name="connsiteY105" fmla="*/ 287843 h 662520"/>
              <a:gd name="connsiteX106" fmla="*/ 864296 w 2528582"/>
              <a:gd name="connsiteY106" fmla="*/ 309388 h 662520"/>
              <a:gd name="connsiteX107" fmla="*/ 816686 w 2528582"/>
              <a:gd name="connsiteY107" fmla="*/ 323862 h 662520"/>
              <a:gd name="connsiteX108" fmla="*/ 816686 w 2528582"/>
              <a:gd name="connsiteY108" fmla="*/ 327609 h 662520"/>
              <a:gd name="connsiteX109" fmla="*/ 870681 w 2528582"/>
              <a:gd name="connsiteY109" fmla="*/ 340566 h 662520"/>
              <a:gd name="connsiteX110" fmla="*/ 912283 w 2528582"/>
              <a:gd name="connsiteY110" fmla="*/ 362534 h 662520"/>
              <a:gd name="connsiteX111" fmla="*/ 941719 w 2528582"/>
              <a:gd name="connsiteY111" fmla="*/ 393513 h 662520"/>
              <a:gd name="connsiteX112" fmla="*/ 959215 w 2528582"/>
              <a:gd name="connsiteY112" fmla="*/ 433502 h 662520"/>
              <a:gd name="connsiteX113" fmla="*/ 964996 w 2528582"/>
              <a:gd name="connsiteY113" fmla="*/ 482498 h 662520"/>
              <a:gd name="connsiteX114" fmla="*/ 959936 w 2528582"/>
              <a:gd name="connsiteY114" fmla="*/ 527743 h 662520"/>
              <a:gd name="connsiteX115" fmla="*/ 944659 w 2528582"/>
              <a:gd name="connsiteY115" fmla="*/ 567021 h 662520"/>
              <a:gd name="connsiteX116" fmla="*/ 920122 w 2528582"/>
              <a:gd name="connsiteY116" fmla="*/ 600232 h 662520"/>
              <a:gd name="connsiteX117" fmla="*/ 887285 w 2528582"/>
              <a:gd name="connsiteY117" fmla="*/ 627278 h 662520"/>
              <a:gd name="connsiteX118" fmla="*/ 847106 w 2528582"/>
              <a:gd name="connsiteY118" fmla="*/ 648061 h 662520"/>
              <a:gd name="connsiteX119" fmla="*/ 800544 w 2528582"/>
              <a:gd name="connsiteY119" fmla="*/ 662482 h 662520"/>
              <a:gd name="connsiteX120" fmla="*/ 1360843 w 2528582"/>
              <a:gd name="connsiteY120" fmla="*/ 662495 h 662520"/>
              <a:gd name="connsiteX121" fmla="*/ 1322871 w 2528582"/>
              <a:gd name="connsiteY121" fmla="*/ 649352 h 662520"/>
              <a:gd name="connsiteX122" fmla="*/ 1287296 w 2528582"/>
              <a:gd name="connsiteY122" fmla="*/ 630560 h 662520"/>
              <a:gd name="connsiteX123" fmla="*/ 1254670 w 2528582"/>
              <a:gd name="connsiteY123" fmla="*/ 606062 h 662520"/>
              <a:gd name="connsiteX124" fmla="*/ 1225546 w 2528582"/>
              <a:gd name="connsiteY124" fmla="*/ 575802 h 662520"/>
              <a:gd name="connsiteX125" fmla="*/ 1200477 w 2528582"/>
              <a:gd name="connsiteY125" fmla="*/ 539722 h 662520"/>
              <a:gd name="connsiteX126" fmla="*/ 1180016 w 2528582"/>
              <a:gd name="connsiteY126" fmla="*/ 497766 h 662520"/>
              <a:gd name="connsiteX127" fmla="*/ 1164717 w 2528582"/>
              <a:gd name="connsiteY127" fmla="*/ 449876 h 662520"/>
              <a:gd name="connsiteX128" fmla="*/ 1155131 w 2528582"/>
              <a:gd name="connsiteY128" fmla="*/ 395995 h 662520"/>
              <a:gd name="connsiteX129" fmla="*/ 1151813 w 2528582"/>
              <a:gd name="connsiteY129" fmla="*/ 336067 h 662520"/>
              <a:gd name="connsiteX130" fmla="*/ 1155053 w 2528582"/>
              <a:gd name="connsiteY130" fmla="*/ 276826 h 662520"/>
              <a:gd name="connsiteX131" fmla="*/ 1164415 w 2528582"/>
              <a:gd name="connsiteY131" fmla="*/ 223488 h 662520"/>
              <a:gd name="connsiteX132" fmla="*/ 1179368 w 2528582"/>
              <a:gd name="connsiteY132" fmla="*/ 175997 h 662520"/>
              <a:gd name="connsiteX133" fmla="*/ 1199377 w 2528582"/>
              <a:gd name="connsiteY133" fmla="*/ 134299 h 662520"/>
              <a:gd name="connsiteX134" fmla="*/ 1223910 w 2528582"/>
              <a:gd name="connsiteY134" fmla="*/ 98339 h 662520"/>
              <a:gd name="connsiteX135" fmla="*/ 1252434 w 2528582"/>
              <a:gd name="connsiteY135" fmla="*/ 68062 h 662520"/>
              <a:gd name="connsiteX136" fmla="*/ 1284414 w 2528582"/>
              <a:gd name="connsiteY136" fmla="*/ 43413 h 662520"/>
              <a:gd name="connsiteX137" fmla="*/ 1319318 w 2528582"/>
              <a:gd name="connsiteY137" fmla="*/ 24337 h 662520"/>
              <a:gd name="connsiteX138" fmla="*/ 1356613 w 2528582"/>
              <a:gd name="connsiteY138" fmla="*/ 10780 h 662520"/>
              <a:gd name="connsiteX139" fmla="*/ 1395766 w 2528582"/>
              <a:gd name="connsiteY139" fmla="*/ 2685 h 662520"/>
              <a:gd name="connsiteX140" fmla="*/ 1436243 w 2528582"/>
              <a:gd name="connsiteY140" fmla="*/ 0 h 662520"/>
              <a:gd name="connsiteX141" fmla="*/ 1476722 w 2528582"/>
              <a:gd name="connsiteY141" fmla="*/ 2685 h 662520"/>
              <a:gd name="connsiteX142" fmla="*/ 1515876 w 2528582"/>
              <a:gd name="connsiteY142" fmla="*/ 10780 h 662520"/>
              <a:gd name="connsiteX143" fmla="*/ 1553172 w 2528582"/>
              <a:gd name="connsiteY143" fmla="*/ 24337 h 662520"/>
              <a:gd name="connsiteX144" fmla="*/ 1588076 w 2528582"/>
              <a:gd name="connsiteY144" fmla="*/ 43413 h 662520"/>
              <a:gd name="connsiteX145" fmla="*/ 1620056 w 2528582"/>
              <a:gd name="connsiteY145" fmla="*/ 68062 h 662520"/>
              <a:gd name="connsiteX146" fmla="*/ 1648579 w 2528582"/>
              <a:gd name="connsiteY146" fmla="*/ 98339 h 662520"/>
              <a:gd name="connsiteX147" fmla="*/ 1673111 w 2528582"/>
              <a:gd name="connsiteY147" fmla="*/ 134299 h 662520"/>
              <a:gd name="connsiteX148" fmla="*/ 1693119 w 2528582"/>
              <a:gd name="connsiteY148" fmla="*/ 175997 h 662520"/>
              <a:gd name="connsiteX149" fmla="*/ 1708071 w 2528582"/>
              <a:gd name="connsiteY149" fmla="*/ 223488 h 662520"/>
              <a:gd name="connsiteX150" fmla="*/ 1717433 w 2528582"/>
              <a:gd name="connsiteY150" fmla="*/ 276826 h 662520"/>
              <a:gd name="connsiteX151" fmla="*/ 1720672 w 2528582"/>
              <a:gd name="connsiteY151" fmla="*/ 336067 h 662520"/>
              <a:gd name="connsiteX152" fmla="*/ 1717354 w 2528582"/>
              <a:gd name="connsiteY152" fmla="*/ 395995 h 662520"/>
              <a:gd name="connsiteX153" fmla="*/ 1707768 w 2528582"/>
              <a:gd name="connsiteY153" fmla="*/ 449876 h 662520"/>
              <a:gd name="connsiteX154" fmla="*/ 1692469 w 2528582"/>
              <a:gd name="connsiteY154" fmla="*/ 497766 h 662520"/>
              <a:gd name="connsiteX155" fmla="*/ 1672008 w 2528582"/>
              <a:gd name="connsiteY155" fmla="*/ 539722 h 662520"/>
              <a:gd name="connsiteX156" fmla="*/ 1646939 w 2528582"/>
              <a:gd name="connsiteY156" fmla="*/ 575802 h 662520"/>
              <a:gd name="connsiteX157" fmla="*/ 1617815 w 2528582"/>
              <a:gd name="connsiteY157" fmla="*/ 606062 h 662520"/>
              <a:gd name="connsiteX158" fmla="*/ 1585189 w 2528582"/>
              <a:gd name="connsiteY158" fmla="*/ 630560 h 662520"/>
              <a:gd name="connsiteX159" fmla="*/ 1549614 w 2528582"/>
              <a:gd name="connsiteY159" fmla="*/ 649352 h 662520"/>
              <a:gd name="connsiteX160" fmla="*/ 1511642 w 2528582"/>
              <a:gd name="connsiteY160" fmla="*/ 662495 h 662520"/>
              <a:gd name="connsiteX161" fmla="*/ 1943430 w 2528582"/>
              <a:gd name="connsiteY161" fmla="*/ 662495 h 662520"/>
              <a:gd name="connsiteX162" fmla="*/ 1905459 w 2528582"/>
              <a:gd name="connsiteY162" fmla="*/ 649348 h 662520"/>
              <a:gd name="connsiteX163" fmla="*/ 1869885 w 2528582"/>
              <a:gd name="connsiteY163" fmla="*/ 630555 h 662520"/>
              <a:gd name="connsiteX164" fmla="*/ 1837261 w 2528582"/>
              <a:gd name="connsiteY164" fmla="*/ 606057 h 662520"/>
              <a:gd name="connsiteX165" fmla="*/ 1808138 w 2528582"/>
              <a:gd name="connsiteY165" fmla="*/ 575797 h 662520"/>
              <a:gd name="connsiteX166" fmla="*/ 1783072 w 2528582"/>
              <a:gd name="connsiteY166" fmla="*/ 539718 h 662520"/>
              <a:gd name="connsiteX167" fmla="*/ 1762613 w 2528582"/>
              <a:gd name="connsiteY167" fmla="*/ 497763 h 662520"/>
              <a:gd name="connsiteX168" fmla="*/ 1747315 w 2528582"/>
              <a:gd name="connsiteY168" fmla="*/ 449874 h 662520"/>
              <a:gd name="connsiteX169" fmla="*/ 1737731 w 2528582"/>
              <a:gd name="connsiteY169" fmla="*/ 395995 h 662520"/>
              <a:gd name="connsiteX170" fmla="*/ 1734413 w 2528582"/>
              <a:gd name="connsiteY170" fmla="*/ 336067 h 662520"/>
              <a:gd name="connsiteX171" fmla="*/ 1737652 w 2528582"/>
              <a:gd name="connsiteY171" fmla="*/ 276826 h 662520"/>
              <a:gd name="connsiteX172" fmla="*/ 1747014 w 2528582"/>
              <a:gd name="connsiteY172" fmla="*/ 223488 h 662520"/>
              <a:gd name="connsiteX173" fmla="*/ 1761965 w 2528582"/>
              <a:gd name="connsiteY173" fmla="*/ 175997 h 662520"/>
              <a:gd name="connsiteX174" fmla="*/ 1781973 w 2528582"/>
              <a:gd name="connsiteY174" fmla="*/ 134299 h 662520"/>
              <a:gd name="connsiteX175" fmla="*/ 1806505 w 2528582"/>
              <a:gd name="connsiteY175" fmla="*/ 98339 h 662520"/>
              <a:gd name="connsiteX176" fmla="*/ 1835026 w 2528582"/>
              <a:gd name="connsiteY176" fmla="*/ 68062 h 662520"/>
              <a:gd name="connsiteX177" fmla="*/ 1867005 w 2528582"/>
              <a:gd name="connsiteY177" fmla="*/ 43413 h 662520"/>
              <a:gd name="connsiteX178" fmla="*/ 1901908 w 2528582"/>
              <a:gd name="connsiteY178" fmla="*/ 24337 h 662520"/>
              <a:gd name="connsiteX179" fmla="*/ 1939202 w 2528582"/>
              <a:gd name="connsiteY179" fmla="*/ 10780 h 662520"/>
              <a:gd name="connsiteX180" fmla="*/ 1978353 w 2528582"/>
              <a:gd name="connsiteY180" fmla="*/ 2685 h 662520"/>
              <a:gd name="connsiteX181" fmla="*/ 2018830 w 2528582"/>
              <a:gd name="connsiteY181" fmla="*/ 0 h 662520"/>
              <a:gd name="connsiteX182" fmla="*/ 2059309 w 2528582"/>
              <a:gd name="connsiteY182" fmla="*/ 2685 h 662520"/>
              <a:gd name="connsiteX183" fmla="*/ 2098463 w 2528582"/>
              <a:gd name="connsiteY183" fmla="*/ 10780 h 662520"/>
              <a:gd name="connsiteX184" fmla="*/ 2135759 w 2528582"/>
              <a:gd name="connsiteY184" fmla="*/ 24337 h 662520"/>
              <a:gd name="connsiteX185" fmla="*/ 2170664 w 2528582"/>
              <a:gd name="connsiteY185" fmla="*/ 43413 h 662520"/>
              <a:gd name="connsiteX186" fmla="*/ 2202644 w 2528582"/>
              <a:gd name="connsiteY186" fmla="*/ 68062 h 662520"/>
              <a:gd name="connsiteX187" fmla="*/ 2231166 w 2528582"/>
              <a:gd name="connsiteY187" fmla="*/ 98339 h 662520"/>
              <a:gd name="connsiteX188" fmla="*/ 2255698 w 2528582"/>
              <a:gd name="connsiteY188" fmla="*/ 134299 h 662520"/>
              <a:gd name="connsiteX189" fmla="*/ 2275706 w 2528582"/>
              <a:gd name="connsiteY189" fmla="*/ 175997 h 662520"/>
              <a:gd name="connsiteX190" fmla="*/ 2290658 w 2528582"/>
              <a:gd name="connsiteY190" fmla="*/ 223488 h 662520"/>
              <a:gd name="connsiteX191" fmla="*/ 2300020 w 2528582"/>
              <a:gd name="connsiteY191" fmla="*/ 276826 h 662520"/>
              <a:gd name="connsiteX192" fmla="*/ 2303259 w 2528582"/>
              <a:gd name="connsiteY192" fmla="*/ 336067 h 662520"/>
              <a:gd name="connsiteX193" fmla="*/ 2299941 w 2528582"/>
              <a:gd name="connsiteY193" fmla="*/ 395991 h 662520"/>
              <a:gd name="connsiteX194" fmla="*/ 2290357 w 2528582"/>
              <a:gd name="connsiteY194" fmla="*/ 449869 h 662520"/>
              <a:gd name="connsiteX195" fmla="*/ 2275059 w 2528582"/>
              <a:gd name="connsiteY195" fmla="*/ 497757 h 662520"/>
              <a:gd name="connsiteX196" fmla="*/ 2254600 w 2528582"/>
              <a:gd name="connsiteY196" fmla="*/ 539713 h 662520"/>
              <a:gd name="connsiteX197" fmla="*/ 2229533 w 2528582"/>
              <a:gd name="connsiteY197" fmla="*/ 575793 h 662520"/>
              <a:gd name="connsiteX198" fmla="*/ 2200411 w 2528582"/>
              <a:gd name="connsiteY198" fmla="*/ 606054 h 662520"/>
              <a:gd name="connsiteX199" fmla="*/ 2167787 w 2528582"/>
              <a:gd name="connsiteY199" fmla="*/ 630553 h 662520"/>
              <a:gd name="connsiteX200" fmla="*/ 2132213 w 2528582"/>
              <a:gd name="connsiteY200" fmla="*/ 649348 h 662520"/>
              <a:gd name="connsiteX201" fmla="*/ 2094242 w 2528582"/>
              <a:gd name="connsiteY201" fmla="*/ 662495 h 662520"/>
              <a:gd name="connsiteX202" fmla="*/ 2528582 w 2528582"/>
              <a:gd name="connsiteY202" fmla="*/ 662482 h 662520"/>
              <a:gd name="connsiteX203" fmla="*/ 2490620 w 2528582"/>
              <a:gd name="connsiteY203" fmla="*/ 649332 h 662520"/>
              <a:gd name="connsiteX204" fmla="*/ 2455053 w 2528582"/>
              <a:gd name="connsiteY204" fmla="*/ 630534 h 662520"/>
              <a:gd name="connsiteX205" fmla="*/ 2422435 w 2528582"/>
              <a:gd name="connsiteY205" fmla="*/ 606033 h 662520"/>
              <a:gd name="connsiteX206" fmla="*/ 2393318 w 2528582"/>
              <a:gd name="connsiteY206" fmla="*/ 575772 h 662520"/>
              <a:gd name="connsiteX207" fmla="*/ 2368257 w 2528582"/>
              <a:gd name="connsiteY207" fmla="*/ 539693 h 662520"/>
              <a:gd name="connsiteX208" fmla="*/ 2347803 w 2528582"/>
              <a:gd name="connsiteY208" fmla="*/ 497740 h 662520"/>
              <a:gd name="connsiteX209" fmla="*/ 2332510 w 2528582"/>
              <a:gd name="connsiteY209" fmla="*/ 449856 h 662520"/>
              <a:gd name="connsiteX210" fmla="*/ 2322930 w 2528582"/>
              <a:gd name="connsiteY210" fmla="*/ 395984 h 662520"/>
              <a:gd name="connsiteX211" fmla="*/ 2319616 w 2528582"/>
              <a:gd name="connsiteY211" fmla="*/ 336067 h 662520"/>
              <a:gd name="connsiteX212" fmla="*/ 2322855 w 2528582"/>
              <a:gd name="connsiteY212" fmla="*/ 276826 h 662520"/>
              <a:gd name="connsiteX213" fmla="*/ 2332217 w 2528582"/>
              <a:gd name="connsiteY213" fmla="*/ 223488 h 662520"/>
              <a:gd name="connsiteX214" fmla="*/ 2347169 w 2528582"/>
              <a:gd name="connsiteY214" fmla="*/ 175997 h 662520"/>
              <a:gd name="connsiteX215" fmla="*/ 2367177 w 2528582"/>
              <a:gd name="connsiteY215" fmla="*/ 134299 h 662520"/>
              <a:gd name="connsiteX216" fmla="*/ 2391708 w 2528582"/>
              <a:gd name="connsiteY216" fmla="*/ 98339 h 662520"/>
              <a:gd name="connsiteX0" fmla="*/ 74231 w 2528582"/>
              <a:gd name="connsiteY0" fmla="*/ 662482 h 662520"/>
              <a:gd name="connsiteX1" fmla="*/ 60344 w 2528582"/>
              <a:gd name="connsiteY1" fmla="*/ 659582 h 662520"/>
              <a:gd name="connsiteX2" fmla="*/ 47517 w 2528582"/>
              <a:gd name="connsiteY2" fmla="*/ 656437 h 662520"/>
              <a:gd name="connsiteX3" fmla="*/ 35823 w 2528582"/>
              <a:gd name="connsiteY3" fmla="*/ 653092 h 662520"/>
              <a:gd name="connsiteX4" fmla="*/ 25336 w 2528582"/>
              <a:gd name="connsiteY4" fmla="*/ 649592 h 662520"/>
              <a:gd name="connsiteX5" fmla="*/ 25336 w 2528582"/>
              <a:gd name="connsiteY5" fmla="*/ 533196 h 662520"/>
              <a:gd name="connsiteX6" fmla="*/ 104190 w 2528582"/>
              <a:gd name="connsiteY6" fmla="*/ 533196 h 662520"/>
              <a:gd name="connsiteX7" fmla="*/ 116931 w 2528582"/>
              <a:gd name="connsiteY7" fmla="*/ 550133 h 662520"/>
              <a:gd name="connsiteX8" fmla="*/ 135043 w 2528582"/>
              <a:gd name="connsiteY8" fmla="*/ 564522 h 662520"/>
              <a:gd name="connsiteX9" fmla="*/ 160020 w 2528582"/>
              <a:gd name="connsiteY9" fmla="*/ 574514 h 662520"/>
              <a:gd name="connsiteX10" fmla="*/ 193357 w 2528582"/>
              <a:gd name="connsiteY10" fmla="*/ 578256 h 662520"/>
              <a:gd name="connsiteX11" fmla="*/ 233829 w 2528582"/>
              <a:gd name="connsiteY11" fmla="*/ 573672 h 662520"/>
              <a:gd name="connsiteX12" fmla="*/ 297105 w 2528582"/>
              <a:gd name="connsiteY12" fmla="*/ 537246 h 662520"/>
              <a:gd name="connsiteX13" fmla="*/ 320040 w 2528582"/>
              <a:gd name="connsiteY13" fmla="*/ 505568 h 662520"/>
              <a:gd name="connsiteX14" fmla="*/ 337261 w 2528582"/>
              <a:gd name="connsiteY14" fmla="*/ 465022 h 662520"/>
              <a:gd name="connsiteX15" fmla="*/ 348834 w 2528582"/>
              <a:gd name="connsiteY15" fmla="*/ 415691 h 662520"/>
              <a:gd name="connsiteX16" fmla="*/ 354825 w 2528582"/>
              <a:gd name="connsiteY16" fmla="*/ 357657 h 662520"/>
              <a:gd name="connsiteX17" fmla="*/ 325357 w 2528582"/>
              <a:gd name="connsiteY17" fmla="*/ 385098 h 662520"/>
              <a:gd name="connsiteX18" fmla="*/ 289466 w 2528582"/>
              <a:gd name="connsiteY18" fmla="*/ 406117 h 662520"/>
              <a:gd name="connsiteX19" fmla="*/ 247767 w 2528582"/>
              <a:gd name="connsiteY19" fmla="*/ 419568 h 662520"/>
              <a:gd name="connsiteX20" fmla="*/ 200875 w 2528582"/>
              <a:gd name="connsiteY20" fmla="*/ 424306 h 662520"/>
              <a:gd name="connsiteX21" fmla="*/ 153099 w 2528582"/>
              <a:gd name="connsiteY21" fmla="*/ 420031 h 662520"/>
              <a:gd name="connsiteX22" fmla="*/ 110150 w 2528582"/>
              <a:gd name="connsiteY22" fmla="*/ 407348 h 662520"/>
              <a:gd name="connsiteX23" fmla="*/ 72948 w 2528582"/>
              <a:gd name="connsiteY23" fmla="*/ 386472 h 662520"/>
              <a:gd name="connsiteX24" fmla="*/ 42412 w 2528582"/>
              <a:gd name="connsiteY24" fmla="*/ 357614 h 662520"/>
              <a:gd name="connsiteX25" fmla="*/ 19463 w 2528582"/>
              <a:gd name="connsiteY25" fmla="*/ 320990 h 662520"/>
              <a:gd name="connsiteX26" fmla="*/ 5019 w 2528582"/>
              <a:gd name="connsiteY26" fmla="*/ 276814 h 662520"/>
              <a:gd name="connsiteX27" fmla="*/ 0 w 2528582"/>
              <a:gd name="connsiteY27" fmla="*/ 225297 h 662520"/>
              <a:gd name="connsiteX28" fmla="*/ 4447 w 2528582"/>
              <a:gd name="connsiteY28" fmla="*/ 178425 h 662520"/>
              <a:gd name="connsiteX29" fmla="*/ 17453 w 2528582"/>
              <a:gd name="connsiteY29" fmla="*/ 135445 h 662520"/>
              <a:gd name="connsiteX30" fmla="*/ 38511 w 2528582"/>
              <a:gd name="connsiteY30" fmla="*/ 97085 h 662520"/>
              <a:gd name="connsiteX31" fmla="*/ 67116 w 2528582"/>
              <a:gd name="connsiteY31" fmla="*/ 64071 h 662520"/>
              <a:gd name="connsiteX32" fmla="*/ 102760 w 2528582"/>
              <a:gd name="connsiteY32" fmla="*/ 37129 h 662520"/>
              <a:gd name="connsiteX33" fmla="*/ 144939 w 2528582"/>
              <a:gd name="connsiteY33" fmla="*/ 16986 h 662520"/>
              <a:gd name="connsiteX34" fmla="*/ 193146 w 2528582"/>
              <a:gd name="connsiteY34" fmla="*/ 4367 h 662520"/>
              <a:gd name="connsiteX35" fmla="*/ 246875 w 2528582"/>
              <a:gd name="connsiteY35" fmla="*/ 0 h 662520"/>
              <a:gd name="connsiteX36" fmla="*/ 290625 w 2528582"/>
              <a:gd name="connsiteY36" fmla="*/ 2882 h 662520"/>
              <a:gd name="connsiteX37" fmla="*/ 331492 w 2528582"/>
              <a:gd name="connsiteY37" fmla="*/ 11678 h 662520"/>
              <a:gd name="connsiteX38" fmla="*/ 369070 w 2528582"/>
              <a:gd name="connsiteY38" fmla="*/ 26614 h 662520"/>
              <a:gd name="connsiteX39" fmla="*/ 402953 w 2528582"/>
              <a:gd name="connsiteY39" fmla="*/ 47914 h 662520"/>
              <a:gd name="connsiteX40" fmla="*/ 432736 w 2528582"/>
              <a:gd name="connsiteY40" fmla="*/ 75804 h 662520"/>
              <a:gd name="connsiteX41" fmla="*/ 458013 w 2528582"/>
              <a:gd name="connsiteY41" fmla="*/ 110509 h 662520"/>
              <a:gd name="connsiteX42" fmla="*/ 478379 w 2528582"/>
              <a:gd name="connsiteY42" fmla="*/ 152255 h 662520"/>
              <a:gd name="connsiteX43" fmla="*/ 493429 w 2528582"/>
              <a:gd name="connsiteY43" fmla="*/ 201265 h 662520"/>
              <a:gd name="connsiteX44" fmla="*/ 502756 w 2528582"/>
              <a:gd name="connsiteY44" fmla="*/ 257766 h 662520"/>
              <a:gd name="connsiteX45" fmla="*/ 505955 w 2528582"/>
              <a:gd name="connsiteY45" fmla="*/ 321983 h 662520"/>
              <a:gd name="connsiteX46" fmla="*/ 503406 w 2528582"/>
              <a:gd name="connsiteY46" fmla="*/ 376707 h 662520"/>
              <a:gd name="connsiteX47" fmla="*/ 495858 w 2528582"/>
              <a:gd name="connsiteY47" fmla="*/ 427041 h 662520"/>
              <a:gd name="connsiteX48" fmla="*/ 483456 w 2528582"/>
              <a:gd name="connsiteY48" fmla="*/ 472909 h 662520"/>
              <a:gd name="connsiteX49" fmla="*/ 466346 w 2528582"/>
              <a:gd name="connsiteY49" fmla="*/ 514232 h 662520"/>
              <a:gd name="connsiteX50" fmla="*/ 444674 w 2528582"/>
              <a:gd name="connsiteY50" fmla="*/ 550937 h 662520"/>
              <a:gd name="connsiteX51" fmla="*/ 418587 w 2528582"/>
              <a:gd name="connsiteY51" fmla="*/ 582945 h 662520"/>
              <a:gd name="connsiteX52" fmla="*/ 388229 w 2528582"/>
              <a:gd name="connsiteY52" fmla="*/ 610181 h 662520"/>
              <a:gd name="connsiteX53" fmla="*/ 353748 w 2528582"/>
              <a:gd name="connsiteY53" fmla="*/ 632569 h 662520"/>
              <a:gd name="connsiteX54" fmla="*/ 315289 w 2528582"/>
              <a:gd name="connsiteY54" fmla="*/ 650033 h 662520"/>
              <a:gd name="connsiteX55" fmla="*/ 272999 w 2528582"/>
              <a:gd name="connsiteY55" fmla="*/ 662495 h 662520"/>
              <a:gd name="connsiteX56" fmla="*/ 592162 w 2528582"/>
              <a:gd name="connsiteY56" fmla="*/ 662520 h 662520"/>
              <a:gd name="connsiteX57" fmla="*/ 571167 w 2528582"/>
              <a:gd name="connsiteY57" fmla="*/ 658030 h 662520"/>
              <a:gd name="connsiteX58" fmla="*/ 551373 w 2528582"/>
              <a:gd name="connsiteY58" fmla="*/ 652783 h 662520"/>
              <a:gd name="connsiteX59" fmla="*/ 532537 w 2528582"/>
              <a:gd name="connsiteY59" fmla="*/ 646826 h 662520"/>
              <a:gd name="connsiteX60" fmla="*/ 514413 w 2528582"/>
              <a:gd name="connsiteY60" fmla="*/ 640206 h 662520"/>
              <a:gd name="connsiteX61" fmla="*/ 514413 w 2528582"/>
              <a:gd name="connsiteY61" fmla="*/ 516293 h 662520"/>
              <a:gd name="connsiteX62" fmla="*/ 596087 w 2528582"/>
              <a:gd name="connsiteY62" fmla="*/ 516293 h 662520"/>
              <a:gd name="connsiteX63" fmla="*/ 612203 w 2528582"/>
              <a:gd name="connsiteY63" fmla="*/ 539439 h 662520"/>
              <a:gd name="connsiteX64" fmla="*/ 635627 w 2528582"/>
              <a:gd name="connsiteY64" fmla="*/ 559242 h 662520"/>
              <a:gd name="connsiteX65" fmla="*/ 666972 w 2528582"/>
              <a:gd name="connsiteY65" fmla="*/ 573062 h 662520"/>
              <a:gd name="connsiteX66" fmla="*/ 706856 w 2528582"/>
              <a:gd name="connsiteY66" fmla="*/ 578256 h 662520"/>
              <a:gd name="connsiteX67" fmla="*/ 749359 w 2528582"/>
              <a:gd name="connsiteY67" fmla="*/ 571758 h 662520"/>
              <a:gd name="connsiteX68" fmla="*/ 784298 w 2528582"/>
              <a:gd name="connsiteY68" fmla="*/ 552322 h 662520"/>
              <a:gd name="connsiteX69" fmla="*/ 807972 w 2528582"/>
              <a:gd name="connsiteY69" fmla="*/ 520038 h 662520"/>
              <a:gd name="connsiteX70" fmla="*/ 816686 w 2528582"/>
              <a:gd name="connsiteY70" fmla="*/ 474992 h 662520"/>
              <a:gd name="connsiteX71" fmla="*/ 809424 w 2528582"/>
              <a:gd name="connsiteY71" fmla="*/ 430240 h 662520"/>
              <a:gd name="connsiteX72" fmla="*/ 787466 w 2528582"/>
              <a:gd name="connsiteY72" fmla="*/ 398602 h 662520"/>
              <a:gd name="connsiteX73" fmla="*/ 750549 w 2528582"/>
              <a:gd name="connsiteY73" fmla="*/ 379812 h 662520"/>
              <a:gd name="connsiteX74" fmla="*/ 698411 w 2528582"/>
              <a:gd name="connsiteY74" fmla="*/ 373608 h 662520"/>
              <a:gd name="connsiteX75" fmla="*/ 649592 w 2528582"/>
              <a:gd name="connsiteY75" fmla="*/ 373608 h 662520"/>
              <a:gd name="connsiteX76" fmla="*/ 649592 w 2528582"/>
              <a:gd name="connsiteY76" fmla="*/ 286308 h 662520"/>
              <a:gd name="connsiteX77" fmla="*/ 690892 w 2528582"/>
              <a:gd name="connsiteY77" fmla="*/ 286308 h 662520"/>
              <a:gd name="connsiteX78" fmla="*/ 744563 w 2528582"/>
              <a:gd name="connsiteY78" fmla="*/ 280133 h 662520"/>
              <a:gd name="connsiteX79" fmla="*/ 783007 w 2528582"/>
              <a:gd name="connsiteY79" fmla="*/ 261550 h 662520"/>
              <a:gd name="connsiteX80" fmla="*/ 806137 w 2528582"/>
              <a:gd name="connsiteY80" fmla="*/ 230469 h 662520"/>
              <a:gd name="connsiteX81" fmla="*/ 813866 w 2528582"/>
              <a:gd name="connsiteY81" fmla="*/ 186804 h 662520"/>
              <a:gd name="connsiteX82" fmla="*/ 808513 w 2528582"/>
              <a:gd name="connsiteY82" fmla="*/ 149115 h 662520"/>
              <a:gd name="connsiteX83" fmla="*/ 792160 w 2528582"/>
              <a:gd name="connsiteY83" fmla="*/ 121104 h 662520"/>
              <a:gd name="connsiteX84" fmla="*/ 764365 w 2528582"/>
              <a:gd name="connsiteY84" fmla="*/ 103651 h 662520"/>
              <a:gd name="connsiteX85" fmla="*/ 724687 w 2528582"/>
              <a:gd name="connsiteY85" fmla="*/ 97637 h 662520"/>
              <a:gd name="connsiteX86" fmla="*/ 687243 w 2528582"/>
              <a:gd name="connsiteY86" fmla="*/ 102374 h 662520"/>
              <a:gd name="connsiteX87" fmla="*/ 657456 w 2528582"/>
              <a:gd name="connsiteY87" fmla="*/ 115117 h 662520"/>
              <a:gd name="connsiteX88" fmla="*/ 634533 w 2528582"/>
              <a:gd name="connsiteY88" fmla="*/ 133668 h 662520"/>
              <a:gd name="connsiteX89" fmla="*/ 617677 w 2528582"/>
              <a:gd name="connsiteY89" fmla="*/ 155828 h 662520"/>
              <a:gd name="connsiteX90" fmla="*/ 539775 w 2528582"/>
              <a:gd name="connsiteY90" fmla="*/ 155828 h 662520"/>
              <a:gd name="connsiteX91" fmla="*/ 539775 w 2528582"/>
              <a:gd name="connsiteY91" fmla="*/ 33807 h 662520"/>
              <a:gd name="connsiteX92" fmla="*/ 584006 w 2528582"/>
              <a:gd name="connsiteY92" fmla="*/ 19813 h 662520"/>
              <a:gd name="connsiteX93" fmla="*/ 631056 w 2528582"/>
              <a:gd name="connsiteY93" fmla="*/ 9159 h 662520"/>
              <a:gd name="connsiteX94" fmla="*/ 681278 w 2528582"/>
              <a:gd name="connsiteY94" fmla="*/ 2378 h 662520"/>
              <a:gd name="connsiteX95" fmla="*/ 735025 w 2528582"/>
              <a:gd name="connsiteY95" fmla="*/ 0 h 662520"/>
              <a:gd name="connsiteX96" fmla="*/ 790395 w 2528582"/>
              <a:gd name="connsiteY96" fmla="*/ 3158 h 662520"/>
              <a:gd name="connsiteX97" fmla="*/ 838689 w 2528582"/>
              <a:gd name="connsiteY97" fmla="*/ 12853 h 662520"/>
              <a:gd name="connsiteX98" fmla="*/ 879380 w 2528582"/>
              <a:gd name="connsiteY98" fmla="*/ 29412 h 662520"/>
              <a:gd name="connsiteX99" fmla="*/ 911943 w 2528582"/>
              <a:gd name="connsiteY99" fmla="*/ 53163 h 662520"/>
              <a:gd name="connsiteX100" fmla="*/ 935853 w 2528582"/>
              <a:gd name="connsiteY100" fmla="*/ 84435 h 662520"/>
              <a:gd name="connsiteX101" fmla="*/ 950584 w 2528582"/>
              <a:gd name="connsiteY101" fmla="*/ 123555 h 662520"/>
              <a:gd name="connsiteX102" fmla="*/ 955611 w 2528582"/>
              <a:gd name="connsiteY102" fmla="*/ 170853 h 662520"/>
              <a:gd name="connsiteX103" fmla="*/ 949453 w 2528582"/>
              <a:gd name="connsiteY103" fmla="*/ 219568 h 662520"/>
              <a:gd name="connsiteX104" fmla="*/ 931581 w 2528582"/>
              <a:gd name="connsiteY104" fmla="*/ 258234 h 662520"/>
              <a:gd name="connsiteX105" fmla="*/ 902895 w 2528582"/>
              <a:gd name="connsiteY105" fmla="*/ 287843 h 662520"/>
              <a:gd name="connsiteX106" fmla="*/ 864296 w 2528582"/>
              <a:gd name="connsiteY106" fmla="*/ 309388 h 662520"/>
              <a:gd name="connsiteX107" fmla="*/ 816686 w 2528582"/>
              <a:gd name="connsiteY107" fmla="*/ 323862 h 662520"/>
              <a:gd name="connsiteX108" fmla="*/ 816686 w 2528582"/>
              <a:gd name="connsiteY108" fmla="*/ 327609 h 662520"/>
              <a:gd name="connsiteX109" fmla="*/ 870681 w 2528582"/>
              <a:gd name="connsiteY109" fmla="*/ 340566 h 662520"/>
              <a:gd name="connsiteX110" fmla="*/ 912283 w 2528582"/>
              <a:gd name="connsiteY110" fmla="*/ 362534 h 662520"/>
              <a:gd name="connsiteX111" fmla="*/ 941719 w 2528582"/>
              <a:gd name="connsiteY111" fmla="*/ 393513 h 662520"/>
              <a:gd name="connsiteX112" fmla="*/ 959215 w 2528582"/>
              <a:gd name="connsiteY112" fmla="*/ 433502 h 662520"/>
              <a:gd name="connsiteX113" fmla="*/ 964996 w 2528582"/>
              <a:gd name="connsiteY113" fmla="*/ 482498 h 662520"/>
              <a:gd name="connsiteX114" fmla="*/ 959936 w 2528582"/>
              <a:gd name="connsiteY114" fmla="*/ 527743 h 662520"/>
              <a:gd name="connsiteX115" fmla="*/ 944659 w 2528582"/>
              <a:gd name="connsiteY115" fmla="*/ 567021 h 662520"/>
              <a:gd name="connsiteX116" fmla="*/ 920122 w 2528582"/>
              <a:gd name="connsiteY116" fmla="*/ 600232 h 662520"/>
              <a:gd name="connsiteX117" fmla="*/ 887285 w 2528582"/>
              <a:gd name="connsiteY117" fmla="*/ 627278 h 662520"/>
              <a:gd name="connsiteX118" fmla="*/ 847106 w 2528582"/>
              <a:gd name="connsiteY118" fmla="*/ 648061 h 662520"/>
              <a:gd name="connsiteX119" fmla="*/ 800544 w 2528582"/>
              <a:gd name="connsiteY119" fmla="*/ 662482 h 662520"/>
              <a:gd name="connsiteX120" fmla="*/ 1360843 w 2528582"/>
              <a:gd name="connsiteY120" fmla="*/ 662495 h 662520"/>
              <a:gd name="connsiteX121" fmla="*/ 1322871 w 2528582"/>
              <a:gd name="connsiteY121" fmla="*/ 649352 h 662520"/>
              <a:gd name="connsiteX122" fmla="*/ 1287296 w 2528582"/>
              <a:gd name="connsiteY122" fmla="*/ 630560 h 662520"/>
              <a:gd name="connsiteX123" fmla="*/ 1254670 w 2528582"/>
              <a:gd name="connsiteY123" fmla="*/ 606062 h 662520"/>
              <a:gd name="connsiteX124" fmla="*/ 1225546 w 2528582"/>
              <a:gd name="connsiteY124" fmla="*/ 575802 h 662520"/>
              <a:gd name="connsiteX125" fmla="*/ 1200477 w 2528582"/>
              <a:gd name="connsiteY125" fmla="*/ 539722 h 662520"/>
              <a:gd name="connsiteX126" fmla="*/ 1180016 w 2528582"/>
              <a:gd name="connsiteY126" fmla="*/ 497766 h 662520"/>
              <a:gd name="connsiteX127" fmla="*/ 1164717 w 2528582"/>
              <a:gd name="connsiteY127" fmla="*/ 449876 h 662520"/>
              <a:gd name="connsiteX128" fmla="*/ 1155131 w 2528582"/>
              <a:gd name="connsiteY128" fmla="*/ 395995 h 662520"/>
              <a:gd name="connsiteX129" fmla="*/ 1151813 w 2528582"/>
              <a:gd name="connsiteY129" fmla="*/ 336067 h 662520"/>
              <a:gd name="connsiteX130" fmla="*/ 1155053 w 2528582"/>
              <a:gd name="connsiteY130" fmla="*/ 276826 h 662520"/>
              <a:gd name="connsiteX131" fmla="*/ 1164415 w 2528582"/>
              <a:gd name="connsiteY131" fmla="*/ 223488 h 662520"/>
              <a:gd name="connsiteX132" fmla="*/ 1179368 w 2528582"/>
              <a:gd name="connsiteY132" fmla="*/ 175997 h 662520"/>
              <a:gd name="connsiteX133" fmla="*/ 1199377 w 2528582"/>
              <a:gd name="connsiteY133" fmla="*/ 134299 h 662520"/>
              <a:gd name="connsiteX134" fmla="*/ 1223910 w 2528582"/>
              <a:gd name="connsiteY134" fmla="*/ 98339 h 662520"/>
              <a:gd name="connsiteX135" fmla="*/ 1252434 w 2528582"/>
              <a:gd name="connsiteY135" fmla="*/ 68062 h 662520"/>
              <a:gd name="connsiteX136" fmla="*/ 1284414 w 2528582"/>
              <a:gd name="connsiteY136" fmla="*/ 43413 h 662520"/>
              <a:gd name="connsiteX137" fmla="*/ 1319318 w 2528582"/>
              <a:gd name="connsiteY137" fmla="*/ 24337 h 662520"/>
              <a:gd name="connsiteX138" fmla="*/ 1356613 w 2528582"/>
              <a:gd name="connsiteY138" fmla="*/ 10780 h 662520"/>
              <a:gd name="connsiteX139" fmla="*/ 1395766 w 2528582"/>
              <a:gd name="connsiteY139" fmla="*/ 2685 h 662520"/>
              <a:gd name="connsiteX140" fmla="*/ 1436243 w 2528582"/>
              <a:gd name="connsiteY140" fmla="*/ 0 h 662520"/>
              <a:gd name="connsiteX141" fmla="*/ 1476722 w 2528582"/>
              <a:gd name="connsiteY141" fmla="*/ 2685 h 662520"/>
              <a:gd name="connsiteX142" fmla="*/ 1515876 w 2528582"/>
              <a:gd name="connsiteY142" fmla="*/ 10780 h 662520"/>
              <a:gd name="connsiteX143" fmla="*/ 1553172 w 2528582"/>
              <a:gd name="connsiteY143" fmla="*/ 24337 h 662520"/>
              <a:gd name="connsiteX144" fmla="*/ 1588076 w 2528582"/>
              <a:gd name="connsiteY144" fmla="*/ 43413 h 662520"/>
              <a:gd name="connsiteX145" fmla="*/ 1620056 w 2528582"/>
              <a:gd name="connsiteY145" fmla="*/ 68062 h 662520"/>
              <a:gd name="connsiteX146" fmla="*/ 1648579 w 2528582"/>
              <a:gd name="connsiteY146" fmla="*/ 98339 h 662520"/>
              <a:gd name="connsiteX147" fmla="*/ 1673111 w 2528582"/>
              <a:gd name="connsiteY147" fmla="*/ 134299 h 662520"/>
              <a:gd name="connsiteX148" fmla="*/ 1693119 w 2528582"/>
              <a:gd name="connsiteY148" fmla="*/ 175997 h 662520"/>
              <a:gd name="connsiteX149" fmla="*/ 1708071 w 2528582"/>
              <a:gd name="connsiteY149" fmla="*/ 223488 h 662520"/>
              <a:gd name="connsiteX150" fmla="*/ 1717433 w 2528582"/>
              <a:gd name="connsiteY150" fmla="*/ 276826 h 662520"/>
              <a:gd name="connsiteX151" fmla="*/ 1720672 w 2528582"/>
              <a:gd name="connsiteY151" fmla="*/ 336067 h 662520"/>
              <a:gd name="connsiteX152" fmla="*/ 1717354 w 2528582"/>
              <a:gd name="connsiteY152" fmla="*/ 395995 h 662520"/>
              <a:gd name="connsiteX153" fmla="*/ 1707768 w 2528582"/>
              <a:gd name="connsiteY153" fmla="*/ 449876 h 662520"/>
              <a:gd name="connsiteX154" fmla="*/ 1692469 w 2528582"/>
              <a:gd name="connsiteY154" fmla="*/ 497766 h 662520"/>
              <a:gd name="connsiteX155" fmla="*/ 1672008 w 2528582"/>
              <a:gd name="connsiteY155" fmla="*/ 539722 h 662520"/>
              <a:gd name="connsiteX156" fmla="*/ 1646939 w 2528582"/>
              <a:gd name="connsiteY156" fmla="*/ 575802 h 662520"/>
              <a:gd name="connsiteX157" fmla="*/ 1617815 w 2528582"/>
              <a:gd name="connsiteY157" fmla="*/ 606062 h 662520"/>
              <a:gd name="connsiteX158" fmla="*/ 1585189 w 2528582"/>
              <a:gd name="connsiteY158" fmla="*/ 630560 h 662520"/>
              <a:gd name="connsiteX159" fmla="*/ 1549614 w 2528582"/>
              <a:gd name="connsiteY159" fmla="*/ 649352 h 662520"/>
              <a:gd name="connsiteX160" fmla="*/ 1511642 w 2528582"/>
              <a:gd name="connsiteY160" fmla="*/ 662495 h 662520"/>
              <a:gd name="connsiteX161" fmla="*/ 1943430 w 2528582"/>
              <a:gd name="connsiteY161" fmla="*/ 662495 h 662520"/>
              <a:gd name="connsiteX162" fmla="*/ 1905459 w 2528582"/>
              <a:gd name="connsiteY162" fmla="*/ 649348 h 662520"/>
              <a:gd name="connsiteX163" fmla="*/ 1869885 w 2528582"/>
              <a:gd name="connsiteY163" fmla="*/ 630555 h 662520"/>
              <a:gd name="connsiteX164" fmla="*/ 1837261 w 2528582"/>
              <a:gd name="connsiteY164" fmla="*/ 606057 h 662520"/>
              <a:gd name="connsiteX165" fmla="*/ 1808138 w 2528582"/>
              <a:gd name="connsiteY165" fmla="*/ 575797 h 662520"/>
              <a:gd name="connsiteX166" fmla="*/ 1783072 w 2528582"/>
              <a:gd name="connsiteY166" fmla="*/ 539718 h 662520"/>
              <a:gd name="connsiteX167" fmla="*/ 1762613 w 2528582"/>
              <a:gd name="connsiteY167" fmla="*/ 497763 h 662520"/>
              <a:gd name="connsiteX168" fmla="*/ 1747315 w 2528582"/>
              <a:gd name="connsiteY168" fmla="*/ 449874 h 662520"/>
              <a:gd name="connsiteX169" fmla="*/ 1737731 w 2528582"/>
              <a:gd name="connsiteY169" fmla="*/ 395995 h 662520"/>
              <a:gd name="connsiteX170" fmla="*/ 1734413 w 2528582"/>
              <a:gd name="connsiteY170" fmla="*/ 336067 h 662520"/>
              <a:gd name="connsiteX171" fmla="*/ 1737652 w 2528582"/>
              <a:gd name="connsiteY171" fmla="*/ 276826 h 662520"/>
              <a:gd name="connsiteX172" fmla="*/ 1747014 w 2528582"/>
              <a:gd name="connsiteY172" fmla="*/ 223488 h 662520"/>
              <a:gd name="connsiteX173" fmla="*/ 1761965 w 2528582"/>
              <a:gd name="connsiteY173" fmla="*/ 175997 h 662520"/>
              <a:gd name="connsiteX174" fmla="*/ 1781973 w 2528582"/>
              <a:gd name="connsiteY174" fmla="*/ 134299 h 662520"/>
              <a:gd name="connsiteX175" fmla="*/ 1806505 w 2528582"/>
              <a:gd name="connsiteY175" fmla="*/ 98339 h 662520"/>
              <a:gd name="connsiteX176" fmla="*/ 1835026 w 2528582"/>
              <a:gd name="connsiteY176" fmla="*/ 68062 h 662520"/>
              <a:gd name="connsiteX177" fmla="*/ 1867005 w 2528582"/>
              <a:gd name="connsiteY177" fmla="*/ 43413 h 662520"/>
              <a:gd name="connsiteX178" fmla="*/ 1901908 w 2528582"/>
              <a:gd name="connsiteY178" fmla="*/ 24337 h 662520"/>
              <a:gd name="connsiteX179" fmla="*/ 1939202 w 2528582"/>
              <a:gd name="connsiteY179" fmla="*/ 10780 h 662520"/>
              <a:gd name="connsiteX180" fmla="*/ 1978353 w 2528582"/>
              <a:gd name="connsiteY180" fmla="*/ 2685 h 662520"/>
              <a:gd name="connsiteX181" fmla="*/ 2018830 w 2528582"/>
              <a:gd name="connsiteY181" fmla="*/ 0 h 662520"/>
              <a:gd name="connsiteX182" fmla="*/ 2059309 w 2528582"/>
              <a:gd name="connsiteY182" fmla="*/ 2685 h 662520"/>
              <a:gd name="connsiteX183" fmla="*/ 2098463 w 2528582"/>
              <a:gd name="connsiteY183" fmla="*/ 10780 h 662520"/>
              <a:gd name="connsiteX184" fmla="*/ 2135759 w 2528582"/>
              <a:gd name="connsiteY184" fmla="*/ 24337 h 662520"/>
              <a:gd name="connsiteX185" fmla="*/ 2170664 w 2528582"/>
              <a:gd name="connsiteY185" fmla="*/ 43413 h 662520"/>
              <a:gd name="connsiteX186" fmla="*/ 2202644 w 2528582"/>
              <a:gd name="connsiteY186" fmla="*/ 68062 h 662520"/>
              <a:gd name="connsiteX187" fmla="*/ 2231166 w 2528582"/>
              <a:gd name="connsiteY187" fmla="*/ 98339 h 662520"/>
              <a:gd name="connsiteX188" fmla="*/ 2255698 w 2528582"/>
              <a:gd name="connsiteY188" fmla="*/ 134299 h 662520"/>
              <a:gd name="connsiteX189" fmla="*/ 2275706 w 2528582"/>
              <a:gd name="connsiteY189" fmla="*/ 175997 h 662520"/>
              <a:gd name="connsiteX190" fmla="*/ 2290658 w 2528582"/>
              <a:gd name="connsiteY190" fmla="*/ 223488 h 662520"/>
              <a:gd name="connsiteX191" fmla="*/ 2300020 w 2528582"/>
              <a:gd name="connsiteY191" fmla="*/ 276826 h 662520"/>
              <a:gd name="connsiteX192" fmla="*/ 2303259 w 2528582"/>
              <a:gd name="connsiteY192" fmla="*/ 336067 h 662520"/>
              <a:gd name="connsiteX193" fmla="*/ 2299941 w 2528582"/>
              <a:gd name="connsiteY193" fmla="*/ 395991 h 662520"/>
              <a:gd name="connsiteX194" fmla="*/ 2290357 w 2528582"/>
              <a:gd name="connsiteY194" fmla="*/ 449869 h 662520"/>
              <a:gd name="connsiteX195" fmla="*/ 2275059 w 2528582"/>
              <a:gd name="connsiteY195" fmla="*/ 497757 h 662520"/>
              <a:gd name="connsiteX196" fmla="*/ 2254600 w 2528582"/>
              <a:gd name="connsiteY196" fmla="*/ 539713 h 662520"/>
              <a:gd name="connsiteX197" fmla="*/ 2229533 w 2528582"/>
              <a:gd name="connsiteY197" fmla="*/ 575793 h 662520"/>
              <a:gd name="connsiteX198" fmla="*/ 2200411 w 2528582"/>
              <a:gd name="connsiteY198" fmla="*/ 606054 h 662520"/>
              <a:gd name="connsiteX199" fmla="*/ 2167787 w 2528582"/>
              <a:gd name="connsiteY199" fmla="*/ 630553 h 662520"/>
              <a:gd name="connsiteX200" fmla="*/ 2132213 w 2528582"/>
              <a:gd name="connsiteY200" fmla="*/ 649348 h 662520"/>
              <a:gd name="connsiteX201" fmla="*/ 2094242 w 2528582"/>
              <a:gd name="connsiteY201" fmla="*/ 662495 h 662520"/>
              <a:gd name="connsiteX202" fmla="*/ 2528582 w 2528582"/>
              <a:gd name="connsiteY202" fmla="*/ 662482 h 662520"/>
              <a:gd name="connsiteX203" fmla="*/ 2490620 w 2528582"/>
              <a:gd name="connsiteY203" fmla="*/ 649332 h 662520"/>
              <a:gd name="connsiteX204" fmla="*/ 2455053 w 2528582"/>
              <a:gd name="connsiteY204" fmla="*/ 630534 h 662520"/>
              <a:gd name="connsiteX205" fmla="*/ 2422435 w 2528582"/>
              <a:gd name="connsiteY205" fmla="*/ 606033 h 662520"/>
              <a:gd name="connsiteX206" fmla="*/ 2393318 w 2528582"/>
              <a:gd name="connsiteY206" fmla="*/ 575772 h 662520"/>
              <a:gd name="connsiteX207" fmla="*/ 2368257 w 2528582"/>
              <a:gd name="connsiteY207" fmla="*/ 539693 h 662520"/>
              <a:gd name="connsiteX208" fmla="*/ 2347803 w 2528582"/>
              <a:gd name="connsiteY208" fmla="*/ 497740 h 662520"/>
              <a:gd name="connsiteX209" fmla="*/ 2332510 w 2528582"/>
              <a:gd name="connsiteY209" fmla="*/ 449856 h 662520"/>
              <a:gd name="connsiteX210" fmla="*/ 2322930 w 2528582"/>
              <a:gd name="connsiteY210" fmla="*/ 395984 h 662520"/>
              <a:gd name="connsiteX211" fmla="*/ 2319616 w 2528582"/>
              <a:gd name="connsiteY211" fmla="*/ 336067 h 662520"/>
              <a:gd name="connsiteX212" fmla="*/ 2322855 w 2528582"/>
              <a:gd name="connsiteY212" fmla="*/ 276826 h 662520"/>
              <a:gd name="connsiteX213" fmla="*/ 2332217 w 2528582"/>
              <a:gd name="connsiteY213" fmla="*/ 223488 h 662520"/>
              <a:gd name="connsiteX214" fmla="*/ 2347169 w 2528582"/>
              <a:gd name="connsiteY214" fmla="*/ 175997 h 662520"/>
              <a:gd name="connsiteX215" fmla="*/ 2367177 w 2528582"/>
              <a:gd name="connsiteY215" fmla="*/ 134299 h 662520"/>
              <a:gd name="connsiteX0" fmla="*/ 74231 w 2490620"/>
              <a:gd name="connsiteY0" fmla="*/ 662482 h 662520"/>
              <a:gd name="connsiteX1" fmla="*/ 60344 w 2490620"/>
              <a:gd name="connsiteY1" fmla="*/ 659582 h 662520"/>
              <a:gd name="connsiteX2" fmla="*/ 47517 w 2490620"/>
              <a:gd name="connsiteY2" fmla="*/ 656437 h 662520"/>
              <a:gd name="connsiteX3" fmla="*/ 35823 w 2490620"/>
              <a:gd name="connsiteY3" fmla="*/ 653092 h 662520"/>
              <a:gd name="connsiteX4" fmla="*/ 25336 w 2490620"/>
              <a:gd name="connsiteY4" fmla="*/ 649592 h 662520"/>
              <a:gd name="connsiteX5" fmla="*/ 25336 w 2490620"/>
              <a:gd name="connsiteY5" fmla="*/ 533196 h 662520"/>
              <a:gd name="connsiteX6" fmla="*/ 104190 w 2490620"/>
              <a:gd name="connsiteY6" fmla="*/ 533196 h 662520"/>
              <a:gd name="connsiteX7" fmla="*/ 116931 w 2490620"/>
              <a:gd name="connsiteY7" fmla="*/ 550133 h 662520"/>
              <a:gd name="connsiteX8" fmla="*/ 135043 w 2490620"/>
              <a:gd name="connsiteY8" fmla="*/ 564522 h 662520"/>
              <a:gd name="connsiteX9" fmla="*/ 160020 w 2490620"/>
              <a:gd name="connsiteY9" fmla="*/ 574514 h 662520"/>
              <a:gd name="connsiteX10" fmla="*/ 193357 w 2490620"/>
              <a:gd name="connsiteY10" fmla="*/ 578256 h 662520"/>
              <a:gd name="connsiteX11" fmla="*/ 233829 w 2490620"/>
              <a:gd name="connsiteY11" fmla="*/ 573672 h 662520"/>
              <a:gd name="connsiteX12" fmla="*/ 297105 w 2490620"/>
              <a:gd name="connsiteY12" fmla="*/ 537246 h 662520"/>
              <a:gd name="connsiteX13" fmla="*/ 320040 w 2490620"/>
              <a:gd name="connsiteY13" fmla="*/ 505568 h 662520"/>
              <a:gd name="connsiteX14" fmla="*/ 337261 w 2490620"/>
              <a:gd name="connsiteY14" fmla="*/ 465022 h 662520"/>
              <a:gd name="connsiteX15" fmla="*/ 348834 w 2490620"/>
              <a:gd name="connsiteY15" fmla="*/ 415691 h 662520"/>
              <a:gd name="connsiteX16" fmla="*/ 354825 w 2490620"/>
              <a:gd name="connsiteY16" fmla="*/ 357657 h 662520"/>
              <a:gd name="connsiteX17" fmla="*/ 325357 w 2490620"/>
              <a:gd name="connsiteY17" fmla="*/ 385098 h 662520"/>
              <a:gd name="connsiteX18" fmla="*/ 289466 w 2490620"/>
              <a:gd name="connsiteY18" fmla="*/ 406117 h 662520"/>
              <a:gd name="connsiteX19" fmla="*/ 247767 w 2490620"/>
              <a:gd name="connsiteY19" fmla="*/ 419568 h 662520"/>
              <a:gd name="connsiteX20" fmla="*/ 200875 w 2490620"/>
              <a:gd name="connsiteY20" fmla="*/ 424306 h 662520"/>
              <a:gd name="connsiteX21" fmla="*/ 153099 w 2490620"/>
              <a:gd name="connsiteY21" fmla="*/ 420031 h 662520"/>
              <a:gd name="connsiteX22" fmla="*/ 110150 w 2490620"/>
              <a:gd name="connsiteY22" fmla="*/ 407348 h 662520"/>
              <a:gd name="connsiteX23" fmla="*/ 72948 w 2490620"/>
              <a:gd name="connsiteY23" fmla="*/ 386472 h 662520"/>
              <a:gd name="connsiteX24" fmla="*/ 42412 w 2490620"/>
              <a:gd name="connsiteY24" fmla="*/ 357614 h 662520"/>
              <a:gd name="connsiteX25" fmla="*/ 19463 w 2490620"/>
              <a:gd name="connsiteY25" fmla="*/ 320990 h 662520"/>
              <a:gd name="connsiteX26" fmla="*/ 5019 w 2490620"/>
              <a:gd name="connsiteY26" fmla="*/ 276814 h 662520"/>
              <a:gd name="connsiteX27" fmla="*/ 0 w 2490620"/>
              <a:gd name="connsiteY27" fmla="*/ 225297 h 662520"/>
              <a:gd name="connsiteX28" fmla="*/ 4447 w 2490620"/>
              <a:gd name="connsiteY28" fmla="*/ 178425 h 662520"/>
              <a:gd name="connsiteX29" fmla="*/ 17453 w 2490620"/>
              <a:gd name="connsiteY29" fmla="*/ 135445 h 662520"/>
              <a:gd name="connsiteX30" fmla="*/ 38511 w 2490620"/>
              <a:gd name="connsiteY30" fmla="*/ 97085 h 662520"/>
              <a:gd name="connsiteX31" fmla="*/ 67116 w 2490620"/>
              <a:gd name="connsiteY31" fmla="*/ 64071 h 662520"/>
              <a:gd name="connsiteX32" fmla="*/ 102760 w 2490620"/>
              <a:gd name="connsiteY32" fmla="*/ 37129 h 662520"/>
              <a:gd name="connsiteX33" fmla="*/ 144939 w 2490620"/>
              <a:gd name="connsiteY33" fmla="*/ 16986 h 662520"/>
              <a:gd name="connsiteX34" fmla="*/ 193146 w 2490620"/>
              <a:gd name="connsiteY34" fmla="*/ 4367 h 662520"/>
              <a:gd name="connsiteX35" fmla="*/ 246875 w 2490620"/>
              <a:gd name="connsiteY35" fmla="*/ 0 h 662520"/>
              <a:gd name="connsiteX36" fmla="*/ 290625 w 2490620"/>
              <a:gd name="connsiteY36" fmla="*/ 2882 h 662520"/>
              <a:gd name="connsiteX37" fmla="*/ 331492 w 2490620"/>
              <a:gd name="connsiteY37" fmla="*/ 11678 h 662520"/>
              <a:gd name="connsiteX38" fmla="*/ 369070 w 2490620"/>
              <a:gd name="connsiteY38" fmla="*/ 26614 h 662520"/>
              <a:gd name="connsiteX39" fmla="*/ 402953 w 2490620"/>
              <a:gd name="connsiteY39" fmla="*/ 47914 h 662520"/>
              <a:gd name="connsiteX40" fmla="*/ 432736 w 2490620"/>
              <a:gd name="connsiteY40" fmla="*/ 75804 h 662520"/>
              <a:gd name="connsiteX41" fmla="*/ 458013 w 2490620"/>
              <a:gd name="connsiteY41" fmla="*/ 110509 h 662520"/>
              <a:gd name="connsiteX42" fmla="*/ 478379 w 2490620"/>
              <a:gd name="connsiteY42" fmla="*/ 152255 h 662520"/>
              <a:gd name="connsiteX43" fmla="*/ 493429 w 2490620"/>
              <a:gd name="connsiteY43" fmla="*/ 201265 h 662520"/>
              <a:gd name="connsiteX44" fmla="*/ 502756 w 2490620"/>
              <a:gd name="connsiteY44" fmla="*/ 257766 h 662520"/>
              <a:gd name="connsiteX45" fmla="*/ 505955 w 2490620"/>
              <a:gd name="connsiteY45" fmla="*/ 321983 h 662520"/>
              <a:gd name="connsiteX46" fmla="*/ 503406 w 2490620"/>
              <a:gd name="connsiteY46" fmla="*/ 376707 h 662520"/>
              <a:gd name="connsiteX47" fmla="*/ 495858 w 2490620"/>
              <a:gd name="connsiteY47" fmla="*/ 427041 h 662520"/>
              <a:gd name="connsiteX48" fmla="*/ 483456 w 2490620"/>
              <a:gd name="connsiteY48" fmla="*/ 472909 h 662520"/>
              <a:gd name="connsiteX49" fmla="*/ 466346 w 2490620"/>
              <a:gd name="connsiteY49" fmla="*/ 514232 h 662520"/>
              <a:gd name="connsiteX50" fmla="*/ 444674 w 2490620"/>
              <a:gd name="connsiteY50" fmla="*/ 550937 h 662520"/>
              <a:gd name="connsiteX51" fmla="*/ 418587 w 2490620"/>
              <a:gd name="connsiteY51" fmla="*/ 582945 h 662520"/>
              <a:gd name="connsiteX52" fmla="*/ 388229 w 2490620"/>
              <a:gd name="connsiteY52" fmla="*/ 610181 h 662520"/>
              <a:gd name="connsiteX53" fmla="*/ 353748 w 2490620"/>
              <a:gd name="connsiteY53" fmla="*/ 632569 h 662520"/>
              <a:gd name="connsiteX54" fmla="*/ 315289 w 2490620"/>
              <a:gd name="connsiteY54" fmla="*/ 650033 h 662520"/>
              <a:gd name="connsiteX55" fmla="*/ 272999 w 2490620"/>
              <a:gd name="connsiteY55" fmla="*/ 662495 h 662520"/>
              <a:gd name="connsiteX56" fmla="*/ 592162 w 2490620"/>
              <a:gd name="connsiteY56" fmla="*/ 662520 h 662520"/>
              <a:gd name="connsiteX57" fmla="*/ 571167 w 2490620"/>
              <a:gd name="connsiteY57" fmla="*/ 658030 h 662520"/>
              <a:gd name="connsiteX58" fmla="*/ 551373 w 2490620"/>
              <a:gd name="connsiteY58" fmla="*/ 652783 h 662520"/>
              <a:gd name="connsiteX59" fmla="*/ 532537 w 2490620"/>
              <a:gd name="connsiteY59" fmla="*/ 646826 h 662520"/>
              <a:gd name="connsiteX60" fmla="*/ 514413 w 2490620"/>
              <a:gd name="connsiteY60" fmla="*/ 640206 h 662520"/>
              <a:gd name="connsiteX61" fmla="*/ 514413 w 2490620"/>
              <a:gd name="connsiteY61" fmla="*/ 516293 h 662520"/>
              <a:gd name="connsiteX62" fmla="*/ 596087 w 2490620"/>
              <a:gd name="connsiteY62" fmla="*/ 516293 h 662520"/>
              <a:gd name="connsiteX63" fmla="*/ 612203 w 2490620"/>
              <a:gd name="connsiteY63" fmla="*/ 539439 h 662520"/>
              <a:gd name="connsiteX64" fmla="*/ 635627 w 2490620"/>
              <a:gd name="connsiteY64" fmla="*/ 559242 h 662520"/>
              <a:gd name="connsiteX65" fmla="*/ 666972 w 2490620"/>
              <a:gd name="connsiteY65" fmla="*/ 573062 h 662520"/>
              <a:gd name="connsiteX66" fmla="*/ 706856 w 2490620"/>
              <a:gd name="connsiteY66" fmla="*/ 578256 h 662520"/>
              <a:gd name="connsiteX67" fmla="*/ 749359 w 2490620"/>
              <a:gd name="connsiteY67" fmla="*/ 571758 h 662520"/>
              <a:gd name="connsiteX68" fmla="*/ 784298 w 2490620"/>
              <a:gd name="connsiteY68" fmla="*/ 552322 h 662520"/>
              <a:gd name="connsiteX69" fmla="*/ 807972 w 2490620"/>
              <a:gd name="connsiteY69" fmla="*/ 520038 h 662520"/>
              <a:gd name="connsiteX70" fmla="*/ 816686 w 2490620"/>
              <a:gd name="connsiteY70" fmla="*/ 474992 h 662520"/>
              <a:gd name="connsiteX71" fmla="*/ 809424 w 2490620"/>
              <a:gd name="connsiteY71" fmla="*/ 430240 h 662520"/>
              <a:gd name="connsiteX72" fmla="*/ 787466 w 2490620"/>
              <a:gd name="connsiteY72" fmla="*/ 398602 h 662520"/>
              <a:gd name="connsiteX73" fmla="*/ 750549 w 2490620"/>
              <a:gd name="connsiteY73" fmla="*/ 379812 h 662520"/>
              <a:gd name="connsiteX74" fmla="*/ 698411 w 2490620"/>
              <a:gd name="connsiteY74" fmla="*/ 373608 h 662520"/>
              <a:gd name="connsiteX75" fmla="*/ 649592 w 2490620"/>
              <a:gd name="connsiteY75" fmla="*/ 373608 h 662520"/>
              <a:gd name="connsiteX76" fmla="*/ 649592 w 2490620"/>
              <a:gd name="connsiteY76" fmla="*/ 286308 h 662520"/>
              <a:gd name="connsiteX77" fmla="*/ 690892 w 2490620"/>
              <a:gd name="connsiteY77" fmla="*/ 286308 h 662520"/>
              <a:gd name="connsiteX78" fmla="*/ 744563 w 2490620"/>
              <a:gd name="connsiteY78" fmla="*/ 280133 h 662520"/>
              <a:gd name="connsiteX79" fmla="*/ 783007 w 2490620"/>
              <a:gd name="connsiteY79" fmla="*/ 261550 h 662520"/>
              <a:gd name="connsiteX80" fmla="*/ 806137 w 2490620"/>
              <a:gd name="connsiteY80" fmla="*/ 230469 h 662520"/>
              <a:gd name="connsiteX81" fmla="*/ 813866 w 2490620"/>
              <a:gd name="connsiteY81" fmla="*/ 186804 h 662520"/>
              <a:gd name="connsiteX82" fmla="*/ 808513 w 2490620"/>
              <a:gd name="connsiteY82" fmla="*/ 149115 h 662520"/>
              <a:gd name="connsiteX83" fmla="*/ 792160 w 2490620"/>
              <a:gd name="connsiteY83" fmla="*/ 121104 h 662520"/>
              <a:gd name="connsiteX84" fmla="*/ 764365 w 2490620"/>
              <a:gd name="connsiteY84" fmla="*/ 103651 h 662520"/>
              <a:gd name="connsiteX85" fmla="*/ 724687 w 2490620"/>
              <a:gd name="connsiteY85" fmla="*/ 97637 h 662520"/>
              <a:gd name="connsiteX86" fmla="*/ 687243 w 2490620"/>
              <a:gd name="connsiteY86" fmla="*/ 102374 h 662520"/>
              <a:gd name="connsiteX87" fmla="*/ 657456 w 2490620"/>
              <a:gd name="connsiteY87" fmla="*/ 115117 h 662520"/>
              <a:gd name="connsiteX88" fmla="*/ 634533 w 2490620"/>
              <a:gd name="connsiteY88" fmla="*/ 133668 h 662520"/>
              <a:gd name="connsiteX89" fmla="*/ 617677 w 2490620"/>
              <a:gd name="connsiteY89" fmla="*/ 155828 h 662520"/>
              <a:gd name="connsiteX90" fmla="*/ 539775 w 2490620"/>
              <a:gd name="connsiteY90" fmla="*/ 155828 h 662520"/>
              <a:gd name="connsiteX91" fmla="*/ 539775 w 2490620"/>
              <a:gd name="connsiteY91" fmla="*/ 33807 h 662520"/>
              <a:gd name="connsiteX92" fmla="*/ 584006 w 2490620"/>
              <a:gd name="connsiteY92" fmla="*/ 19813 h 662520"/>
              <a:gd name="connsiteX93" fmla="*/ 631056 w 2490620"/>
              <a:gd name="connsiteY93" fmla="*/ 9159 h 662520"/>
              <a:gd name="connsiteX94" fmla="*/ 681278 w 2490620"/>
              <a:gd name="connsiteY94" fmla="*/ 2378 h 662520"/>
              <a:gd name="connsiteX95" fmla="*/ 735025 w 2490620"/>
              <a:gd name="connsiteY95" fmla="*/ 0 h 662520"/>
              <a:gd name="connsiteX96" fmla="*/ 790395 w 2490620"/>
              <a:gd name="connsiteY96" fmla="*/ 3158 h 662520"/>
              <a:gd name="connsiteX97" fmla="*/ 838689 w 2490620"/>
              <a:gd name="connsiteY97" fmla="*/ 12853 h 662520"/>
              <a:gd name="connsiteX98" fmla="*/ 879380 w 2490620"/>
              <a:gd name="connsiteY98" fmla="*/ 29412 h 662520"/>
              <a:gd name="connsiteX99" fmla="*/ 911943 w 2490620"/>
              <a:gd name="connsiteY99" fmla="*/ 53163 h 662520"/>
              <a:gd name="connsiteX100" fmla="*/ 935853 w 2490620"/>
              <a:gd name="connsiteY100" fmla="*/ 84435 h 662520"/>
              <a:gd name="connsiteX101" fmla="*/ 950584 w 2490620"/>
              <a:gd name="connsiteY101" fmla="*/ 123555 h 662520"/>
              <a:gd name="connsiteX102" fmla="*/ 955611 w 2490620"/>
              <a:gd name="connsiteY102" fmla="*/ 170853 h 662520"/>
              <a:gd name="connsiteX103" fmla="*/ 949453 w 2490620"/>
              <a:gd name="connsiteY103" fmla="*/ 219568 h 662520"/>
              <a:gd name="connsiteX104" fmla="*/ 931581 w 2490620"/>
              <a:gd name="connsiteY104" fmla="*/ 258234 h 662520"/>
              <a:gd name="connsiteX105" fmla="*/ 902895 w 2490620"/>
              <a:gd name="connsiteY105" fmla="*/ 287843 h 662520"/>
              <a:gd name="connsiteX106" fmla="*/ 864296 w 2490620"/>
              <a:gd name="connsiteY106" fmla="*/ 309388 h 662520"/>
              <a:gd name="connsiteX107" fmla="*/ 816686 w 2490620"/>
              <a:gd name="connsiteY107" fmla="*/ 323862 h 662520"/>
              <a:gd name="connsiteX108" fmla="*/ 816686 w 2490620"/>
              <a:gd name="connsiteY108" fmla="*/ 327609 h 662520"/>
              <a:gd name="connsiteX109" fmla="*/ 870681 w 2490620"/>
              <a:gd name="connsiteY109" fmla="*/ 340566 h 662520"/>
              <a:gd name="connsiteX110" fmla="*/ 912283 w 2490620"/>
              <a:gd name="connsiteY110" fmla="*/ 362534 h 662520"/>
              <a:gd name="connsiteX111" fmla="*/ 941719 w 2490620"/>
              <a:gd name="connsiteY111" fmla="*/ 393513 h 662520"/>
              <a:gd name="connsiteX112" fmla="*/ 959215 w 2490620"/>
              <a:gd name="connsiteY112" fmla="*/ 433502 h 662520"/>
              <a:gd name="connsiteX113" fmla="*/ 964996 w 2490620"/>
              <a:gd name="connsiteY113" fmla="*/ 482498 h 662520"/>
              <a:gd name="connsiteX114" fmla="*/ 959936 w 2490620"/>
              <a:gd name="connsiteY114" fmla="*/ 527743 h 662520"/>
              <a:gd name="connsiteX115" fmla="*/ 944659 w 2490620"/>
              <a:gd name="connsiteY115" fmla="*/ 567021 h 662520"/>
              <a:gd name="connsiteX116" fmla="*/ 920122 w 2490620"/>
              <a:gd name="connsiteY116" fmla="*/ 600232 h 662520"/>
              <a:gd name="connsiteX117" fmla="*/ 887285 w 2490620"/>
              <a:gd name="connsiteY117" fmla="*/ 627278 h 662520"/>
              <a:gd name="connsiteX118" fmla="*/ 847106 w 2490620"/>
              <a:gd name="connsiteY118" fmla="*/ 648061 h 662520"/>
              <a:gd name="connsiteX119" fmla="*/ 800544 w 2490620"/>
              <a:gd name="connsiteY119" fmla="*/ 662482 h 662520"/>
              <a:gd name="connsiteX120" fmla="*/ 1360843 w 2490620"/>
              <a:gd name="connsiteY120" fmla="*/ 662495 h 662520"/>
              <a:gd name="connsiteX121" fmla="*/ 1322871 w 2490620"/>
              <a:gd name="connsiteY121" fmla="*/ 649352 h 662520"/>
              <a:gd name="connsiteX122" fmla="*/ 1287296 w 2490620"/>
              <a:gd name="connsiteY122" fmla="*/ 630560 h 662520"/>
              <a:gd name="connsiteX123" fmla="*/ 1254670 w 2490620"/>
              <a:gd name="connsiteY123" fmla="*/ 606062 h 662520"/>
              <a:gd name="connsiteX124" fmla="*/ 1225546 w 2490620"/>
              <a:gd name="connsiteY124" fmla="*/ 575802 h 662520"/>
              <a:gd name="connsiteX125" fmla="*/ 1200477 w 2490620"/>
              <a:gd name="connsiteY125" fmla="*/ 539722 h 662520"/>
              <a:gd name="connsiteX126" fmla="*/ 1180016 w 2490620"/>
              <a:gd name="connsiteY126" fmla="*/ 497766 h 662520"/>
              <a:gd name="connsiteX127" fmla="*/ 1164717 w 2490620"/>
              <a:gd name="connsiteY127" fmla="*/ 449876 h 662520"/>
              <a:gd name="connsiteX128" fmla="*/ 1155131 w 2490620"/>
              <a:gd name="connsiteY128" fmla="*/ 395995 h 662520"/>
              <a:gd name="connsiteX129" fmla="*/ 1151813 w 2490620"/>
              <a:gd name="connsiteY129" fmla="*/ 336067 h 662520"/>
              <a:gd name="connsiteX130" fmla="*/ 1155053 w 2490620"/>
              <a:gd name="connsiteY130" fmla="*/ 276826 h 662520"/>
              <a:gd name="connsiteX131" fmla="*/ 1164415 w 2490620"/>
              <a:gd name="connsiteY131" fmla="*/ 223488 h 662520"/>
              <a:gd name="connsiteX132" fmla="*/ 1179368 w 2490620"/>
              <a:gd name="connsiteY132" fmla="*/ 175997 h 662520"/>
              <a:gd name="connsiteX133" fmla="*/ 1199377 w 2490620"/>
              <a:gd name="connsiteY133" fmla="*/ 134299 h 662520"/>
              <a:gd name="connsiteX134" fmla="*/ 1223910 w 2490620"/>
              <a:gd name="connsiteY134" fmla="*/ 98339 h 662520"/>
              <a:gd name="connsiteX135" fmla="*/ 1252434 w 2490620"/>
              <a:gd name="connsiteY135" fmla="*/ 68062 h 662520"/>
              <a:gd name="connsiteX136" fmla="*/ 1284414 w 2490620"/>
              <a:gd name="connsiteY136" fmla="*/ 43413 h 662520"/>
              <a:gd name="connsiteX137" fmla="*/ 1319318 w 2490620"/>
              <a:gd name="connsiteY137" fmla="*/ 24337 h 662520"/>
              <a:gd name="connsiteX138" fmla="*/ 1356613 w 2490620"/>
              <a:gd name="connsiteY138" fmla="*/ 10780 h 662520"/>
              <a:gd name="connsiteX139" fmla="*/ 1395766 w 2490620"/>
              <a:gd name="connsiteY139" fmla="*/ 2685 h 662520"/>
              <a:gd name="connsiteX140" fmla="*/ 1436243 w 2490620"/>
              <a:gd name="connsiteY140" fmla="*/ 0 h 662520"/>
              <a:gd name="connsiteX141" fmla="*/ 1476722 w 2490620"/>
              <a:gd name="connsiteY141" fmla="*/ 2685 h 662520"/>
              <a:gd name="connsiteX142" fmla="*/ 1515876 w 2490620"/>
              <a:gd name="connsiteY142" fmla="*/ 10780 h 662520"/>
              <a:gd name="connsiteX143" fmla="*/ 1553172 w 2490620"/>
              <a:gd name="connsiteY143" fmla="*/ 24337 h 662520"/>
              <a:gd name="connsiteX144" fmla="*/ 1588076 w 2490620"/>
              <a:gd name="connsiteY144" fmla="*/ 43413 h 662520"/>
              <a:gd name="connsiteX145" fmla="*/ 1620056 w 2490620"/>
              <a:gd name="connsiteY145" fmla="*/ 68062 h 662520"/>
              <a:gd name="connsiteX146" fmla="*/ 1648579 w 2490620"/>
              <a:gd name="connsiteY146" fmla="*/ 98339 h 662520"/>
              <a:gd name="connsiteX147" fmla="*/ 1673111 w 2490620"/>
              <a:gd name="connsiteY147" fmla="*/ 134299 h 662520"/>
              <a:gd name="connsiteX148" fmla="*/ 1693119 w 2490620"/>
              <a:gd name="connsiteY148" fmla="*/ 175997 h 662520"/>
              <a:gd name="connsiteX149" fmla="*/ 1708071 w 2490620"/>
              <a:gd name="connsiteY149" fmla="*/ 223488 h 662520"/>
              <a:gd name="connsiteX150" fmla="*/ 1717433 w 2490620"/>
              <a:gd name="connsiteY150" fmla="*/ 276826 h 662520"/>
              <a:gd name="connsiteX151" fmla="*/ 1720672 w 2490620"/>
              <a:gd name="connsiteY151" fmla="*/ 336067 h 662520"/>
              <a:gd name="connsiteX152" fmla="*/ 1717354 w 2490620"/>
              <a:gd name="connsiteY152" fmla="*/ 395995 h 662520"/>
              <a:gd name="connsiteX153" fmla="*/ 1707768 w 2490620"/>
              <a:gd name="connsiteY153" fmla="*/ 449876 h 662520"/>
              <a:gd name="connsiteX154" fmla="*/ 1692469 w 2490620"/>
              <a:gd name="connsiteY154" fmla="*/ 497766 h 662520"/>
              <a:gd name="connsiteX155" fmla="*/ 1672008 w 2490620"/>
              <a:gd name="connsiteY155" fmla="*/ 539722 h 662520"/>
              <a:gd name="connsiteX156" fmla="*/ 1646939 w 2490620"/>
              <a:gd name="connsiteY156" fmla="*/ 575802 h 662520"/>
              <a:gd name="connsiteX157" fmla="*/ 1617815 w 2490620"/>
              <a:gd name="connsiteY157" fmla="*/ 606062 h 662520"/>
              <a:gd name="connsiteX158" fmla="*/ 1585189 w 2490620"/>
              <a:gd name="connsiteY158" fmla="*/ 630560 h 662520"/>
              <a:gd name="connsiteX159" fmla="*/ 1549614 w 2490620"/>
              <a:gd name="connsiteY159" fmla="*/ 649352 h 662520"/>
              <a:gd name="connsiteX160" fmla="*/ 1511642 w 2490620"/>
              <a:gd name="connsiteY160" fmla="*/ 662495 h 662520"/>
              <a:gd name="connsiteX161" fmla="*/ 1943430 w 2490620"/>
              <a:gd name="connsiteY161" fmla="*/ 662495 h 662520"/>
              <a:gd name="connsiteX162" fmla="*/ 1905459 w 2490620"/>
              <a:gd name="connsiteY162" fmla="*/ 649348 h 662520"/>
              <a:gd name="connsiteX163" fmla="*/ 1869885 w 2490620"/>
              <a:gd name="connsiteY163" fmla="*/ 630555 h 662520"/>
              <a:gd name="connsiteX164" fmla="*/ 1837261 w 2490620"/>
              <a:gd name="connsiteY164" fmla="*/ 606057 h 662520"/>
              <a:gd name="connsiteX165" fmla="*/ 1808138 w 2490620"/>
              <a:gd name="connsiteY165" fmla="*/ 575797 h 662520"/>
              <a:gd name="connsiteX166" fmla="*/ 1783072 w 2490620"/>
              <a:gd name="connsiteY166" fmla="*/ 539718 h 662520"/>
              <a:gd name="connsiteX167" fmla="*/ 1762613 w 2490620"/>
              <a:gd name="connsiteY167" fmla="*/ 497763 h 662520"/>
              <a:gd name="connsiteX168" fmla="*/ 1747315 w 2490620"/>
              <a:gd name="connsiteY168" fmla="*/ 449874 h 662520"/>
              <a:gd name="connsiteX169" fmla="*/ 1737731 w 2490620"/>
              <a:gd name="connsiteY169" fmla="*/ 395995 h 662520"/>
              <a:gd name="connsiteX170" fmla="*/ 1734413 w 2490620"/>
              <a:gd name="connsiteY170" fmla="*/ 336067 h 662520"/>
              <a:gd name="connsiteX171" fmla="*/ 1737652 w 2490620"/>
              <a:gd name="connsiteY171" fmla="*/ 276826 h 662520"/>
              <a:gd name="connsiteX172" fmla="*/ 1747014 w 2490620"/>
              <a:gd name="connsiteY172" fmla="*/ 223488 h 662520"/>
              <a:gd name="connsiteX173" fmla="*/ 1761965 w 2490620"/>
              <a:gd name="connsiteY173" fmla="*/ 175997 h 662520"/>
              <a:gd name="connsiteX174" fmla="*/ 1781973 w 2490620"/>
              <a:gd name="connsiteY174" fmla="*/ 134299 h 662520"/>
              <a:gd name="connsiteX175" fmla="*/ 1806505 w 2490620"/>
              <a:gd name="connsiteY175" fmla="*/ 98339 h 662520"/>
              <a:gd name="connsiteX176" fmla="*/ 1835026 w 2490620"/>
              <a:gd name="connsiteY176" fmla="*/ 68062 h 662520"/>
              <a:gd name="connsiteX177" fmla="*/ 1867005 w 2490620"/>
              <a:gd name="connsiteY177" fmla="*/ 43413 h 662520"/>
              <a:gd name="connsiteX178" fmla="*/ 1901908 w 2490620"/>
              <a:gd name="connsiteY178" fmla="*/ 24337 h 662520"/>
              <a:gd name="connsiteX179" fmla="*/ 1939202 w 2490620"/>
              <a:gd name="connsiteY179" fmla="*/ 10780 h 662520"/>
              <a:gd name="connsiteX180" fmla="*/ 1978353 w 2490620"/>
              <a:gd name="connsiteY180" fmla="*/ 2685 h 662520"/>
              <a:gd name="connsiteX181" fmla="*/ 2018830 w 2490620"/>
              <a:gd name="connsiteY181" fmla="*/ 0 h 662520"/>
              <a:gd name="connsiteX182" fmla="*/ 2059309 w 2490620"/>
              <a:gd name="connsiteY182" fmla="*/ 2685 h 662520"/>
              <a:gd name="connsiteX183" fmla="*/ 2098463 w 2490620"/>
              <a:gd name="connsiteY183" fmla="*/ 10780 h 662520"/>
              <a:gd name="connsiteX184" fmla="*/ 2135759 w 2490620"/>
              <a:gd name="connsiteY184" fmla="*/ 24337 h 662520"/>
              <a:gd name="connsiteX185" fmla="*/ 2170664 w 2490620"/>
              <a:gd name="connsiteY185" fmla="*/ 43413 h 662520"/>
              <a:gd name="connsiteX186" fmla="*/ 2202644 w 2490620"/>
              <a:gd name="connsiteY186" fmla="*/ 68062 h 662520"/>
              <a:gd name="connsiteX187" fmla="*/ 2231166 w 2490620"/>
              <a:gd name="connsiteY187" fmla="*/ 98339 h 662520"/>
              <a:gd name="connsiteX188" fmla="*/ 2255698 w 2490620"/>
              <a:gd name="connsiteY188" fmla="*/ 134299 h 662520"/>
              <a:gd name="connsiteX189" fmla="*/ 2275706 w 2490620"/>
              <a:gd name="connsiteY189" fmla="*/ 175997 h 662520"/>
              <a:gd name="connsiteX190" fmla="*/ 2290658 w 2490620"/>
              <a:gd name="connsiteY190" fmla="*/ 223488 h 662520"/>
              <a:gd name="connsiteX191" fmla="*/ 2300020 w 2490620"/>
              <a:gd name="connsiteY191" fmla="*/ 276826 h 662520"/>
              <a:gd name="connsiteX192" fmla="*/ 2303259 w 2490620"/>
              <a:gd name="connsiteY192" fmla="*/ 336067 h 662520"/>
              <a:gd name="connsiteX193" fmla="*/ 2299941 w 2490620"/>
              <a:gd name="connsiteY193" fmla="*/ 395991 h 662520"/>
              <a:gd name="connsiteX194" fmla="*/ 2290357 w 2490620"/>
              <a:gd name="connsiteY194" fmla="*/ 449869 h 662520"/>
              <a:gd name="connsiteX195" fmla="*/ 2275059 w 2490620"/>
              <a:gd name="connsiteY195" fmla="*/ 497757 h 662520"/>
              <a:gd name="connsiteX196" fmla="*/ 2254600 w 2490620"/>
              <a:gd name="connsiteY196" fmla="*/ 539713 h 662520"/>
              <a:gd name="connsiteX197" fmla="*/ 2229533 w 2490620"/>
              <a:gd name="connsiteY197" fmla="*/ 575793 h 662520"/>
              <a:gd name="connsiteX198" fmla="*/ 2200411 w 2490620"/>
              <a:gd name="connsiteY198" fmla="*/ 606054 h 662520"/>
              <a:gd name="connsiteX199" fmla="*/ 2167787 w 2490620"/>
              <a:gd name="connsiteY199" fmla="*/ 630553 h 662520"/>
              <a:gd name="connsiteX200" fmla="*/ 2132213 w 2490620"/>
              <a:gd name="connsiteY200" fmla="*/ 649348 h 662520"/>
              <a:gd name="connsiteX201" fmla="*/ 2094242 w 2490620"/>
              <a:gd name="connsiteY201" fmla="*/ 662495 h 662520"/>
              <a:gd name="connsiteX202" fmla="*/ 2490620 w 2490620"/>
              <a:gd name="connsiteY202" fmla="*/ 649332 h 662520"/>
              <a:gd name="connsiteX203" fmla="*/ 2455053 w 2490620"/>
              <a:gd name="connsiteY203" fmla="*/ 630534 h 662520"/>
              <a:gd name="connsiteX204" fmla="*/ 2422435 w 2490620"/>
              <a:gd name="connsiteY204" fmla="*/ 606033 h 662520"/>
              <a:gd name="connsiteX205" fmla="*/ 2393318 w 2490620"/>
              <a:gd name="connsiteY205" fmla="*/ 575772 h 662520"/>
              <a:gd name="connsiteX206" fmla="*/ 2368257 w 2490620"/>
              <a:gd name="connsiteY206" fmla="*/ 539693 h 662520"/>
              <a:gd name="connsiteX207" fmla="*/ 2347803 w 2490620"/>
              <a:gd name="connsiteY207" fmla="*/ 497740 h 662520"/>
              <a:gd name="connsiteX208" fmla="*/ 2332510 w 2490620"/>
              <a:gd name="connsiteY208" fmla="*/ 449856 h 662520"/>
              <a:gd name="connsiteX209" fmla="*/ 2322930 w 2490620"/>
              <a:gd name="connsiteY209" fmla="*/ 395984 h 662520"/>
              <a:gd name="connsiteX210" fmla="*/ 2319616 w 2490620"/>
              <a:gd name="connsiteY210" fmla="*/ 336067 h 662520"/>
              <a:gd name="connsiteX211" fmla="*/ 2322855 w 2490620"/>
              <a:gd name="connsiteY211" fmla="*/ 276826 h 662520"/>
              <a:gd name="connsiteX212" fmla="*/ 2332217 w 2490620"/>
              <a:gd name="connsiteY212" fmla="*/ 223488 h 662520"/>
              <a:gd name="connsiteX213" fmla="*/ 2347169 w 2490620"/>
              <a:gd name="connsiteY213" fmla="*/ 175997 h 662520"/>
              <a:gd name="connsiteX214" fmla="*/ 2367177 w 2490620"/>
              <a:gd name="connsiteY214" fmla="*/ 134299 h 662520"/>
              <a:gd name="connsiteX0" fmla="*/ 74231 w 2455053"/>
              <a:gd name="connsiteY0" fmla="*/ 662482 h 662520"/>
              <a:gd name="connsiteX1" fmla="*/ 60344 w 2455053"/>
              <a:gd name="connsiteY1" fmla="*/ 659582 h 662520"/>
              <a:gd name="connsiteX2" fmla="*/ 47517 w 2455053"/>
              <a:gd name="connsiteY2" fmla="*/ 656437 h 662520"/>
              <a:gd name="connsiteX3" fmla="*/ 35823 w 2455053"/>
              <a:gd name="connsiteY3" fmla="*/ 653092 h 662520"/>
              <a:gd name="connsiteX4" fmla="*/ 25336 w 2455053"/>
              <a:gd name="connsiteY4" fmla="*/ 649592 h 662520"/>
              <a:gd name="connsiteX5" fmla="*/ 25336 w 2455053"/>
              <a:gd name="connsiteY5" fmla="*/ 533196 h 662520"/>
              <a:gd name="connsiteX6" fmla="*/ 104190 w 2455053"/>
              <a:gd name="connsiteY6" fmla="*/ 533196 h 662520"/>
              <a:gd name="connsiteX7" fmla="*/ 116931 w 2455053"/>
              <a:gd name="connsiteY7" fmla="*/ 550133 h 662520"/>
              <a:gd name="connsiteX8" fmla="*/ 135043 w 2455053"/>
              <a:gd name="connsiteY8" fmla="*/ 564522 h 662520"/>
              <a:gd name="connsiteX9" fmla="*/ 160020 w 2455053"/>
              <a:gd name="connsiteY9" fmla="*/ 574514 h 662520"/>
              <a:gd name="connsiteX10" fmla="*/ 193357 w 2455053"/>
              <a:gd name="connsiteY10" fmla="*/ 578256 h 662520"/>
              <a:gd name="connsiteX11" fmla="*/ 233829 w 2455053"/>
              <a:gd name="connsiteY11" fmla="*/ 573672 h 662520"/>
              <a:gd name="connsiteX12" fmla="*/ 297105 w 2455053"/>
              <a:gd name="connsiteY12" fmla="*/ 537246 h 662520"/>
              <a:gd name="connsiteX13" fmla="*/ 320040 w 2455053"/>
              <a:gd name="connsiteY13" fmla="*/ 505568 h 662520"/>
              <a:gd name="connsiteX14" fmla="*/ 337261 w 2455053"/>
              <a:gd name="connsiteY14" fmla="*/ 465022 h 662520"/>
              <a:gd name="connsiteX15" fmla="*/ 348834 w 2455053"/>
              <a:gd name="connsiteY15" fmla="*/ 415691 h 662520"/>
              <a:gd name="connsiteX16" fmla="*/ 354825 w 2455053"/>
              <a:gd name="connsiteY16" fmla="*/ 357657 h 662520"/>
              <a:gd name="connsiteX17" fmla="*/ 325357 w 2455053"/>
              <a:gd name="connsiteY17" fmla="*/ 385098 h 662520"/>
              <a:gd name="connsiteX18" fmla="*/ 289466 w 2455053"/>
              <a:gd name="connsiteY18" fmla="*/ 406117 h 662520"/>
              <a:gd name="connsiteX19" fmla="*/ 247767 w 2455053"/>
              <a:gd name="connsiteY19" fmla="*/ 419568 h 662520"/>
              <a:gd name="connsiteX20" fmla="*/ 200875 w 2455053"/>
              <a:gd name="connsiteY20" fmla="*/ 424306 h 662520"/>
              <a:gd name="connsiteX21" fmla="*/ 153099 w 2455053"/>
              <a:gd name="connsiteY21" fmla="*/ 420031 h 662520"/>
              <a:gd name="connsiteX22" fmla="*/ 110150 w 2455053"/>
              <a:gd name="connsiteY22" fmla="*/ 407348 h 662520"/>
              <a:gd name="connsiteX23" fmla="*/ 72948 w 2455053"/>
              <a:gd name="connsiteY23" fmla="*/ 386472 h 662520"/>
              <a:gd name="connsiteX24" fmla="*/ 42412 w 2455053"/>
              <a:gd name="connsiteY24" fmla="*/ 357614 h 662520"/>
              <a:gd name="connsiteX25" fmla="*/ 19463 w 2455053"/>
              <a:gd name="connsiteY25" fmla="*/ 320990 h 662520"/>
              <a:gd name="connsiteX26" fmla="*/ 5019 w 2455053"/>
              <a:gd name="connsiteY26" fmla="*/ 276814 h 662520"/>
              <a:gd name="connsiteX27" fmla="*/ 0 w 2455053"/>
              <a:gd name="connsiteY27" fmla="*/ 225297 h 662520"/>
              <a:gd name="connsiteX28" fmla="*/ 4447 w 2455053"/>
              <a:gd name="connsiteY28" fmla="*/ 178425 h 662520"/>
              <a:gd name="connsiteX29" fmla="*/ 17453 w 2455053"/>
              <a:gd name="connsiteY29" fmla="*/ 135445 h 662520"/>
              <a:gd name="connsiteX30" fmla="*/ 38511 w 2455053"/>
              <a:gd name="connsiteY30" fmla="*/ 97085 h 662520"/>
              <a:gd name="connsiteX31" fmla="*/ 67116 w 2455053"/>
              <a:gd name="connsiteY31" fmla="*/ 64071 h 662520"/>
              <a:gd name="connsiteX32" fmla="*/ 102760 w 2455053"/>
              <a:gd name="connsiteY32" fmla="*/ 37129 h 662520"/>
              <a:gd name="connsiteX33" fmla="*/ 144939 w 2455053"/>
              <a:gd name="connsiteY33" fmla="*/ 16986 h 662520"/>
              <a:gd name="connsiteX34" fmla="*/ 193146 w 2455053"/>
              <a:gd name="connsiteY34" fmla="*/ 4367 h 662520"/>
              <a:gd name="connsiteX35" fmla="*/ 246875 w 2455053"/>
              <a:gd name="connsiteY35" fmla="*/ 0 h 662520"/>
              <a:gd name="connsiteX36" fmla="*/ 290625 w 2455053"/>
              <a:gd name="connsiteY36" fmla="*/ 2882 h 662520"/>
              <a:gd name="connsiteX37" fmla="*/ 331492 w 2455053"/>
              <a:gd name="connsiteY37" fmla="*/ 11678 h 662520"/>
              <a:gd name="connsiteX38" fmla="*/ 369070 w 2455053"/>
              <a:gd name="connsiteY38" fmla="*/ 26614 h 662520"/>
              <a:gd name="connsiteX39" fmla="*/ 402953 w 2455053"/>
              <a:gd name="connsiteY39" fmla="*/ 47914 h 662520"/>
              <a:gd name="connsiteX40" fmla="*/ 432736 w 2455053"/>
              <a:gd name="connsiteY40" fmla="*/ 75804 h 662520"/>
              <a:gd name="connsiteX41" fmla="*/ 458013 w 2455053"/>
              <a:gd name="connsiteY41" fmla="*/ 110509 h 662520"/>
              <a:gd name="connsiteX42" fmla="*/ 478379 w 2455053"/>
              <a:gd name="connsiteY42" fmla="*/ 152255 h 662520"/>
              <a:gd name="connsiteX43" fmla="*/ 493429 w 2455053"/>
              <a:gd name="connsiteY43" fmla="*/ 201265 h 662520"/>
              <a:gd name="connsiteX44" fmla="*/ 502756 w 2455053"/>
              <a:gd name="connsiteY44" fmla="*/ 257766 h 662520"/>
              <a:gd name="connsiteX45" fmla="*/ 505955 w 2455053"/>
              <a:gd name="connsiteY45" fmla="*/ 321983 h 662520"/>
              <a:gd name="connsiteX46" fmla="*/ 503406 w 2455053"/>
              <a:gd name="connsiteY46" fmla="*/ 376707 h 662520"/>
              <a:gd name="connsiteX47" fmla="*/ 495858 w 2455053"/>
              <a:gd name="connsiteY47" fmla="*/ 427041 h 662520"/>
              <a:gd name="connsiteX48" fmla="*/ 483456 w 2455053"/>
              <a:gd name="connsiteY48" fmla="*/ 472909 h 662520"/>
              <a:gd name="connsiteX49" fmla="*/ 466346 w 2455053"/>
              <a:gd name="connsiteY49" fmla="*/ 514232 h 662520"/>
              <a:gd name="connsiteX50" fmla="*/ 444674 w 2455053"/>
              <a:gd name="connsiteY50" fmla="*/ 550937 h 662520"/>
              <a:gd name="connsiteX51" fmla="*/ 418587 w 2455053"/>
              <a:gd name="connsiteY51" fmla="*/ 582945 h 662520"/>
              <a:gd name="connsiteX52" fmla="*/ 388229 w 2455053"/>
              <a:gd name="connsiteY52" fmla="*/ 610181 h 662520"/>
              <a:gd name="connsiteX53" fmla="*/ 353748 w 2455053"/>
              <a:gd name="connsiteY53" fmla="*/ 632569 h 662520"/>
              <a:gd name="connsiteX54" fmla="*/ 315289 w 2455053"/>
              <a:gd name="connsiteY54" fmla="*/ 650033 h 662520"/>
              <a:gd name="connsiteX55" fmla="*/ 272999 w 2455053"/>
              <a:gd name="connsiteY55" fmla="*/ 662495 h 662520"/>
              <a:gd name="connsiteX56" fmla="*/ 592162 w 2455053"/>
              <a:gd name="connsiteY56" fmla="*/ 662520 h 662520"/>
              <a:gd name="connsiteX57" fmla="*/ 571167 w 2455053"/>
              <a:gd name="connsiteY57" fmla="*/ 658030 h 662520"/>
              <a:gd name="connsiteX58" fmla="*/ 551373 w 2455053"/>
              <a:gd name="connsiteY58" fmla="*/ 652783 h 662520"/>
              <a:gd name="connsiteX59" fmla="*/ 532537 w 2455053"/>
              <a:gd name="connsiteY59" fmla="*/ 646826 h 662520"/>
              <a:gd name="connsiteX60" fmla="*/ 514413 w 2455053"/>
              <a:gd name="connsiteY60" fmla="*/ 640206 h 662520"/>
              <a:gd name="connsiteX61" fmla="*/ 514413 w 2455053"/>
              <a:gd name="connsiteY61" fmla="*/ 516293 h 662520"/>
              <a:gd name="connsiteX62" fmla="*/ 596087 w 2455053"/>
              <a:gd name="connsiteY62" fmla="*/ 516293 h 662520"/>
              <a:gd name="connsiteX63" fmla="*/ 612203 w 2455053"/>
              <a:gd name="connsiteY63" fmla="*/ 539439 h 662520"/>
              <a:gd name="connsiteX64" fmla="*/ 635627 w 2455053"/>
              <a:gd name="connsiteY64" fmla="*/ 559242 h 662520"/>
              <a:gd name="connsiteX65" fmla="*/ 666972 w 2455053"/>
              <a:gd name="connsiteY65" fmla="*/ 573062 h 662520"/>
              <a:gd name="connsiteX66" fmla="*/ 706856 w 2455053"/>
              <a:gd name="connsiteY66" fmla="*/ 578256 h 662520"/>
              <a:gd name="connsiteX67" fmla="*/ 749359 w 2455053"/>
              <a:gd name="connsiteY67" fmla="*/ 571758 h 662520"/>
              <a:gd name="connsiteX68" fmla="*/ 784298 w 2455053"/>
              <a:gd name="connsiteY68" fmla="*/ 552322 h 662520"/>
              <a:gd name="connsiteX69" fmla="*/ 807972 w 2455053"/>
              <a:gd name="connsiteY69" fmla="*/ 520038 h 662520"/>
              <a:gd name="connsiteX70" fmla="*/ 816686 w 2455053"/>
              <a:gd name="connsiteY70" fmla="*/ 474992 h 662520"/>
              <a:gd name="connsiteX71" fmla="*/ 809424 w 2455053"/>
              <a:gd name="connsiteY71" fmla="*/ 430240 h 662520"/>
              <a:gd name="connsiteX72" fmla="*/ 787466 w 2455053"/>
              <a:gd name="connsiteY72" fmla="*/ 398602 h 662520"/>
              <a:gd name="connsiteX73" fmla="*/ 750549 w 2455053"/>
              <a:gd name="connsiteY73" fmla="*/ 379812 h 662520"/>
              <a:gd name="connsiteX74" fmla="*/ 698411 w 2455053"/>
              <a:gd name="connsiteY74" fmla="*/ 373608 h 662520"/>
              <a:gd name="connsiteX75" fmla="*/ 649592 w 2455053"/>
              <a:gd name="connsiteY75" fmla="*/ 373608 h 662520"/>
              <a:gd name="connsiteX76" fmla="*/ 649592 w 2455053"/>
              <a:gd name="connsiteY76" fmla="*/ 286308 h 662520"/>
              <a:gd name="connsiteX77" fmla="*/ 690892 w 2455053"/>
              <a:gd name="connsiteY77" fmla="*/ 286308 h 662520"/>
              <a:gd name="connsiteX78" fmla="*/ 744563 w 2455053"/>
              <a:gd name="connsiteY78" fmla="*/ 280133 h 662520"/>
              <a:gd name="connsiteX79" fmla="*/ 783007 w 2455053"/>
              <a:gd name="connsiteY79" fmla="*/ 261550 h 662520"/>
              <a:gd name="connsiteX80" fmla="*/ 806137 w 2455053"/>
              <a:gd name="connsiteY80" fmla="*/ 230469 h 662520"/>
              <a:gd name="connsiteX81" fmla="*/ 813866 w 2455053"/>
              <a:gd name="connsiteY81" fmla="*/ 186804 h 662520"/>
              <a:gd name="connsiteX82" fmla="*/ 808513 w 2455053"/>
              <a:gd name="connsiteY82" fmla="*/ 149115 h 662520"/>
              <a:gd name="connsiteX83" fmla="*/ 792160 w 2455053"/>
              <a:gd name="connsiteY83" fmla="*/ 121104 h 662520"/>
              <a:gd name="connsiteX84" fmla="*/ 764365 w 2455053"/>
              <a:gd name="connsiteY84" fmla="*/ 103651 h 662520"/>
              <a:gd name="connsiteX85" fmla="*/ 724687 w 2455053"/>
              <a:gd name="connsiteY85" fmla="*/ 97637 h 662520"/>
              <a:gd name="connsiteX86" fmla="*/ 687243 w 2455053"/>
              <a:gd name="connsiteY86" fmla="*/ 102374 h 662520"/>
              <a:gd name="connsiteX87" fmla="*/ 657456 w 2455053"/>
              <a:gd name="connsiteY87" fmla="*/ 115117 h 662520"/>
              <a:gd name="connsiteX88" fmla="*/ 634533 w 2455053"/>
              <a:gd name="connsiteY88" fmla="*/ 133668 h 662520"/>
              <a:gd name="connsiteX89" fmla="*/ 617677 w 2455053"/>
              <a:gd name="connsiteY89" fmla="*/ 155828 h 662520"/>
              <a:gd name="connsiteX90" fmla="*/ 539775 w 2455053"/>
              <a:gd name="connsiteY90" fmla="*/ 155828 h 662520"/>
              <a:gd name="connsiteX91" fmla="*/ 539775 w 2455053"/>
              <a:gd name="connsiteY91" fmla="*/ 33807 h 662520"/>
              <a:gd name="connsiteX92" fmla="*/ 584006 w 2455053"/>
              <a:gd name="connsiteY92" fmla="*/ 19813 h 662520"/>
              <a:gd name="connsiteX93" fmla="*/ 631056 w 2455053"/>
              <a:gd name="connsiteY93" fmla="*/ 9159 h 662520"/>
              <a:gd name="connsiteX94" fmla="*/ 681278 w 2455053"/>
              <a:gd name="connsiteY94" fmla="*/ 2378 h 662520"/>
              <a:gd name="connsiteX95" fmla="*/ 735025 w 2455053"/>
              <a:gd name="connsiteY95" fmla="*/ 0 h 662520"/>
              <a:gd name="connsiteX96" fmla="*/ 790395 w 2455053"/>
              <a:gd name="connsiteY96" fmla="*/ 3158 h 662520"/>
              <a:gd name="connsiteX97" fmla="*/ 838689 w 2455053"/>
              <a:gd name="connsiteY97" fmla="*/ 12853 h 662520"/>
              <a:gd name="connsiteX98" fmla="*/ 879380 w 2455053"/>
              <a:gd name="connsiteY98" fmla="*/ 29412 h 662520"/>
              <a:gd name="connsiteX99" fmla="*/ 911943 w 2455053"/>
              <a:gd name="connsiteY99" fmla="*/ 53163 h 662520"/>
              <a:gd name="connsiteX100" fmla="*/ 935853 w 2455053"/>
              <a:gd name="connsiteY100" fmla="*/ 84435 h 662520"/>
              <a:gd name="connsiteX101" fmla="*/ 950584 w 2455053"/>
              <a:gd name="connsiteY101" fmla="*/ 123555 h 662520"/>
              <a:gd name="connsiteX102" fmla="*/ 955611 w 2455053"/>
              <a:gd name="connsiteY102" fmla="*/ 170853 h 662520"/>
              <a:gd name="connsiteX103" fmla="*/ 949453 w 2455053"/>
              <a:gd name="connsiteY103" fmla="*/ 219568 h 662520"/>
              <a:gd name="connsiteX104" fmla="*/ 931581 w 2455053"/>
              <a:gd name="connsiteY104" fmla="*/ 258234 h 662520"/>
              <a:gd name="connsiteX105" fmla="*/ 902895 w 2455053"/>
              <a:gd name="connsiteY105" fmla="*/ 287843 h 662520"/>
              <a:gd name="connsiteX106" fmla="*/ 864296 w 2455053"/>
              <a:gd name="connsiteY106" fmla="*/ 309388 h 662520"/>
              <a:gd name="connsiteX107" fmla="*/ 816686 w 2455053"/>
              <a:gd name="connsiteY107" fmla="*/ 323862 h 662520"/>
              <a:gd name="connsiteX108" fmla="*/ 816686 w 2455053"/>
              <a:gd name="connsiteY108" fmla="*/ 327609 h 662520"/>
              <a:gd name="connsiteX109" fmla="*/ 870681 w 2455053"/>
              <a:gd name="connsiteY109" fmla="*/ 340566 h 662520"/>
              <a:gd name="connsiteX110" fmla="*/ 912283 w 2455053"/>
              <a:gd name="connsiteY110" fmla="*/ 362534 h 662520"/>
              <a:gd name="connsiteX111" fmla="*/ 941719 w 2455053"/>
              <a:gd name="connsiteY111" fmla="*/ 393513 h 662520"/>
              <a:gd name="connsiteX112" fmla="*/ 959215 w 2455053"/>
              <a:gd name="connsiteY112" fmla="*/ 433502 h 662520"/>
              <a:gd name="connsiteX113" fmla="*/ 964996 w 2455053"/>
              <a:gd name="connsiteY113" fmla="*/ 482498 h 662520"/>
              <a:gd name="connsiteX114" fmla="*/ 959936 w 2455053"/>
              <a:gd name="connsiteY114" fmla="*/ 527743 h 662520"/>
              <a:gd name="connsiteX115" fmla="*/ 944659 w 2455053"/>
              <a:gd name="connsiteY115" fmla="*/ 567021 h 662520"/>
              <a:gd name="connsiteX116" fmla="*/ 920122 w 2455053"/>
              <a:gd name="connsiteY116" fmla="*/ 600232 h 662520"/>
              <a:gd name="connsiteX117" fmla="*/ 887285 w 2455053"/>
              <a:gd name="connsiteY117" fmla="*/ 627278 h 662520"/>
              <a:gd name="connsiteX118" fmla="*/ 847106 w 2455053"/>
              <a:gd name="connsiteY118" fmla="*/ 648061 h 662520"/>
              <a:gd name="connsiteX119" fmla="*/ 800544 w 2455053"/>
              <a:gd name="connsiteY119" fmla="*/ 662482 h 662520"/>
              <a:gd name="connsiteX120" fmla="*/ 1360843 w 2455053"/>
              <a:gd name="connsiteY120" fmla="*/ 662495 h 662520"/>
              <a:gd name="connsiteX121" fmla="*/ 1322871 w 2455053"/>
              <a:gd name="connsiteY121" fmla="*/ 649352 h 662520"/>
              <a:gd name="connsiteX122" fmla="*/ 1287296 w 2455053"/>
              <a:gd name="connsiteY122" fmla="*/ 630560 h 662520"/>
              <a:gd name="connsiteX123" fmla="*/ 1254670 w 2455053"/>
              <a:gd name="connsiteY123" fmla="*/ 606062 h 662520"/>
              <a:gd name="connsiteX124" fmla="*/ 1225546 w 2455053"/>
              <a:gd name="connsiteY124" fmla="*/ 575802 h 662520"/>
              <a:gd name="connsiteX125" fmla="*/ 1200477 w 2455053"/>
              <a:gd name="connsiteY125" fmla="*/ 539722 h 662520"/>
              <a:gd name="connsiteX126" fmla="*/ 1180016 w 2455053"/>
              <a:gd name="connsiteY126" fmla="*/ 497766 h 662520"/>
              <a:gd name="connsiteX127" fmla="*/ 1164717 w 2455053"/>
              <a:gd name="connsiteY127" fmla="*/ 449876 h 662520"/>
              <a:gd name="connsiteX128" fmla="*/ 1155131 w 2455053"/>
              <a:gd name="connsiteY128" fmla="*/ 395995 h 662520"/>
              <a:gd name="connsiteX129" fmla="*/ 1151813 w 2455053"/>
              <a:gd name="connsiteY129" fmla="*/ 336067 h 662520"/>
              <a:gd name="connsiteX130" fmla="*/ 1155053 w 2455053"/>
              <a:gd name="connsiteY130" fmla="*/ 276826 h 662520"/>
              <a:gd name="connsiteX131" fmla="*/ 1164415 w 2455053"/>
              <a:gd name="connsiteY131" fmla="*/ 223488 h 662520"/>
              <a:gd name="connsiteX132" fmla="*/ 1179368 w 2455053"/>
              <a:gd name="connsiteY132" fmla="*/ 175997 h 662520"/>
              <a:gd name="connsiteX133" fmla="*/ 1199377 w 2455053"/>
              <a:gd name="connsiteY133" fmla="*/ 134299 h 662520"/>
              <a:gd name="connsiteX134" fmla="*/ 1223910 w 2455053"/>
              <a:gd name="connsiteY134" fmla="*/ 98339 h 662520"/>
              <a:gd name="connsiteX135" fmla="*/ 1252434 w 2455053"/>
              <a:gd name="connsiteY135" fmla="*/ 68062 h 662520"/>
              <a:gd name="connsiteX136" fmla="*/ 1284414 w 2455053"/>
              <a:gd name="connsiteY136" fmla="*/ 43413 h 662520"/>
              <a:gd name="connsiteX137" fmla="*/ 1319318 w 2455053"/>
              <a:gd name="connsiteY137" fmla="*/ 24337 h 662520"/>
              <a:gd name="connsiteX138" fmla="*/ 1356613 w 2455053"/>
              <a:gd name="connsiteY138" fmla="*/ 10780 h 662520"/>
              <a:gd name="connsiteX139" fmla="*/ 1395766 w 2455053"/>
              <a:gd name="connsiteY139" fmla="*/ 2685 h 662520"/>
              <a:gd name="connsiteX140" fmla="*/ 1436243 w 2455053"/>
              <a:gd name="connsiteY140" fmla="*/ 0 h 662520"/>
              <a:gd name="connsiteX141" fmla="*/ 1476722 w 2455053"/>
              <a:gd name="connsiteY141" fmla="*/ 2685 h 662520"/>
              <a:gd name="connsiteX142" fmla="*/ 1515876 w 2455053"/>
              <a:gd name="connsiteY142" fmla="*/ 10780 h 662520"/>
              <a:gd name="connsiteX143" fmla="*/ 1553172 w 2455053"/>
              <a:gd name="connsiteY143" fmla="*/ 24337 h 662520"/>
              <a:gd name="connsiteX144" fmla="*/ 1588076 w 2455053"/>
              <a:gd name="connsiteY144" fmla="*/ 43413 h 662520"/>
              <a:gd name="connsiteX145" fmla="*/ 1620056 w 2455053"/>
              <a:gd name="connsiteY145" fmla="*/ 68062 h 662520"/>
              <a:gd name="connsiteX146" fmla="*/ 1648579 w 2455053"/>
              <a:gd name="connsiteY146" fmla="*/ 98339 h 662520"/>
              <a:gd name="connsiteX147" fmla="*/ 1673111 w 2455053"/>
              <a:gd name="connsiteY147" fmla="*/ 134299 h 662520"/>
              <a:gd name="connsiteX148" fmla="*/ 1693119 w 2455053"/>
              <a:gd name="connsiteY148" fmla="*/ 175997 h 662520"/>
              <a:gd name="connsiteX149" fmla="*/ 1708071 w 2455053"/>
              <a:gd name="connsiteY149" fmla="*/ 223488 h 662520"/>
              <a:gd name="connsiteX150" fmla="*/ 1717433 w 2455053"/>
              <a:gd name="connsiteY150" fmla="*/ 276826 h 662520"/>
              <a:gd name="connsiteX151" fmla="*/ 1720672 w 2455053"/>
              <a:gd name="connsiteY151" fmla="*/ 336067 h 662520"/>
              <a:gd name="connsiteX152" fmla="*/ 1717354 w 2455053"/>
              <a:gd name="connsiteY152" fmla="*/ 395995 h 662520"/>
              <a:gd name="connsiteX153" fmla="*/ 1707768 w 2455053"/>
              <a:gd name="connsiteY153" fmla="*/ 449876 h 662520"/>
              <a:gd name="connsiteX154" fmla="*/ 1692469 w 2455053"/>
              <a:gd name="connsiteY154" fmla="*/ 497766 h 662520"/>
              <a:gd name="connsiteX155" fmla="*/ 1672008 w 2455053"/>
              <a:gd name="connsiteY155" fmla="*/ 539722 h 662520"/>
              <a:gd name="connsiteX156" fmla="*/ 1646939 w 2455053"/>
              <a:gd name="connsiteY156" fmla="*/ 575802 h 662520"/>
              <a:gd name="connsiteX157" fmla="*/ 1617815 w 2455053"/>
              <a:gd name="connsiteY157" fmla="*/ 606062 h 662520"/>
              <a:gd name="connsiteX158" fmla="*/ 1585189 w 2455053"/>
              <a:gd name="connsiteY158" fmla="*/ 630560 h 662520"/>
              <a:gd name="connsiteX159" fmla="*/ 1549614 w 2455053"/>
              <a:gd name="connsiteY159" fmla="*/ 649352 h 662520"/>
              <a:gd name="connsiteX160" fmla="*/ 1511642 w 2455053"/>
              <a:gd name="connsiteY160" fmla="*/ 662495 h 662520"/>
              <a:gd name="connsiteX161" fmla="*/ 1943430 w 2455053"/>
              <a:gd name="connsiteY161" fmla="*/ 662495 h 662520"/>
              <a:gd name="connsiteX162" fmla="*/ 1905459 w 2455053"/>
              <a:gd name="connsiteY162" fmla="*/ 649348 h 662520"/>
              <a:gd name="connsiteX163" fmla="*/ 1869885 w 2455053"/>
              <a:gd name="connsiteY163" fmla="*/ 630555 h 662520"/>
              <a:gd name="connsiteX164" fmla="*/ 1837261 w 2455053"/>
              <a:gd name="connsiteY164" fmla="*/ 606057 h 662520"/>
              <a:gd name="connsiteX165" fmla="*/ 1808138 w 2455053"/>
              <a:gd name="connsiteY165" fmla="*/ 575797 h 662520"/>
              <a:gd name="connsiteX166" fmla="*/ 1783072 w 2455053"/>
              <a:gd name="connsiteY166" fmla="*/ 539718 h 662520"/>
              <a:gd name="connsiteX167" fmla="*/ 1762613 w 2455053"/>
              <a:gd name="connsiteY167" fmla="*/ 497763 h 662520"/>
              <a:gd name="connsiteX168" fmla="*/ 1747315 w 2455053"/>
              <a:gd name="connsiteY168" fmla="*/ 449874 h 662520"/>
              <a:gd name="connsiteX169" fmla="*/ 1737731 w 2455053"/>
              <a:gd name="connsiteY169" fmla="*/ 395995 h 662520"/>
              <a:gd name="connsiteX170" fmla="*/ 1734413 w 2455053"/>
              <a:gd name="connsiteY170" fmla="*/ 336067 h 662520"/>
              <a:gd name="connsiteX171" fmla="*/ 1737652 w 2455053"/>
              <a:gd name="connsiteY171" fmla="*/ 276826 h 662520"/>
              <a:gd name="connsiteX172" fmla="*/ 1747014 w 2455053"/>
              <a:gd name="connsiteY172" fmla="*/ 223488 h 662520"/>
              <a:gd name="connsiteX173" fmla="*/ 1761965 w 2455053"/>
              <a:gd name="connsiteY173" fmla="*/ 175997 h 662520"/>
              <a:gd name="connsiteX174" fmla="*/ 1781973 w 2455053"/>
              <a:gd name="connsiteY174" fmla="*/ 134299 h 662520"/>
              <a:gd name="connsiteX175" fmla="*/ 1806505 w 2455053"/>
              <a:gd name="connsiteY175" fmla="*/ 98339 h 662520"/>
              <a:gd name="connsiteX176" fmla="*/ 1835026 w 2455053"/>
              <a:gd name="connsiteY176" fmla="*/ 68062 h 662520"/>
              <a:gd name="connsiteX177" fmla="*/ 1867005 w 2455053"/>
              <a:gd name="connsiteY177" fmla="*/ 43413 h 662520"/>
              <a:gd name="connsiteX178" fmla="*/ 1901908 w 2455053"/>
              <a:gd name="connsiteY178" fmla="*/ 24337 h 662520"/>
              <a:gd name="connsiteX179" fmla="*/ 1939202 w 2455053"/>
              <a:gd name="connsiteY179" fmla="*/ 10780 h 662520"/>
              <a:gd name="connsiteX180" fmla="*/ 1978353 w 2455053"/>
              <a:gd name="connsiteY180" fmla="*/ 2685 h 662520"/>
              <a:gd name="connsiteX181" fmla="*/ 2018830 w 2455053"/>
              <a:gd name="connsiteY181" fmla="*/ 0 h 662520"/>
              <a:gd name="connsiteX182" fmla="*/ 2059309 w 2455053"/>
              <a:gd name="connsiteY182" fmla="*/ 2685 h 662520"/>
              <a:gd name="connsiteX183" fmla="*/ 2098463 w 2455053"/>
              <a:gd name="connsiteY183" fmla="*/ 10780 h 662520"/>
              <a:gd name="connsiteX184" fmla="*/ 2135759 w 2455053"/>
              <a:gd name="connsiteY184" fmla="*/ 24337 h 662520"/>
              <a:gd name="connsiteX185" fmla="*/ 2170664 w 2455053"/>
              <a:gd name="connsiteY185" fmla="*/ 43413 h 662520"/>
              <a:gd name="connsiteX186" fmla="*/ 2202644 w 2455053"/>
              <a:gd name="connsiteY186" fmla="*/ 68062 h 662520"/>
              <a:gd name="connsiteX187" fmla="*/ 2231166 w 2455053"/>
              <a:gd name="connsiteY187" fmla="*/ 98339 h 662520"/>
              <a:gd name="connsiteX188" fmla="*/ 2255698 w 2455053"/>
              <a:gd name="connsiteY188" fmla="*/ 134299 h 662520"/>
              <a:gd name="connsiteX189" fmla="*/ 2275706 w 2455053"/>
              <a:gd name="connsiteY189" fmla="*/ 175997 h 662520"/>
              <a:gd name="connsiteX190" fmla="*/ 2290658 w 2455053"/>
              <a:gd name="connsiteY190" fmla="*/ 223488 h 662520"/>
              <a:gd name="connsiteX191" fmla="*/ 2300020 w 2455053"/>
              <a:gd name="connsiteY191" fmla="*/ 276826 h 662520"/>
              <a:gd name="connsiteX192" fmla="*/ 2303259 w 2455053"/>
              <a:gd name="connsiteY192" fmla="*/ 336067 h 662520"/>
              <a:gd name="connsiteX193" fmla="*/ 2299941 w 2455053"/>
              <a:gd name="connsiteY193" fmla="*/ 395991 h 662520"/>
              <a:gd name="connsiteX194" fmla="*/ 2290357 w 2455053"/>
              <a:gd name="connsiteY194" fmla="*/ 449869 h 662520"/>
              <a:gd name="connsiteX195" fmla="*/ 2275059 w 2455053"/>
              <a:gd name="connsiteY195" fmla="*/ 497757 h 662520"/>
              <a:gd name="connsiteX196" fmla="*/ 2254600 w 2455053"/>
              <a:gd name="connsiteY196" fmla="*/ 539713 h 662520"/>
              <a:gd name="connsiteX197" fmla="*/ 2229533 w 2455053"/>
              <a:gd name="connsiteY197" fmla="*/ 575793 h 662520"/>
              <a:gd name="connsiteX198" fmla="*/ 2200411 w 2455053"/>
              <a:gd name="connsiteY198" fmla="*/ 606054 h 662520"/>
              <a:gd name="connsiteX199" fmla="*/ 2167787 w 2455053"/>
              <a:gd name="connsiteY199" fmla="*/ 630553 h 662520"/>
              <a:gd name="connsiteX200" fmla="*/ 2132213 w 2455053"/>
              <a:gd name="connsiteY200" fmla="*/ 649348 h 662520"/>
              <a:gd name="connsiteX201" fmla="*/ 2094242 w 2455053"/>
              <a:gd name="connsiteY201" fmla="*/ 662495 h 662520"/>
              <a:gd name="connsiteX202" fmla="*/ 2455053 w 2455053"/>
              <a:gd name="connsiteY202" fmla="*/ 630534 h 662520"/>
              <a:gd name="connsiteX203" fmla="*/ 2422435 w 2455053"/>
              <a:gd name="connsiteY203" fmla="*/ 606033 h 662520"/>
              <a:gd name="connsiteX204" fmla="*/ 2393318 w 2455053"/>
              <a:gd name="connsiteY204" fmla="*/ 575772 h 662520"/>
              <a:gd name="connsiteX205" fmla="*/ 2368257 w 2455053"/>
              <a:gd name="connsiteY205" fmla="*/ 539693 h 662520"/>
              <a:gd name="connsiteX206" fmla="*/ 2347803 w 2455053"/>
              <a:gd name="connsiteY206" fmla="*/ 497740 h 662520"/>
              <a:gd name="connsiteX207" fmla="*/ 2332510 w 2455053"/>
              <a:gd name="connsiteY207" fmla="*/ 449856 h 662520"/>
              <a:gd name="connsiteX208" fmla="*/ 2322930 w 2455053"/>
              <a:gd name="connsiteY208" fmla="*/ 395984 h 662520"/>
              <a:gd name="connsiteX209" fmla="*/ 2319616 w 2455053"/>
              <a:gd name="connsiteY209" fmla="*/ 336067 h 662520"/>
              <a:gd name="connsiteX210" fmla="*/ 2322855 w 2455053"/>
              <a:gd name="connsiteY210" fmla="*/ 276826 h 662520"/>
              <a:gd name="connsiteX211" fmla="*/ 2332217 w 2455053"/>
              <a:gd name="connsiteY211" fmla="*/ 223488 h 662520"/>
              <a:gd name="connsiteX212" fmla="*/ 2347169 w 2455053"/>
              <a:gd name="connsiteY212" fmla="*/ 175997 h 662520"/>
              <a:gd name="connsiteX213" fmla="*/ 2367177 w 2455053"/>
              <a:gd name="connsiteY213" fmla="*/ 134299 h 662520"/>
              <a:gd name="connsiteX0" fmla="*/ 74231 w 2422435"/>
              <a:gd name="connsiteY0" fmla="*/ 662482 h 662520"/>
              <a:gd name="connsiteX1" fmla="*/ 60344 w 2422435"/>
              <a:gd name="connsiteY1" fmla="*/ 659582 h 662520"/>
              <a:gd name="connsiteX2" fmla="*/ 47517 w 2422435"/>
              <a:gd name="connsiteY2" fmla="*/ 656437 h 662520"/>
              <a:gd name="connsiteX3" fmla="*/ 35823 w 2422435"/>
              <a:gd name="connsiteY3" fmla="*/ 653092 h 662520"/>
              <a:gd name="connsiteX4" fmla="*/ 25336 w 2422435"/>
              <a:gd name="connsiteY4" fmla="*/ 649592 h 662520"/>
              <a:gd name="connsiteX5" fmla="*/ 25336 w 2422435"/>
              <a:gd name="connsiteY5" fmla="*/ 533196 h 662520"/>
              <a:gd name="connsiteX6" fmla="*/ 104190 w 2422435"/>
              <a:gd name="connsiteY6" fmla="*/ 533196 h 662520"/>
              <a:gd name="connsiteX7" fmla="*/ 116931 w 2422435"/>
              <a:gd name="connsiteY7" fmla="*/ 550133 h 662520"/>
              <a:gd name="connsiteX8" fmla="*/ 135043 w 2422435"/>
              <a:gd name="connsiteY8" fmla="*/ 564522 h 662520"/>
              <a:gd name="connsiteX9" fmla="*/ 160020 w 2422435"/>
              <a:gd name="connsiteY9" fmla="*/ 574514 h 662520"/>
              <a:gd name="connsiteX10" fmla="*/ 193357 w 2422435"/>
              <a:gd name="connsiteY10" fmla="*/ 578256 h 662520"/>
              <a:gd name="connsiteX11" fmla="*/ 233829 w 2422435"/>
              <a:gd name="connsiteY11" fmla="*/ 573672 h 662520"/>
              <a:gd name="connsiteX12" fmla="*/ 297105 w 2422435"/>
              <a:gd name="connsiteY12" fmla="*/ 537246 h 662520"/>
              <a:gd name="connsiteX13" fmla="*/ 320040 w 2422435"/>
              <a:gd name="connsiteY13" fmla="*/ 505568 h 662520"/>
              <a:gd name="connsiteX14" fmla="*/ 337261 w 2422435"/>
              <a:gd name="connsiteY14" fmla="*/ 465022 h 662520"/>
              <a:gd name="connsiteX15" fmla="*/ 348834 w 2422435"/>
              <a:gd name="connsiteY15" fmla="*/ 415691 h 662520"/>
              <a:gd name="connsiteX16" fmla="*/ 354825 w 2422435"/>
              <a:gd name="connsiteY16" fmla="*/ 357657 h 662520"/>
              <a:gd name="connsiteX17" fmla="*/ 325357 w 2422435"/>
              <a:gd name="connsiteY17" fmla="*/ 385098 h 662520"/>
              <a:gd name="connsiteX18" fmla="*/ 289466 w 2422435"/>
              <a:gd name="connsiteY18" fmla="*/ 406117 h 662520"/>
              <a:gd name="connsiteX19" fmla="*/ 247767 w 2422435"/>
              <a:gd name="connsiteY19" fmla="*/ 419568 h 662520"/>
              <a:gd name="connsiteX20" fmla="*/ 200875 w 2422435"/>
              <a:gd name="connsiteY20" fmla="*/ 424306 h 662520"/>
              <a:gd name="connsiteX21" fmla="*/ 153099 w 2422435"/>
              <a:gd name="connsiteY21" fmla="*/ 420031 h 662520"/>
              <a:gd name="connsiteX22" fmla="*/ 110150 w 2422435"/>
              <a:gd name="connsiteY22" fmla="*/ 407348 h 662520"/>
              <a:gd name="connsiteX23" fmla="*/ 72948 w 2422435"/>
              <a:gd name="connsiteY23" fmla="*/ 386472 h 662520"/>
              <a:gd name="connsiteX24" fmla="*/ 42412 w 2422435"/>
              <a:gd name="connsiteY24" fmla="*/ 357614 h 662520"/>
              <a:gd name="connsiteX25" fmla="*/ 19463 w 2422435"/>
              <a:gd name="connsiteY25" fmla="*/ 320990 h 662520"/>
              <a:gd name="connsiteX26" fmla="*/ 5019 w 2422435"/>
              <a:gd name="connsiteY26" fmla="*/ 276814 h 662520"/>
              <a:gd name="connsiteX27" fmla="*/ 0 w 2422435"/>
              <a:gd name="connsiteY27" fmla="*/ 225297 h 662520"/>
              <a:gd name="connsiteX28" fmla="*/ 4447 w 2422435"/>
              <a:gd name="connsiteY28" fmla="*/ 178425 h 662520"/>
              <a:gd name="connsiteX29" fmla="*/ 17453 w 2422435"/>
              <a:gd name="connsiteY29" fmla="*/ 135445 h 662520"/>
              <a:gd name="connsiteX30" fmla="*/ 38511 w 2422435"/>
              <a:gd name="connsiteY30" fmla="*/ 97085 h 662520"/>
              <a:gd name="connsiteX31" fmla="*/ 67116 w 2422435"/>
              <a:gd name="connsiteY31" fmla="*/ 64071 h 662520"/>
              <a:gd name="connsiteX32" fmla="*/ 102760 w 2422435"/>
              <a:gd name="connsiteY32" fmla="*/ 37129 h 662520"/>
              <a:gd name="connsiteX33" fmla="*/ 144939 w 2422435"/>
              <a:gd name="connsiteY33" fmla="*/ 16986 h 662520"/>
              <a:gd name="connsiteX34" fmla="*/ 193146 w 2422435"/>
              <a:gd name="connsiteY34" fmla="*/ 4367 h 662520"/>
              <a:gd name="connsiteX35" fmla="*/ 246875 w 2422435"/>
              <a:gd name="connsiteY35" fmla="*/ 0 h 662520"/>
              <a:gd name="connsiteX36" fmla="*/ 290625 w 2422435"/>
              <a:gd name="connsiteY36" fmla="*/ 2882 h 662520"/>
              <a:gd name="connsiteX37" fmla="*/ 331492 w 2422435"/>
              <a:gd name="connsiteY37" fmla="*/ 11678 h 662520"/>
              <a:gd name="connsiteX38" fmla="*/ 369070 w 2422435"/>
              <a:gd name="connsiteY38" fmla="*/ 26614 h 662520"/>
              <a:gd name="connsiteX39" fmla="*/ 402953 w 2422435"/>
              <a:gd name="connsiteY39" fmla="*/ 47914 h 662520"/>
              <a:gd name="connsiteX40" fmla="*/ 432736 w 2422435"/>
              <a:gd name="connsiteY40" fmla="*/ 75804 h 662520"/>
              <a:gd name="connsiteX41" fmla="*/ 458013 w 2422435"/>
              <a:gd name="connsiteY41" fmla="*/ 110509 h 662520"/>
              <a:gd name="connsiteX42" fmla="*/ 478379 w 2422435"/>
              <a:gd name="connsiteY42" fmla="*/ 152255 h 662520"/>
              <a:gd name="connsiteX43" fmla="*/ 493429 w 2422435"/>
              <a:gd name="connsiteY43" fmla="*/ 201265 h 662520"/>
              <a:gd name="connsiteX44" fmla="*/ 502756 w 2422435"/>
              <a:gd name="connsiteY44" fmla="*/ 257766 h 662520"/>
              <a:gd name="connsiteX45" fmla="*/ 505955 w 2422435"/>
              <a:gd name="connsiteY45" fmla="*/ 321983 h 662520"/>
              <a:gd name="connsiteX46" fmla="*/ 503406 w 2422435"/>
              <a:gd name="connsiteY46" fmla="*/ 376707 h 662520"/>
              <a:gd name="connsiteX47" fmla="*/ 495858 w 2422435"/>
              <a:gd name="connsiteY47" fmla="*/ 427041 h 662520"/>
              <a:gd name="connsiteX48" fmla="*/ 483456 w 2422435"/>
              <a:gd name="connsiteY48" fmla="*/ 472909 h 662520"/>
              <a:gd name="connsiteX49" fmla="*/ 466346 w 2422435"/>
              <a:gd name="connsiteY49" fmla="*/ 514232 h 662520"/>
              <a:gd name="connsiteX50" fmla="*/ 444674 w 2422435"/>
              <a:gd name="connsiteY50" fmla="*/ 550937 h 662520"/>
              <a:gd name="connsiteX51" fmla="*/ 418587 w 2422435"/>
              <a:gd name="connsiteY51" fmla="*/ 582945 h 662520"/>
              <a:gd name="connsiteX52" fmla="*/ 388229 w 2422435"/>
              <a:gd name="connsiteY52" fmla="*/ 610181 h 662520"/>
              <a:gd name="connsiteX53" fmla="*/ 353748 w 2422435"/>
              <a:gd name="connsiteY53" fmla="*/ 632569 h 662520"/>
              <a:gd name="connsiteX54" fmla="*/ 315289 w 2422435"/>
              <a:gd name="connsiteY54" fmla="*/ 650033 h 662520"/>
              <a:gd name="connsiteX55" fmla="*/ 272999 w 2422435"/>
              <a:gd name="connsiteY55" fmla="*/ 662495 h 662520"/>
              <a:gd name="connsiteX56" fmla="*/ 592162 w 2422435"/>
              <a:gd name="connsiteY56" fmla="*/ 662520 h 662520"/>
              <a:gd name="connsiteX57" fmla="*/ 571167 w 2422435"/>
              <a:gd name="connsiteY57" fmla="*/ 658030 h 662520"/>
              <a:gd name="connsiteX58" fmla="*/ 551373 w 2422435"/>
              <a:gd name="connsiteY58" fmla="*/ 652783 h 662520"/>
              <a:gd name="connsiteX59" fmla="*/ 532537 w 2422435"/>
              <a:gd name="connsiteY59" fmla="*/ 646826 h 662520"/>
              <a:gd name="connsiteX60" fmla="*/ 514413 w 2422435"/>
              <a:gd name="connsiteY60" fmla="*/ 640206 h 662520"/>
              <a:gd name="connsiteX61" fmla="*/ 514413 w 2422435"/>
              <a:gd name="connsiteY61" fmla="*/ 516293 h 662520"/>
              <a:gd name="connsiteX62" fmla="*/ 596087 w 2422435"/>
              <a:gd name="connsiteY62" fmla="*/ 516293 h 662520"/>
              <a:gd name="connsiteX63" fmla="*/ 612203 w 2422435"/>
              <a:gd name="connsiteY63" fmla="*/ 539439 h 662520"/>
              <a:gd name="connsiteX64" fmla="*/ 635627 w 2422435"/>
              <a:gd name="connsiteY64" fmla="*/ 559242 h 662520"/>
              <a:gd name="connsiteX65" fmla="*/ 666972 w 2422435"/>
              <a:gd name="connsiteY65" fmla="*/ 573062 h 662520"/>
              <a:gd name="connsiteX66" fmla="*/ 706856 w 2422435"/>
              <a:gd name="connsiteY66" fmla="*/ 578256 h 662520"/>
              <a:gd name="connsiteX67" fmla="*/ 749359 w 2422435"/>
              <a:gd name="connsiteY67" fmla="*/ 571758 h 662520"/>
              <a:gd name="connsiteX68" fmla="*/ 784298 w 2422435"/>
              <a:gd name="connsiteY68" fmla="*/ 552322 h 662520"/>
              <a:gd name="connsiteX69" fmla="*/ 807972 w 2422435"/>
              <a:gd name="connsiteY69" fmla="*/ 520038 h 662520"/>
              <a:gd name="connsiteX70" fmla="*/ 816686 w 2422435"/>
              <a:gd name="connsiteY70" fmla="*/ 474992 h 662520"/>
              <a:gd name="connsiteX71" fmla="*/ 809424 w 2422435"/>
              <a:gd name="connsiteY71" fmla="*/ 430240 h 662520"/>
              <a:gd name="connsiteX72" fmla="*/ 787466 w 2422435"/>
              <a:gd name="connsiteY72" fmla="*/ 398602 h 662520"/>
              <a:gd name="connsiteX73" fmla="*/ 750549 w 2422435"/>
              <a:gd name="connsiteY73" fmla="*/ 379812 h 662520"/>
              <a:gd name="connsiteX74" fmla="*/ 698411 w 2422435"/>
              <a:gd name="connsiteY74" fmla="*/ 373608 h 662520"/>
              <a:gd name="connsiteX75" fmla="*/ 649592 w 2422435"/>
              <a:gd name="connsiteY75" fmla="*/ 373608 h 662520"/>
              <a:gd name="connsiteX76" fmla="*/ 649592 w 2422435"/>
              <a:gd name="connsiteY76" fmla="*/ 286308 h 662520"/>
              <a:gd name="connsiteX77" fmla="*/ 690892 w 2422435"/>
              <a:gd name="connsiteY77" fmla="*/ 286308 h 662520"/>
              <a:gd name="connsiteX78" fmla="*/ 744563 w 2422435"/>
              <a:gd name="connsiteY78" fmla="*/ 280133 h 662520"/>
              <a:gd name="connsiteX79" fmla="*/ 783007 w 2422435"/>
              <a:gd name="connsiteY79" fmla="*/ 261550 h 662520"/>
              <a:gd name="connsiteX80" fmla="*/ 806137 w 2422435"/>
              <a:gd name="connsiteY80" fmla="*/ 230469 h 662520"/>
              <a:gd name="connsiteX81" fmla="*/ 813866 w 2422435"/>
              <a:gd name="connsiteY81" fmla="*/ 186804 h 662520"/>
              <a:gd name="connsiteX82" fmla="*/ 808513 w 2422435"/>
              <a:gd name="connsiteY82" fmla="*/ 149115 h 662520"/>
              <a:gd name="connsiteX83" fmla="*/ 792160 w 2422435"/>
              <a:gd name="connsiteY83" fmla="*/ 121104 h 662520"/>
              <a:gd name="connsiteX84" fmla="*/ 764365 w 2422435"/>
              <a:gd name="connsiteY84" fmla="*/ 103651 h 662520"/>
              <a:gd name="connsiteX85" fmla="*/ 724687 w 2422435"/>
              <a:gd name="connsiteY85" fmla="*/ 97637 h 662520"/>
              <a:gd name="connsiteX86" fmla="*/ 687243 w 2422435"/>
              <a:gd name="connsiteY86" fmla="*/ 102374 h 662520"/>
              <a:gd name="connsiteX87" fmla="*/ 657456 w 2422435"/>
              <a:gd name="connsiteY87" fmla="*/ 115117 h 662520"/>
              <a:gd name="connsiteX88" fmla="*/ 634533 w 2422435"/>
              <a:gd name="connsiteY88" fmla="*/ 133668 h 662520"/>
              <a:gd name="connsiteX89" fmla="*/ 617677 w 2422435"/>
              <a:gd name="connsiteY89" fmla="*/ 155828 h 662520"/>
              <a:gd name="connsiteX90" fmla="*/ 539775 w 2422435"/>
              <a:gd name="connsiteY90" fmla="*/ 155828 h 662520"/>
              <a:gd name="connsiteX91" fmla="*/ 539775 w 2422435"/>
              <a:gd name="connsiteY91" fmla="*/ 33807 h 662520"/>
              <a:gd name="connsiteX92" fmla="*/ 584006 w 2422435"/>
              <a:gd name="connsiteY92" fmla="*/ 19813 h 662520"/>
              <a:gd name="connsiteX93" fmla="*/ 631056 w 2422435"/>
              <a:gd name="connsiteY93" fmla="*/ 9159 h 662520"/>
              <a:gd name="connsiteX94" fmla="*/ 681278 w 2422435"/>
              <a:gd name="connsiteY94" fmla="*/ 2378 h 662520"/>
              <a:gd name="connsiteX95" fmla="*/ 735025 w 2422435"/>
              <a:gd name="connsiteY95" fmla="*/ 0 h 662520"/>
              <a:gd name="connsiteX96" fmla="*/ 790395 w 2422435"/>
              <a:gd name="connsiteY96" fmla="*/ 3158 h 662520"/>
              <a:gd name="connsiteX97" fmla="*/ 838689 w 2422435"/>
              <a:gd name="connsiteY97" fmla="*/ 12853 h 662520"/>
              <a:gd name="connsiteX98" fmla="*/ 879380 w 2422435"/>
              <a:gd name="connsiteY98" fmla="*/ 29412 h 662520"/>
              <a:gd name="connsiteX99" fmla="*/ 911943 w 2422435"/>
              <a:gd name="connsiteY99" fmla="*/ 53163 h 662520"/>
              <a:gd name="connsiteX100" fmla="*/ 935853 w 2422435"/>
              <a:gd name="connsiteY100" fmla="*/ 84435 h 662520"/>
              <a:gd name="connsiteX101" fmla="*/ 950584 w 2422435"/>
              <a:gd name="connsiteY101" fmla="*/ 123555 h 662520"/>
              <a:gd name="connsiteX102" fmla="*/ 955611 w 2422435"/>
              <a:gd name="connsiteY102" fmla="*/ 170853 h 662520"/>
              <a:gd name="connsiteX103" fmla="*/ 949453 w 2422435"/>
              <a:gd name="connsiteY103" fmla="*/ 219568 h 662520"/>
              <a:gd name="connsiteX104" fmla="*/ 931581 w 2422435"/>
              <a:gd name="connsiteY104" fmla="*/ 258234 h 662520"/>
              <a:gd name="connsiteX105" fmla="*/ 902895 w 2422435"/>
              <a:gd name="connsiteY105" fmla="*/ 287843 h 662520"/>
              <a:gd name="connsiteX106" fmla="*/ 864296 w 2422435"/>
              <a:gd name="connsiteY106" fmla="*/ 309388 h 662520"/>
              <a:gd name="connsiteX107" fmla="*/ 816686 w 2422435"/>
              <a:gd name="connsiteY107" fmla="*/ 323862 h 662520"/>
              <a:gd name="connsiteX108" fmla="*/ 816686 w 2422435"/>
              <a:gd name="connsiteY108" fmla="*/ 327609 h 662520"/>
              <a:gd name="connsiteX109" fmla="*/ 870681 w 2422435"/>
              <a:gd name="connsiteY109" fmla="*/ 340566 h 662520"/>
              <a:gd name="connsiteX110" fmla="*/ 912283 w 2422435"/>
              <a:gd name="connsiteY110" fmla="*/ 362534 h 662520"/>
              <a:gd name="connsiteX111" fmla="*/ 941719 w 2422435"/>
              <a:gd name="connsiteY111" fmla="*/ 393513 h 662520"/>
              <a:gd name="connsiteX112" fmla="*/ 959215 w 2422435"/>
              <a:gd name="connsiteY112" fmla="*/ 433502 h 662520"/>
              <a:gd name="connsiteX113" fmla="*/ 964996 w 2422435"/>
              <a:gd name="connsiteY113" fmla="*/ 482498 h 662520"/>
              <a:gd name="connsiteX114" fmla="*/ 959936 w 2422435"/>
              <a:gd name="connsiteY114" fmla="*/ 527743 h 662520"/>
              <a:gd name="connsiteX115" fmla="*/ 944659 w 2422435"/>
              <a:gd name="connsiteY115" fmla="*/ 567021 h 662520"/>
              <a:gd name="connsiteX116" fmla="*/ 920122 w 2422435"/>
              <a:gd name="connsiteY116" fmla="*/ 600232 h 662520"/>
              <a:gd name="connsiteX117" fmla="*/ 887285 w 2422435"/>
              <a:gd name="connsiteY117" fmla="*/ 627278 h 662520"/>
              <a:gd name="connsiteX118" fmla="*/ 847106 w 2422435"/>
              <a:gd name="connsiteY118" fmla="*/ 648061 h 662520"/>
              <a:gd name="connsiteX119" fmla="*/ 800544 w 2422435"/>
              <a:gd name="connsiteY119" fmla="*/ 662482 h 662520"/>
              <a:gd name="connsiteX120" fmla="*/ 1360843 w 2422435"/>
              <a:gd name="connsiteY120" fmla="*/ 662495 h 662520"/>
              <a:gd name="connsiteX121" fmla="*/ 1322871 w 2422435"/>
              <a:gd name="connsiteY121" fmla="*/ 649352 h 662520"/>
              <a:gd name="connsiteX122" fmla="*/ 1287296 w 2422435"/>
              <a:gd name="connsiteY122" fmla="*/ 630560 h 662520"/>
              <a:gd name="connsiteX123" fmla="*/ 1254670 w 2422435"/>
              <a:gd name="connsiteY123" fmla="*/ 606062 h 662520"/>
              <a:gd name="connsiteX124" fmla="*/ 1225546 w 2422435"/>
              <a:gd name="connsiteY124" fmla="*/ 575802 h 662520"/>
              <a:gd name="connsiteX125" fmla="*/ 1200477 w 2422435"/>
              <a:gd name="connsiteY125" fmla="*/ 539722 h 662520"/>
              <a:gd name="connsiteX126" fmla="*/ 1180016 w 2422435"/>
              <a:gd name="connsiteY126" fmla="*/ 497766 h 662520"/>
              <a:gd name="connsiteX127" fmla="*/ 1164717 w 2422435"/>
              <a:gd name="connsiteY127" fmla="*/ 449876 h 662520"/>
              <a:gd name="connsiteX128" fmla="*/ 1155131 w 2422435"/>
              <a:gd name="connsiteY128" fmla="*/ 395995 h 662520"/>
              <a:gd name="connsiteX129" fmla="*/ 1151813 w 2422435"/>
              <a:gd name="connsiteY129" fmla="*/ 336067 h 662520"/>
              <a:gd name="connsiteX130" fmla="*/ 1155053 w 2422435"/>
              <a:gd name="connsiteY130" fmla="*/ 276826 h 662520"/>
              <a:gd name="connsiteX131" fmla="*/ 1164415 w 2422435"/>
              <a:gd name="connsiteY131" fmla="*/ 223488 h 662520"/>
              <a:gd name="connsiteX132" fmla="*/ 1179368 w 2422435"/>
              <a:gd name="connsiteY132" fmla="*/ 175997 h 662520"/>
              <a:gd name="connsiteX133" fmla="*/ 1199377 w 2422435"/>
              <a:gd name="connsiteY133" fmla="*/ 134299 h 662520"/>
              <a:gd name="connsiteX134" fmla="*/ 1223910 w 2422435"/>
              <a:gd name="connsiteY134" fmla="*/ 98339 h 662520"/>
              <a:gd name="connsiteX135" fmla="*/ 1252434 w 2422435"/>
              <a:gd name="connsiteY135" fmla="*/ 68062 h 662520"/>
              <a:gd name="connsiteX136" fmla="*/ 1284414 w 2422435"/>
              <a:gd name="connsiteY136" fmla="*/ 43413 h 662520"/>
              <a:gd name="connsiteX137" fmla="*/ 1319318 w 2422435"/>
              <a:gd name="connsiteY137" fmla="*/ 24337 h 662520"/>
              <a:gd name="connsiteX138" fmla="*/ 1356613 w 2422435"/>
              <a:gd name="connsiteY138" fmla="*/ 10780 h 662520"/>
              <a:gd name="connsiteX139" fmla="*/ 1395766 w 2422435"/>
              <a:gd name="connsiteY139" fmla="*/ 2685 h 662520"/>
              <a:gd name="connsiteX140" fmla="*/ 1436243 w 2422435"/>
              <a:gd name="connsiteY140" fmla="*/ 0 h 662520"/>
              <a:gd name="connsiteX141" fmla="*/ 1476722 w 2422435"/>
              <a:gd name="connsiteY141" fmla="*/ 2685 h 662520"/>
              <a:gd name="connsiteX142" fmla="*/ 1515876 w 2422435"/>
              <a:gd name="connsiteY142" fmla="*/ 10780 h 662520"/>
              <a:gd name="connsiteX143" fmla="*/ 1553172 w 2422435"/>
              <a:gd name="connsiteY143" fmla="*/ 24337 h 662520"/>
              <a:gd name="connsiteX144" fmla="*/ 1588076 w 2422435"/>
              <a:gd name="connsiteY144" fmla="*/ 43413 h 662520"/>
              <a:gd name="connsiteX145" fmla="*/ 1620056 w 2422435"/>
              <a:gd name="connsiteY145" fmla="*/ 68062 h 662520"/>
              <a:gd name="connsiteX146" fmla="*/ 1648579 w 2422435"/>
              <a:gd name="connsiteY146" fmla="*/ 98339 h 662520"/>
              <a:gd name="connsiteX147" fmla="*/ 1673111 w 2422435"/>
              <a:gd name="connsiteY147" fmla="*/ 134299 h 662520"/>
              <a:gd name="connsiteX148" fmla="*/ 1693119 w 2422435"/>
              <a:gd name="connsiteY148" fmla="*/ 175997 h 662520"/>
              <a:gd name="connsiteX149" fmla="*/ 1708071 w 2422435"/>
              <a:gd name="connsiteY149" fmla="*/ 223488 h 662520"/>
              <a:gd name="connsiteX150" fmla="*/ 1717433 w 2422435"/>
              <a:gd name="connsiteY150" fmla="*/ 276826 h 662520"/>
              <a:gd name="connsiteX151" fmla="*/ 1720672 w 2422435"/>
              <a:gd name="connsiteY151" fmla="*/ 336067 h 662520"/>
              <a:gd name="connsiteX152" fmla="*/ 1717354 w 2422435"/>
              <a:gd name="connsiteY152" fmla="*/ 395995 h 662520"/>
              <a:gd name="connsiteX153" fmla="*/ 1707768 w 2422435"/>
              <a:gd name="connsiteY153" fmla="*/ 449876 h 662520"/>
              <a:gd name="connsiteX154" fmla="*/ 1692469 w 2422435"/>
              <a:gd name="connsiteY154" fmla="*/ 497766 h 662520"/>
              <a:gd name="connsiteX155" fmla="*/ 1672008 w 2422435"/>
              <a:gd name="connsiteY155" fmla="*/ 539722 h 662520"/>
              <a:gd name="connsiteX156" fmla="*/ 1646939 w 2422435"/>
              <a:gd name="connsiteY156" fmla="*/ 575802 h 662520"/>
              <a:gd name="connsiteX157" fmla="*/ 1617815 w 2422435"/>
              <a:gd name="connsiteY157" fmla="*/ 606062 h 662520"/>
              <a:gd name="connsiteX158" fmla="*/ 1585189 w 2422435"/>
              <a:gd name="connsiteY158" fmla="*/ 630560 h 662520"/>
              <a:gd name="connsiteX159" fmla="*/ 1549614 w 2422435"/>
              <a:gd name="connsiteY159" fmla="*/ 649352 h 662520"/>
              <a:gd name="connsiteX160" fmla="*/ 1511642 w 2422435"/>
              <a:gd name="connsiteY160" fmla="*/ 662495 h 662520"/>
              <a:gd name="connsiteX161" fmla="*/ 1943430 w 2422435"/>
              <a:gd name="connsiteY161" fmla="*/ 662495 h 662520"/>
              <a:gd name="connsiteX162" fmla="*/ 1905459 w 2422435"/>
              <a:gd name="connsiteY162" fmla="*/ 649348 h 662520"/>
              <a:gd name="connsiteX163" fmla="*/ 1869885 w 2422435"/>
              <a:gd name="connsiteY163" fmla="*/ 630555 h 662520"/>
              <a:gd name="connsiteX164" fmla="*/ 1837261 w 2422435"/>
              <a:gd name="connsiteY164" fmla="*/ 606057 h 662520"/>
              <a:gd name="connsiteX165" fmla="*/ 1808138 w 2422435"/>
              <a:gd name="connsiteY165" fmla="*/ 575797 h 662520"/>
              <a:gd name="connsiteX166" fmla="*/ 1783072 w 2422435"/>
              <a:gd name="connsiteY166" fmla="*/ 539718 h 662520"/>
              <a:gd name="connsiteX167" fmla="*/ 1762613 w 2422435"/>
              <a:gd name="connsiteY167" fmla="*/ 497763 h 662520"/>
              <a:gd name="connsiteX168" fmla="*/ 1747315 w 2422435"/>
              <a:gd name="connsiteY168" fmla="*/ 449874 h 662520"/>
              <a:gd name="connsiteX169" fmla="*/ 1737731 w 2422435"/>
              <a:gd name="connsiteY169" fmla="*/ 395995 h 662520"/>
              <a:gd name="connsiteX170" fmla="*/ 1734413 w 2422435"/>
              <a:gd name="connsiteY170" fmla="*/ 336067 h 662520"/>
              <a:gd name="connsiteX171" fmla="*/ 1737652 w 2422435"/>
              <a:gd name="connsiteY171" fmla="*/ 276826 h 662520"/>
              <a:gd name="connsiteX172" fmla="*/ 1747014 w 2422435"/>
              <a:gd name="connsiteY172" fmla="*/ 223488 h 662520"/>
              <a:gd name="connsiteX173" fmla="*/ 1761965 w 2422435"/>
              <a:gd name="connsiteY173" fmla="*/ 175997 h 662520"/>
              <a:gd name="connsiteX174" fmla="*/ 1781973 w 2422435"/>
              <a:gd name="connsiteY174" fmla="*/ 134299 h 662520"/>
              <a:gd name="connsiteX175" fmla="*/ 1806505 w 2422435"/>
              <a:gd name="connsiteY175" fmla="*/ 98339 h 662520"/>
              <a:gd name="connsiteX176" fmla="*/ 1835026 w 2422435"/>
              <a:gd name="connsiteY176" fmla="*/ 68062 h 662520"/>
              <a:gd name="connsiteX177" fmla="*/ 1867005 w 2422435"/>
              <a:gd name="connsiteY177" fmla="*/ 43413 h 662520"/>
              <a:gd name="connsiteX178" fmla="*/ 1901908 w 2422435"/>
              <a:gd name="connsiteY178" fmla="*/ 24337 h 662520"/>
              <a:gd name="connsiteX179" fmla="*/ 1939202 w 2422435"/>
              <a:gd name="connsiteY179" fmla="*/ 10780 h 662520"/>
              <a:gd name="connsiteX180" fmla="*/ 1978353 w 2422435"/>
              <a:gd name="connsiteY180" fmla="*/ 2685 h 662520"/>
              <a:gd name="connsiteX181" fmla="*/ 2018830 w 2422435"/>
              <a:gd name="connsiteY181" fmla="*/ 0 h 662520"/>
              <a:gd name="connsiteX182" fmla="*/ 2059309 w 2422435"/>
              <a:gd name="connsiteY182" fmla="*/ 2685 h 662520"/>
              <a:gd name="connsiteX183" fmla="*/ 2098463 w 2422435"/>
              <a:gd name="connsiteY183" fmla="*/ 10780 h 662520"/>
              <a:gd name="connsiteX184" fmla="*/ 2135759 w 2422435"/>
              <a:gd name="connsiteY184" fmla="*/ 24337 h 662520"/>
              <a:gd name="connsiteX185" fmla="*/ 2170664 w 2422435"/>
              <a:gd name="connsiteY185" fmla="*/ 43413 h 662520"/>
              <a:gd name="connsiteX186" fmla="*/ 2202644 w 2422435"/>
              <a:gd name="connsiteY186" fmla="*/ 68062 h 662520"/>
              <a:gd name="connsiteX187" fmla="*/ 2231166 w 2422435"/>
              <a:gd name="connsiteY187" fmla="*/ 98339 h 662520"/>
              <a:gd name="connsiteX188" fmla="*/ 2255698 w 2422435"/>
              <a:gd name="connsiteY188" fmla="*/ 134299 h 662520"/>
              <a:gd name="connsiteX189" fmla="*/ 2275706 w 2422435"/>
              <a:gd name="connsiteY189" fmla="*/ 175997 h 662520"/>
              <a:gd name="connsiteX190" fmla="*/ 2290658 w 2422435"/>
              <a:gd name="connsiteY190" fmla="*/ 223488 h 662520"/>
              <a:gd name="connsiteX191" fmla="*/ 2300020 w 2422435"/>
              <a:gd name="connsiteY191" fmla="*/ 276826 h 662520"/>
              <a:gd name="connsiteX192" fmla="*/ 2303259 w 2422435"/>
              <a:gd name="connsiteY192" fmla="*/ 336067 h 662520"/>
              <a:gd name="connsiteX193" fmla="*/ 2299941 w 2422435"/>
              <a:gd name="connsiteY193" fmla="*/ 395991 h 662520"/>
              <a:gd name="connsiteX194" fmla="*/ 2290357 w 2422435"/>
              <a:gd name="connsiteY194" fmla="*/ 449869 h 662520"/>
              <a:gd name="connsiteX195" fmla="*/ 2275059 w 2422435"/>
              <a:gd name="connsiteY195" fmla="*/ 497757 h 662520"/>
              <a:gd name="connsiteX196" fmla="*/ 2254600 w 2422435"/>
              <a:gd name="connsiteY196" fmla="*/ 539713 h 662520"/>
              <a:gd name="connsiteX197" fmla="*/ 2229533 w 2422435"/>
              <a:gd name="connsiteY197" fmla="*/ 575793 h 662520"/>
              <a:gd name="connsiteX198" fmla="*/ 2200411 w 2422435"/>
              <a:gd name="connsiteY198" fmla="*/ 606054 h 662520"/>
              <a:gd name="connsiteX199" fmla="*/ 2167787 w 2422435"/>
              <a:gd name="connsiteY199" fmla="*/ 630553 h 662520"/>
              <a:gd name="connsiteX200" fmla="*/ 2132213 w 2422435"/>
              <a:gd name="connsiteY200" fmla="*/ 649348 h 662520"/>
              <a:gd name="connsiteX201" fmla="*/ 2094242 w 2422435"/>
              <a:gd name="connsiteY201" fmla="*/ 662495 h 662520"/>
              <a:gd name="connsiteX202" fmla="*/ 2422435 w 2422435"/>
              <a:gd name="connsiteY202" fmla="*/ 606033 h 662520"/>
              <a:gd name="connsiteX203" fmla="*/ 2393318 w 2422435"/>
              <a:gd name="connsiteY203" fmla="*/ 575772 h 662520"/>
              <a:gd name="connsiteX204" fmla="*/ 2368257 w 2422435"/>
              <a:gd name="connsiteY204" fmla="*/ 539693 h 662520"/>
              <a:gd name="connsiteX205" fmla="*/ 2347803 w 2422435"/>
              <a:gd name="connsiteY205" fmla="*/ 497740 h 662520"/>
              <a:gd name="connsiteX206" fmla="*/ 2332510 w 2422435"/>
              <a:gd name="connsiteY206" fmla="*/ 449856 h 662520"/>
              <a:gd name="connsiteX207" fmla="*/ 2322930 w 2422435"/>
              <a:gd name="connsiteY207" fmla="*/ 395984 h 662520"/>
              <a:gd name="connsiteX208" fmla="*/ 2319616 w 2422435"/>
              <a:gd name="connsiteY208" fmla="*/ 336067 h 662520"/>
              <a:gd name="connsiteX209" fmla="*/ 2322855 w 2422435"/>
              <a:gd name="connsiteY209" fmla="*/ 276826 h 662520"/>
              <a:gd name="connsiteX210" fmla="*/ 2332217 w 2422435"/>
              <a:gd name="connsiteY210" fmla="*/ 223488 h 662520"/>
              <a:gd name="connsiteX211" fmla="*/ 2347169 w 2422435"/>
              <a:gd name="connsiteY211" fmla="*/ 175997 h 662520"/>
              <a:gd name="connsiteX212" fmla="*/ 2367177 w 2422435"/>
              <a:gd name="connsiteY212" fmla="*/ 134299 h 662520"/>
              <a:gd name="connsiteX0" fmla="*/ 74231 w 2393318"/>
              <a:gd name="connsiteY0" fmla="*/ 662482 h 662520"/>
              <a:gd name="connsiteX1" fmla="*/ 60344 w 2393318"/>
              <a:gd name="connsiteY1" fmla="*/ 659582 h 662520"/>
              <a:gd name="connsiteX2" fmla="*/ 47517 w 2393318"/>
              <a:gd name="connsiteY2" fmla="*/ 656437 h 662520"/>
              <a:gd name="connsiteX3" fmla="*/ 35823 w 2393318"/>
              <a:gd name="connsiteY3" fmla="*/ 653092 h 662520"/>
              <a:gd name="connsiteX4" fmla="*/ 25336 w 2393318"/>
              <a:gd name="connsiteY4" fmla="*/ 649592 h 662520"/>
              <a:gd name="connsiteX5" fmla="*/ 25336 w 2393318"/>
              <a:gd name="connsiteY5" fmla="*/ 533196 h 662520"/>
              <a:gd name="connsiteX6" fmla="*/ 104190 w 2393318"/>
              <a:gd name="connsiteY6" fmla="*/ 533196 h 662520"/>
              <a:gd name="connsiteX7" fmla="*/ 116931 w 2393318"/>
              <a:gd name="connsiteY7" fmla="*/ 550133 h 662520"/>
              <a:gd name="connsiteX8" fmla="*/ 135043 w 2393318"/>
              <a:gd name="connsiteY8" fmla="*/ 564522 h 662520"/>
              <a:gd name="connsiteX9" fmla="*/ 160020 w 2393318"/>
              <a:gd name="connsiteY9" fmla="*/ 574514 h 662520"/>
              <a:gd name="connsiteX10" fmla="*/ 193357 w 2393318"/>
              <a:gd name="connsiteY10" fmla="*/ 578256 h 662520"/>
              <a:gd name="connsiteX11" fmla="*/ 233829 w 2393318"/>
              <a:gd name="connsiteY11" fmla="*/ 573672 h 662520"/>
              <a:gd name="connsiteX12" fmla="*/ 297105 w 2393318"/>
              <a:gd name="connsiteY12" fmla="*/ 537246 h 662520"/>
              <a:gd name="connsiteX13" fmla="*/ 320040 w 2393318"/>
              <a:gd name="connsiteY13" fmla="*/ 505568 h 662520"/>
              <a:gd name="connsiteX14" fmla="*/ 337261 w 2393318"/>
              <a:gd name="connsiteY14" fmla="*/ 465022 h 662520"/>
              <a:gd name="connsiteX15" fmla="*/ 348834 w 2393318"/>
              <a:gd name="connsiteY15" fmla="*/ 415691 h 662520"/>
              <a:gd name="connsiteX16" fmla="*/ 354825 w 2393318"/>
              <a:gd name="connsiteY16" fmla="*/ 357657 h 662520"/>
              <a:gd name="connsiteX17" fmla="*/ 325357 w 2393318"/>
              <a:gd name="connsiteY17" fmla="*/ 385098 h 662520"/>
              <a:gd name="connsiteX18" fmla="*/ 289466 w 2393318"/>
              <a:gd name="connsiteY18" fmla="*/ 406117 h 662520"/>
              <a:gd name="connsiteX19" fmla="*/ 247767 w 2393318"/>
              <a:gd name="connsiteY19" fmla="*/ 419568 h 662520"/>
              <a:gd name="connsiteX20" fmla="*/ 200875 w 2393318"/>
              <a:gd name="connsiteY20" fmla="*/ 424306 h 662520"/>
              <a:gd name="connsiteX21" fmla="*/ 153099 w 2393318"/>
              <a:gd name="connsiteY21" fmla="*/ 420031 h 662520"/>
              <a:gd name="connsiteX22" fmla="*/ 110150 w 2393318"/>
              <a:gd name="connsiteY22" fmla="*/ 407348 h 662520"/>
              <a:gd name="connsiteX23" fmla="*/ 72948 w 2393318"/>
              <a:gd name="connsiteY23" fmla="*/ 386472 h 662520"/>
              <a:gd name="connsiteX24" fmla="*/ 42412 w 2393318"/>
              <a:gd name="connsiteY24" fmla="*/ 357614 h 662520"/>
              <a:gd name="connsiteX25" fmla="*/ 19463 w 2393318"/>
              <a:gd name="connsiteY25" fmla="*/ 320990 h 662520"/>
              <a:gd name="connsiteX26" fmla="*/ 5019 w 2393318"/>
              <a:gd name="connsiteY26" fmla="*/ 276814 h 662520"/>
              <a:gd name="connsiteX27" fmla="*/ 0 w 2393318"/>
              <a:gd name="connsiteY27" fmla="*/ 225297 h 662520"/>
              <a:gd name="connsiteX28" fmla="*/ 4447 w 2393318"/>
              <a:gd name="connsiteY28" fmla="*/ 178425 h 662520"/>
              <a:gd name="connsiteX29" fmla="*/ 17453 w 2393318"/>
              <a:gd name="connsiteY29" fmla="*/ 135445 h 662520"/>
              <a:gd name="connsiteX30" fmla="*/ 38511 w 2393318"/>
              <a:gd name="connsiteY30" fmla="*/ 97085 h 662520"/>
              <a:gd name="connsiteX31" fmla="*/ 67116 w 2393318"/>
              <a:gd name="connsiteY31" fmla="*/ 64071 h 662520"/>
              <a:gd name="connsiteX32" fmla="*/ 102760 w 2393318"/>
              <a:gd name="connsiteY32" fmla="*/ 37129 h 662520"/>
              <a:gd name="connsiteX33" fmla="*/ 144939 w 2393318"/>
              <a:gd name="connsiteY33" fmla="*/ 16986 h 662520"/>
              <a:gd name="connsiteX34" fmla="*/ 193146 w 2393318"/>
              <a:gd name="connsiteY34" fmla="*/ 4367 h 662520"/>
              <a:gd name="connsiteX35" fmla="*/ 246875 w 2393318"/>
              <a:gd name="connsiteY35" fmla="*/ 0 h 662520"/>
              <a:gd name="connsiteX36" fmla="*/ 290625 w 2393318"/>
              <a:gd name="connsiteY36" fmla="*/ 2882 h 662520"/>
              <a:gd name="connsiteX37" fmla="*/ 331492 w 2393318"/>
              <a:gd name="connsiteY37" fmla="*/ 11678 h 662520"/>
              <a:gd name="connsiteX38" fmla="*/ 369070 w 2393318"/>
              <a:gd name="connsiteY38" fmla="*/ 26614 h 662520"/>
              <a:gd name="connsiteX39" fmla="*/ 402953 w 2393318"/>
              <a:gd name="connsiteY39" fmla="*/ 47914 h 662520"/>
              <a:gd name="connsiteX40" fmla="*/ 432736 w 2393318"/>
              <a:gd name="connsiteY40" fmla="*/ 75804 h 662520"/>
              <a:gd name="connsiteX41" fmla="*/ 458013 w 2393318"/>
              <a:gd name="connsiteY41" fmla="*/ 110509 h 662520"/>
              <a:gd name="connsiteX42" fmla="*/ 478379 w 2393318"/>
              <a:gd name="connsiteY42" fmla="*/ 152255 h 662520"/>
              <a:gd name="connsiteX43" fmla="*/ 493429 w 2393318"/>
              <a:gd name="connsiteY43" fmla="*/ 201265 h 662520"/>
              <a:gd name="connsiteX44" fmla="*/ 502756 w 2393318"/>
              <a:gd name="connsiteY44" fmla="*/ 257766 h 662520"/>
              <a:gd name="connsiteX45" fmla="*/ 505955 w 2393318"/>
              <a:gd name="connsiteY45" fmla="*/ 321983 h 662520"/>
              <a:gd name="connsiteX46" fmla="*/ 503406 w 2393318"/>
              <a:gd name="connsiteY46" fmla="*/ 376707 h 662520"/>
              <a:gd name="connsiteX47" fmla="*/ 495858 w 2393318"/>
              <a:gd name="connsiteY47" fmla="*/ 427041 h 662520"/>
              <a:gd name="connsiteX48" fmla="*/ 483456 w 2393318"/>
              <a:gd name="connsiteY48" fmla="*/ 472909 h 662520"/>
              <a:gd name="connsiteX49" fmla="*/ 466346 w 2393318"/>
              <a:gd name="connsiteY49" fmla="*/ 514232 h 662520"/>
              <a:gd name="connsiteX50" fmla="*/ 444674 w 2393318"/>
              <a:gd name="connsiteY50" fmla="*/ 550937 h 662520"/>
              <a:gd name="connsiteX51" fmla="*/ 418587 w 2393318"/>
              <a:gd name="connsiteY51" fmla="*/ 582945 h 662520"/>
              <a:gd name="connsiteX52" fmla="*/ 388229 w 2393318"/>
              <a:gd name="connsiteY52" fmla="*/ 610181 h 662520"/>
              <a:gd name="connsiteX53" fmla="*/ 353748 w 2393318"/>
              <a:gd name="connsiteY53" fmla="*/ 632569 h 662520"/>
              <a:gd name="connsiteX54" fmla="*/ 315289 w 2393318"/>
              <a:gd name="connsiteY54" fmla="*/ 650033 h 662520"/>
              <a:gd name="connsiteX55" fmla="*/ 272999 w 2393318"/>
              <a:gd name="connsiteY55" fmla="*/ 662495 h 662520"/>
              <a:gd name="connsiteX56" fmla="*/ 592162 w 2393318"/>
              <a:gd name="connsiteY56" fmla="*/ 662520 h 662520"/>
              <a:gd name="connsiteX57" fmla="*/ 571167 w 2393318"/>
              <a:gd name="connsiteY57" fmla="*/ 658030 h 662520"/>
              <a:gd name="connsiteX58" fmla="*/ 551373 w 2393318"/>
              <a:gd name="connsiteY58" fmla="*/ 652783 h 662520"/>
              <a:gd name="connsiteX59" fmla="*/ 532537 w 2393318"/>
              <a:gd name="connsiteY59" fmla="*/ 646826 h 662520"/>
              <a:gd name="connsiteX60" fmla="*/ 514413 w 2393318"/>
              <a:gd name="connsiteY60" fmla="*/ 640206 h 662520"/>
              <a:gd name="connsiteX61" fmla="*/ 514413 w 2393318"/>
              <a:gd name="connsiteY61" fmla="*/ 516293 h 662520"/>
              <a:gd name="connsiteX62" fmla="*/ 596087 w 2393318"/>
              <a:gd name="connsiteY62" fmla="*/ 516293 h 662520"/>
              <a:gd name="connsiteX63" fmla="*/ 612203 w 2393318"/>
              <a:gd name="connsiteY63" fmla="*/ 539439 h 662520"/>
              <a:gd name="connsiteX64" fmla="*/ 635627 w 2393318"/>
              <a:gd name="connsiteY64" fmla="*/ 559242 h 662520"/>
              <a:gd name="connsiteX65" fmla="*/ 666972 w 2393318"/>
              <a:gd name="connsiteY65" fmla="*/ 573062 h 662520"/>
              <a:gd name="connsiteX66" fmla="*/ 706856 w 2393318"/>
              <a:gd name="connsiteY66" fmla="*/ 578256 h 662520"/>
              <a:gd name="connsiteX67" fmla="*/ 749359 w 2393318"/>
              <a:gd name="connsiteY67" fmla="*/ 571758 h 662520"/>
              <a:gd name="connsiteX68" fmla="*/ 784298 w 2393318"/>
              <a:gd name="connsiteY68" fmla="*/ 552322 h 662520"/>
              <a:gd name="connsiteX69" fmla="*/ 807972 w 2393318"/>
              <a:gd name="connsiteY69" fmla="*/ 520038 h 662520"/>
              <a:gd name="connsiteX70" fmla="*/ 816686 w 2393318"/>
              <a:gd name="connsiteY70" fmla="*/ 474992 h 662520"/>
              <a:gd name="connsiteX71" fmla="*/ 809424 w 2393318"/>
              <a:gd name="connsiteY71" fmla="*/ 430240 h 662520"/>
              <a:gd name="connsiteX72" fmla="*/ 787466 w 2393318"/>
              <a:gd name="connsiteY72" fmla="*/ 398602 h 662520"/>
              <a:gd name="connsiteX73" fmla="*/ 750549 w 2393318"/>
              <a:gd name="connsiteY73" fmla="*/ 379812 h 662520"/>
              <a:gd name="connsiteX74" fmla="*/ 698411 w 2393318"/>
              <a:gd name="connsiteY74" fmla="*/ 373608 h 662520"/>
              <a:gd name="connsiteX75" fmla="*/ 649592 w 2393318"/>
              <a:gd name="connsiteY75" fmla="*/ 373608 h 662520"/>
              <a:gd name="connsiteX76" fmla="*/ 649592 w 2393318"/>
              <a:gd name="connsiteY76" fmla="*/ 286308 h 662520"/>
              <a:gd name="connsiteX77" fmla="*/ 690892 w 2393318"/>
              <a:gd name="connsiteY77" fmla="*/ 286308 h 662520"/>
              <a:gd name="connsiteX78" fmla="*/ 744563 w 2393318"/>
              <a:gd name="connsiteY78" fmla="*/ 280133 h 662520"/>
              <a:gd name="connsiteX79" fmla="*/ 783007 w 2393318"/>
              <a:gd name="connsiteY79" fmla="*/ 261550 h 662520"/>
              <a:gd name="connsiteX80" fmla="*/ 806137 w 2393318"/>
              <a:gd name="connsiteY80" fmla="*/ 230469 h 662520"/>
              <a:gd name="connsiteX81" fmla="*/ 813866 w 2393318"/>
              <a:gd name="connsiteY81" fmla="*/ 186804 h 662520"/>
              <a:gd name="connsiteX82" fmla="*/ 808513 w 2393318"/>
              <a:gd name="connsiteY82" fmla="*/ 149115 h 662520"/>
              <a:gd name="connsiteX83" fmla="*/ 792160 w 2393318"/>
              <a:gd name="connsiteY83" fmla="*/ 121104 h 662520"/>
              <a:gd name="connsiteX84" fmla="*/ 764365 w 2393318"/>
              <a:gd name="connsiteY84" fmla="*/ 103651 h 662520"/>
              <a:gd name="connsiteX85" fmla="*/ 724687 w 2393318"/>
              <a:gd name="connsiteY85" fmla="*/ 97637 h 662520"/>
              <a:gd name="connsiteX86" fmla="*/ 687243 w 2393318"/>
              <a:gd name="connsiteY86" fmla="*/ 102374 h 662520"/>
              <a:gd name="connsiteX87" fmla="*/ 657456 w 2393318"/>
              <a:gd name="connsiteY87" fmla="*/ 115117 h 662520"/>
              <a:gd name="connsiteX88" fmla="*/ 634533 w 2393318"/>
              <a:gd name="connsiteY88" fmla="*/ 133668 h 662520"/>
              <a:gd name="connsiteX89" fmla="*/ 617677 w 2393318"/>
              <a:gd name="connsiteY89" fmla="*/ 155828 h 662520"/>
              <a:gd name="connsiteX90" fmla="*/ 539775 w 2393318"/>
              <a:gd name="connsiteY90" fmla="*/ 155828 h 662520"/>
              <a:gd name="connsiteX91" fmla="*/ 539775 w 2393318"/>
              <a:gd name="connsiteY91" fmla="*/ 33807 h 662520"/>
              <a:gd name="connsiteX92" fmla="*/ 584006 w 2393318"/>
              <a:gd name="connsiteY92" fmla="*/ 19813 h 662520"/>
              <a:gd name="connsiteX93" fmla="*/ 631056 w 2393318"/>
              <a:gd name="connsiteY93" fmla="*/ 9159 h 662520"/>
              <a:gd name="connsiteX94" fmla="*/ 681278 w 2393318"/>
              <a:gd name="connsiteY94" fmla="*/ 2378 h 662520"/>
              <a:gd name="connsiteX95" fmla="*/ 735025 w 2393318"/>
              <a:gd name="connsiteY95" fmla="*/ 0 h 662520"/>
              <a:gd name="connsiteX96" fmla="*/ 790395 w 2393318"/>
              <a:gd name="connsiteY96" fmla="*/ 3158 h 662520"/>
              <a:gd name="connsiteX97" fmla="*/ 838689 w 2393318"/>
              <a:gd name="connsiteY97" fmla="*/ 12853 h 662520"/>
              <a:gd name="connsiteX98" fmla="*/ 879380 w 2393318"/>
              <a:gd name="connsiteY98" fmla="*/ 29412 h 662520"/>
              <a:gd name="connsiteX99" fmla="*/ 911943 w 2393318"/>
              <a:gd name="connsiteY99" fmla="*/ 53163 h 662520"/>
              <a:gd name="connsiteX100" fmla="*/ 935853 w 2393318"/>
              <a:gd name="connsiteY100" fmla="*/ 84435 h 662520"/>
              <a:gd name="connsiteX101" fmla="*/ 950584 w 2393318"/>
              <a:gd name="connsiteY101" fmla="*/ 123555 h 662520"/>
              <a:gd name="connsiteX102" fmla="*/ 955611 w 2393318"/>
              <a:gd name="connsiteY102" fmla="*/ 170853 h 662520"/>
              <a:gd name="connsiteX103" fmla="*/ 949453 w 2393318"/>
              <a:gd name="connsiteY103" fmla="*/ 219568 h 662520"/>
              <a:gd name="connsiteX104" fmla="*/ 931581 w 2393318"/>
              <a:gd name="connsiteY104" fmla="*/ 258234 h 662520"/>
              <a:gd name="connsiteX105" fmla="*/ 902895 w 2393318"/>
              <a:gd name="connsiteY105" fmla="*/ 287843 h 662520"/>
              <a:gd name="connsiteX106" fmla="*/ 864296 w 2393318"/>
              <a:gd name="connsiteY106" fmla="*/ 309388 h 662520"/>
              <a:gd name="connsiteX107" fmla="*/ 816686 w 2393318"/>
              <a:gd name="connsiteY107" fmla="*/ 323862 h 662520"/>
              <a:gd name="connsiteX108" fmla="*/ 816686 w 2393318"/>
              <a:gd name="connsiteY108" fmla="*/ 327609 h 662520"/>
              <a:gd name="connsiteX109" fmla="*/ 870681 w 2393318"/>
              <a:gd name="connsiteY109" fmla="*/ 340566 h 662520"/>
              <a:gd name="connsiteX110" fmla="*/ 912283 w 2393318"/>
              <a:gd name="connsiteY110" fmla="*/ 362534 h 662520"/>
              <a:gd name="connsiteX111" fmla="*/ 941719 w 2393318"/>
              <a:gd name="connsiteY111" fmla="*/ 393513 h 662520"/>
              <a:gd name="connsiteX112" fmla="*/ 959215 w 2393318"/>
              <a:gd name="connsiteY112" fmla="*/ 433502 h 662520"/>
              <a:gd name="connsiteX113" fmla="*/ 964996 w 2393318"/>
              <a:gd name="connsiteY113" fmla="*/ 482498 h 662520"/>
              <a:gd name="connsiteX114" fmla="*/ 959936 w 2393318"/>
              <a:gd name="connsiteY114" fmla="*/ 527743 h 662520"/>
              <a:gd name="connsiteX115" fmla="*/ 944659 w 2393318"/>
              <a:gd name="connsiteY115" fmla="*/ 567021 h 662520"/>
              <a:gd name="connsiteX116" fmla="*/ 920122 w 2393318"/>
              <a:gd name="connsiteY116" fmla="*/ 600232 h 662520"/>
              <a:gd name="connsiteX117" fmla="*/ 887285 w 2393318"/>
              <a:gd name="connsiteY117" fmla="*/ 627278 h 662520"/>
              <a:gd name="connsiteX118" fmla="*/ 847106 w 2393318"/>
              <a:gd name="connsiteY118" fmla="*/ 648061 h 662520"/>
              <a:gd name="connsiteX119" fmla="*/ 800544 w 2393318"/>
              <a:gd name="connsiteY119" fmla="*/ 662482 h 662520"/>
              <a:gd name="connsiteX120" fmla="*/ 1360843 w 2393318"/>
              <a:gd name="connsiteY120" fmla="*/ 662495 h 662520"/>
              <a:gd name="connsiteX121" fmla="*/ 1322871 w 2393318"/>
              <a:gd name="connsiteY121" fmla="*/ 649352 h 662520"/>
              <a:gd name="connsiteX122" fmla="*/ 1287296 w 2393318"/>
              <a:gd name="connsiteY122" fmla="*/ 630560 h 662520"/>
              <a:gd name="connsiteX123" fmla="*/ 1254670 w 2393318"/>
              <a:gd name="connsiteY123" fmla="*/ 606062 h 662520"/>
              <a:gd name="connsiteX124" fmla="*/ 1225546 w 2393318"/>
              <a:gd name="connsiteY124" fmla="*/ 575802 h 662520"/>
              <a:gd name="connsiteX125" fmla="*/ 1200477 w 2393318"/>
              <a:gd name="connsiteY125" fmla="*/ 539722 h 662520"/>
              <a:gd name="connsiteX126" fmla="*/ 1180016 w 2393318"/>
              <a:gd name="connsiteY126" fmla="*/ 497766 h 662520"/>
              <a:gd name="connsiteX127" fmla="*/ 1164717 w 2393318"/>
              <a:gd name="connsiteY127" fmla="*/ 449876 h 662520"/>
              <a:gd name="connsiteX128" fmla="*/ 1155131 w 2393318"/>
              <a:gd name="connsiteY128" fmla="*/ 395995 h 662520"/>
              <a:gd name="connsiteX129" fmla="*/ 1151813 w 2393318"/>
              <a:gd name="connsiteY129" fmla="*/ 336067 h 662520"/>
              <a:gd name="connsiteX130" fmla="*/ 1155053 w 2393318"/>
              <a:gd name="connsiteY130" fmla="*/ 276826 h 662520"/>
              <a:gd name="connsiteX131" fmla="*/ 1164415 w 2393318"/>
              <a:gd name="connsiteY131" fmla="*/ 223488 h 662520"/>
              <a:gd name="connsiteX132" fmla="*/ 1179368 w 2393318"/>
              <a:gd name="connsiteY132" fmla="*/ 175997 h 662520"/>
              <a:gd name="connsiteX133" fmla="*/ 1199377 w 2393318"/>
              <a:gd name="connsiteY133" fmla="*/ 134299 h 662520"/>
              <a:gd name="connsiteX134" fmla="*/ 1223910 w 2393318"/>
              <a:gd name="connsiteY134" fmla="*/ 98339 h 662520"/>
              <a:gd name="connsiteX135" fmla="*/ 1252434 w 2393318"/>
              <a:gd name="connsiteY135" fmla="*/ 68062 h 662520"/>
              <a:gd name="connsiteX136" fmla="*/ 1284414 w 2393318"/>
              <a:gd name="connsiteY136" fmla="*/ 43413 h 662520"/>
              <a:gd name="connsiteX137" fmla="*/ 1319318 w 2393318"/>
              <a:gd name="connsiteY137" fmla="*/ 24337 h 662520"/>
              <a:gd name="connsiteX138" fmla="*/ 1356613 w 2393318"/>
              <a:gd name="connsiteY138" fmla="*/ 10780 h 662520"/>
              <a:gd name="connsiteX139" fmla="*/ 1395766 w 2393318"/>
              <a:gd name="connsiteY139" fmla="*/ 2685 h 662520"/>
              <a:gd name="connsiteX140" fmla="*/ 1436243 w 2393318"/>
              <a:gd name="connsiteY140" fmla="*/ 0 h 662520"/>
              <a:gd name="connsiteX141" fmla="*/ 1476722 w 2393318"/>
              <a:gd name="connsiteY141" fmla="*/ 2685 h 662520"/>
              <a:gd name="connsiteX142" fmla="*/ 1515876 w 2393318"/>
              <a:gd name="connsiteY142" fmla="*/ 10780 h 662520"/>
              <a:gd name="connsiteX143" fmla="*/ 1553172 w 2393318"/>
              <a:gd name="connsiteY143" fmla="*/ 24337 h 662520"/>
              <a:gd name="connsiteX144" fmla="*/ 1588076 w 2393318"/>
              <a:gd name="connsiteY144" fmla="*/ 43413 h 662520"/>
              <a:gd name="connsiteX145" fmla="*/ 1620056 w 2393318"/>
              <a:gd name="connsiteY145" fmla="*/ 68062 h 662520"/>
              <a:gd name="connsiteX146" fmla="*/ 1648579 w 2393318"/>
              <a:gd name="connsiteY146" fmla="*/ 98339 h 662520"/>
              <a:gd name="connsiteX147" fmla="*/ 1673111 w 2393318"/>
              <a:gd name="connsiteY147" fmla="*/ 134299 h 662520"/>
              <a:gd name="connsiteX148" fmla="*/ 1693119 w 2393318"/>
              <a:gd name="connsiteY148" fmla="*/ 175997 h 662520"/>
              <a:gd name="connsiteX149" fmla="*/ 1708071 w 2393318"/>
              <a:gd name="connsiteY149" fmla="*/ 223488 h 662520"/>
              <a:gd name="connsiteX150" fmla="*/ 1717433 w 2393318"/>
              <a:gd name="connsiteY150" fmla="*/ 276826 h 662520"/>
              <a:gd name="connsiteX151" fmla="*/ 1720672 w 2393318"/>
              <a:gd name="connsiteY151" fmla="*/ 336067 h 662520"/>
              <a:gd name="connsiteX152" fmla="*/ 1717354 w 2393318"/>
              <a:gd name="connsiteY152" fmla="*/ 395995 h 662520"/>
              <a:gd name="connsiteX153" fmla="*/ 1707768 w 2393318"/>
              <a:gd name="connsiteY153" fmla="*/ 449876 h 662520"/>
              <a:gd name="connsiteX154" fmla="*/ 1692469 w 2393318"/>
              <a:gd name="connsiteY154" fmla="*/ 497766 h 662520"/>
              <a:gd name="connsiteX155" fmla="*/ 1672008 w 2393318"/>
              <a:gd name="connsiteY155" fmla="*/ 539722 h 662520"/>
              <a:gd name="connsiteX156" fmla="*/ 1646939 w 2393318"/>
              <a:gd name="connsiteY156" fmla="*/ 575802 h 662520"/>
              <a:gd name="connsiteX157" fmla="*/ 1617815 w 2393318"/>
              <a:gd name="connsiteY157" fmla="*/ 606062 h 662520"/>
              <a:gd name="connsiteX158" fmla="*/ 1585189 w 2393318"/>
              <a:gd name="connsiteY158" fmla="*/ 630560 h 662520"/>
              <a:gd name="connsiteX159" fmla="*/ 1549614 w 2393318"/>
              <a:gd name="connsiteY159" fmla="*/ 649352 h 662520"/>
              <a:gd name="connsiteX160" fmla="*/ 1511642 w 2393318"/>
              <a:gd name="connsiteY160" fmla="*/ 662495 h 662520"/>
              <a:gd name="connsiteX161" fmla="*/ 1943430 w 2393318"/>
              <a:gd name="connsiteY161" fmla="*/ 662495 h 662520"/>
              <a:gd name="connsiteX162" fmla="*/ 1905459 w 2393318"/>
              <a:gd name="connsiteY162" fmla="*/ 649348 h 662520"/>
              <a:gd name="connsiteX163" fmla="*/ 1869885 w 2393318"/>
              <a:gd name="connsiteY163" fmla="*/ 630555 h 662520"/>
              <a:gd name="connsiteX164" fmla="*/ 1837261 w 2393318"/>
              <a:gd name="connsiteY164" fmla="*/ 606057 h 662520"/>
              <a:gd name="connsiteX165" fmla="*/ 1808138 w 2393318"/>
              <a:gd name="connsiteY165" fmla="*/ 575797 h 662520"/>
              <a:gd name="connsiteX166" fmla="*/ 1783072 w 2393318"/>
              <a:gd name="connsiteY166" fmla="*/ 539718 h 662520"/>
              <a:gd name="connsiteX167" fmla="*/ 1762613 w 2393318"/>
              <a:gd name="connsiteY167" fmla="*/ 497763 h 662520"/>
              <a:gd name="connsiteX168" fmla="*/ 1747315 w 2393318"/>
              <a:gd name="connsiteY168" fmla="*/ 449874 h 662520"/>
              <a:gd name="connsiteX169" fmla="*/ 1737731 w 2393318"/>
              <a:gd name="connsiteY169" fmla="*/ 395995 h 662520"/>
              <a:gd name="connsiteX170" fmla="*/ 1734413 w 2393318"/>
              <a:gd name="connsiteY170" fmla="*/ 336067 h 662520"/>
              <a:gd name="connsiteX171" fmla="*/ 1737652 w 2393318"/>
              <a:gd name="connsiteY171" fmla="*/ 276826 h 662520"/>
              <a:gd name="connsiteX172" fmla="*/ 1747014 w 2393318"/>
              <a:gd name="connsiteY172" fmla="*/ 223488 h 662520"/>
              <a:gd name="connsiteX173" fmla="*/ 1761965 w 2393318"/>
              <a:gd name="connsiteY173" fmla="*/ 175997 h 662520"/>
              <a:gd name="connsiteX174" fmla="*/ 1781973 w 2393318"/>
              <a:gd name="connsiteY174" fmla="*/ 134299 h 662520"/>
              <a:gd name="connsiteX175" fmla="*/ 1806505 w 2393318"/>
              <a:gd name="connsiteY175" fmla="*/ 98339 h 662520"/>
              <a:gd name="connsiteX176" fmla="*/ 1835026 w 2393318"/>
              <a:gd name="connsiteY176" fmla="*/ 68062 h 662520"/>
              <a:gd name="connsiteX177" fmla="*/ 1867005 w 2393318"/>
              <a:gd name="connsiteY177" fmla="*/ 43413 h 662520"/>
              <a:gd name="connsiteX178" fmla="*/ 1901908 w 2393318"/>
              <a:gd name="connsiteY178" fmla="*/ 24337 h 662520"/>
              <a:gd name="connsiteX179" fmla="*/ 1939202 w 2393318"/>
              <a:gd name="connsiteY179" fmla="*/ 10780 h 662520"/>
              <a:gd name="connsiteX180" fmla="*/ 1978353 w 2393318"/>
              <a:gd name="connsiteY180" fmla="*/ 2685 h 662520"/>
              <a:gd name="connsiteX181" fmla="*/ 2018830 w 2393318"/>
              <a:gd name="connsiteY181" fmla="*/ 0 h 662520"/>
              <a:gd name="connsiteX182" fmla="*/ 2059309 w 2393318"/>
              <a:gd name="connsiteY182" fmla="*/ 2685 h 662520"/>
              <a:gd name="connsiteX183" fmla="*/ 2098463 w 2393318"/>
              <a:gd name="connsiteY183" fmla="*/ 10780 h 662520"/>
              <a:gd name="connsiteX184" fmla="*/ 2135759 w 2393318"/>
              <a:gd name="connsiteY184" fmla="*/ 24337 h 662520"/>
              <a:gd name="connsiteX185" fmla="*/ 2170664 w 2393318"/>
              <a:gd name="connsiteY185" fmla="*/ 43413 h 662520"/>
              <a:gd name="connsiteX186" fmla="*/ 2202644 w 2393318"/>
              <a:gd name="connsiteY186" fmla="*/ 68062 h 662520"/>
              <a:gd name="connsiteX187" fmla="*/ 2231166 w 2393318"/>
              <a:gd name="connsiteY187" fmla="*/ 98339 h 662520"/>
              <a:gd name="connsiteX188" fmla="*/ 2255698 w 2393318"/>
              <a:gd name="connsiteY188" fmla="*/ 134299 h 662520"/>
              <a:gd name="connsiteX189" fmla="*/ 2275706 w 2393318"/>
              <a:gd name="connsiteY189" fmla="*/ 175997 h 662520"/>
              <a:gd name="connsiteX190" fmla="*/ 2290658 w 2393318"/>
              <a:gd name="connsiteY190" fmla="*/ 223488 h 662520"/>
              <a:gd name="connsiteX191" fmla="*/ 2300020 w 2393318"/>
              <a:gd name="connsiteY191" fmla="*/ 276826 h 662520"/>
              <a:gd name="connsiteX192" fmla="*/ 2303259 w 2393318"/>
              <a:gd name="connsiteY192" fmla="*/ 336067 h 662520"/>
              <a:gd name="connsiteX193" fmla="*/ 2299941 w 2393318"/>
              <a:gd name="connsiteY193" fmla="*/ 395991 h 662520"/>
              <a:gd name="connsiteX194" fmla="*/ 2290357 w 2393318"/>
              <a:gd name="connsiteY194" fmla="*/ 449869 h 662520"/>
              <a:gd name="connsiteX195" fmla="*/ 2275059 w 2393318"/>
              <a:gd name="connsiteY195" fmla="*/ 497757 h 662520"/>
              <a:gd name="connsiteX196" fmla="*/ 2254600 w 2393318"/>
              <a:gd name="connsiteY196" fmla="*/ 539713 h 662520"/>
              <a:gd name="connsiteX197" fmla="*/ 2229533 w 2393318"/>
              <a:gd name="connsiteY197" fmla="*/ 575793 h 662520"/>
              <a:gd name="connsiteX198" fmla="*/ 2200411 w 2393318"/>
              <a:gd name="connsiteY198" fmla="*/ 606054 h 662520"/>
              <a:gd name="connsiteX199" fmla="*/ 2167787 w 2393318"/>
              <a:gd name="connsiteY199" fmla="*/ 630553 h 662520"/>
              <a:gd name="connsiteX200" fmla="*/ 2132213 w 2393318"/>
              <a:gd name="connsiteY200" fmla="*/ 649348 h 662520"/>
              <a:gd name="connsiteX201" fmla="*/ 2094242 w 2393318"/>
              <a:gd name="connsiteY201" fmla="*/ 662495 h 662520"/>
              <a:gd name="connsiteX202" fmla="*/ 2393318 w 2393318"/>
              <a:gd name="connsiteY202" fmla="*/ 575772 h 662520"/>
              <a:gd name="connsiteX203" fmla="*/ 2368257 w 2393318"/>
              <a:gd name="connsiteY203" fmla="*/ 539693 h 662520"/>
              <a:gd name="connsiteX204" fmla="*/ 2347803 w 2393318"/>
              <a:gd name="connsiteY204" fmla="*/ 497740 h 662520"/>
              <a:gd name="connsiteX205" fmla="*/ 2332510 w 2393318"/>
              <a:gd name="connsiteY205" fmla="*/ 449856 h 662520"/>
              <a:gd name="connsiteX206" fmla="*/ 2322930 w 2393318"/>
              <a:gd name="connsiteY206" fmla="*/ 395984 h 662520"/>
              <a:gd name="connsiteX207" fmla="*/ 2319616 w 2393318"/>
              <a:gd name="connsiteY207" fmla="*/ 336067 h 662520"/>
              <a:gd name="connsiteX208" fmla="*/ 2322855 w 2393318"/>
              <a:gd name="connsiteY208" fmla="*/ 276826 h 662520"/>
              <a:gd name="connsiteX209" fmla="*/ 2332217 w 2393318"/>
              <a:gd name="connsiteY209" fmla="*/ 223488 h 662520"/>
              <a:gd name="connsiteX210" fmla="*/ 2347169 w 2393318"/>
              <a:gd name="connsiteY210" fmla="*/ 175997 h 662520"/>
              <a:gd name="connsiteX211" fmla="*/ 2367177 w 2393318"/>
              <a:gd name="connsiteY211" fmla="*/ 134299 h 662520"/>
              <a:gd name="connsiteX0" fmla="*/ 74231 w 2368257"/>
              <a:gd name="connsiteY0" fmla="*/ 662482 h 662520"/>
              <a:gd name="connsiteX1" fmla="*/ 60344 w 2368257"/>
              <a:gd name="connsiteY1" fmla="*/ 659582 h 662520"/>
              <a:gd name="connsiteX2" fmla="*/ 47517 w 2368257"/>
              <a:gd name="connsiteY2" fmla="*/ 656437 h 662520"/>
              <a:gd name="connsiteX3" fmla="*/ 35823 w 2368257"/>
              <a:gd name="connsiteY3" fmla="*/ 653092 h 662520"/>
              <a:gd name="connsiteX4" fmla="*/ 25336 w 2368257"/>
              <a:gd name="connsiteY4" fmla="*/ 649592 h 662520"/>
              <a:gd name="connsiteX5" fmla="*/ 25336 w 2368257"/>
              <a:gd name="connsiteY5" fmla="*/ 533196 h 662520"/>
              <a:gd name="connsiteX6" fmla="*/ 104190 w 2368257"/>
              <a:gd name="connsiteY6" fmla="*/ 533196 h 662520"/>
              <a:gd name="connsiteX7" fmla="*/ 116931 w 2368257"/>
              <a:gd name="connsiteY7" fmla="*/ 550133 h 662520"/>
              <a:gd name="connsiteX8" fmla="*/ 135043 w 2368257"/>
              <a:gd name="connsiteY8" fmla="*/ 564522 h 662520"/>
              <a:gd name="connsiteX9" fmla="*/ 160020 w 2368257"/>
              <a:gd name="connsiteY9" fmla="*/ 574514 h 662520"/>
              <a:gd name="connsiteX10" fmla="*/ 193357 w 2368257"/>
              <a:gd name="connsiteY10" fmla="*/ 578256 h 662520"/>
              <a:gd name="connsiteX11" fmla="*/ 233829 w 2368257"/>
              <a:gd name="connsiteY11" fmla="*/ 573672 h 662520"/>
              <a:gd name="connsiteX12" fmla="*/ 297105 w 2368257"/>
              <a:gd name="connsiteY12" fmla="*/ 537246 h 662520"/>
              <a:gd name="connsiteX13" fmla="*/ 320040 w 2368257"/>
              <a:gd name="connsiteY13" fmla="*/ 505568 h 662520"/>
              <a:gd name="connsiteX14" fmla="*/ 337261 w 2368257"/>
              <a:gd name="connsiteY14" fmla="*/ 465022 h 662520"/>
              <a:gd name="connsiteX15" fmla="*/ 348834 w 2368257"/>
              <a:gd name="connsiteY15" fmla="*/ 415691 h 662520"/>
              <a:gd name="connsiteX16" fmla="*/ 354825 w 2368257"/>
              <a:gd name="connsiteY16" fmla="*/ 357657 h 662520"/>
              <a:gd name="connsiteX17" fmla="*/ 325357 w 2368257"/>
              <a:gd name="connsiteY17" fmla="*/ 385098 h 662520"/>
              <a:gd name="connsiteX18" fmla="*/ 289466 w 2368257"/>
              <a:gd name="connsiteY18" fmla="*/ 406117 h 662520"/>
              <a:gd name="connsiteX19" fmla="*/ 247767 w 2368257"/>
              <a:gd name="connsiteY19" fmla="*/ 419568 h 662520"/>
              <a:gd name="connsiteX20" fmla="*/ 200875 w 2368257"/>
              <a:gd name="connsiteY20" fmla="*/ 424306 h 662520"/>
              <a:gd name="connsiteX21" fmla="*/ 153099 w 2368257"/>
              <a:gd name="connsiteY21" fmla="*/ 420031 h 662520"/>
              <a:gd name="connsiteX22" fmla="*/ 110150 w 2368257"/>
              <a:gd name="connsiteY22" fmla="*/ 407348 h 662520"/>
              <a:gd name="connsiteX23" fmla="*/ 72948 w 2368257"/>
              <a:gd name="connsiteY23" fmla="*/ 386472 h 662520"/>
              <a:gd name="connsiteX24" fmla="*/ 42412 w 2368257"/>
              <a:gd name="connsiteY24" fmla="*/ 357614 h 662520"/>
              <a:gd name="connsiteX25" fmla="*/ 19463 w 2368257"/>
              <a:gd name="connsiteY25" fmla="*/ 320990 h 662520"/>
              <a:gd name="connsiteX26" fmla="*/ 5019 w 2368257"/>
              <a:gd name="connsiteY26" fmla="*/ 276814 h 662520"/>
              <a:gd name="connsiteX27" fmla="*/ 0 w 2368257"/>
              <a:gd name="connsiteY27" fmla="*/ 225297 h 662520"/>
              <a:gd name="connsiteX28" fmla="*/ 4447 w 2368257"/>
              <a:gd name="connsiteY28" fmla="*/ 178425 h 662520"/>
              <a:gd name="connsiteX29" fmla="*/ 17453 w 2368257"/>
              <a:gd name="connsiteY29" fmla="*/ 135445 h 662520"/>
              <a:gd name="connsiteX30" fmla="*/ 38511 w 2368257"/>
              <a:gd name="connsiteY30" fmla="*/ 97085 h 662520"/>
              <a:gd name="connsiteX31" fmla="*/ 67116 w 2368257"/>
              <a:gd name="connsiteY31" fmla="*/ 64071 h 662520"/>
              <a:gd name="connsiteX32" fmla="*/ 102760 w 2368257"/>
              <a:gd name="connsiteY32" fmla="*/ 37129 h 662520"/>
              <a:gd name="connsiteX33" fmla="*/ 144939 w 2368257"/>
              <a:gd name="connsiteY33" fmla="*/ 16986 h 662520"/>
              <a:gd name="connsiteX34" fmla="*/ 193146 w 2368257"/>
              <a:gd name="connsiteY34" fmla="*/ 4367 h 662520"/>
              <a:gd name="connsiteX35" fmla="*/ 246875 w 2368257"/>
              <a:gd name="connsiteY35" fmla="*/ 0 h 662520"/>
              <a:gd name="connsiteX36" fmla="*/ 290625 w 2368257"/>
              <a:gd name="connsiteY36" fmla="*/ 2882 h 662520"/>
              <a:gd name="connsiteX37" fmla="*/ 331492 w 2368257"/>
              <a:gd name="connsiteY37" fmla="*/ 11678 h 662520"/>
              <a:gd name="connsiteX38" fmla="*/ 369070 w 2368257"/>
              <a:gd name="connsiteY38" fmla="*/ 26614 h 662520"/>
              <a:gd name="connsiteX39" fmla="*/ 402953 w 2368257"/>
              <a:gd name="connsiteY39" fmla="*/ 47914 h 662520"/>
              <a:gd name="connsiteX40" fmla="*/ 432736 w 2368257"/>
              <a:gd name="connsiteY40" fmla="*/ 75804 h 662520"/>
              <a:gd name="connsiteX41" fmla="*/ 458013 w 2368257"/>
              <a:gd name="connsiteY41" fmla="*/ 110509 h 662520"/>
              <a:gd name="connsiteX42" fmla="*/ 478379 w 2368257"/>
              <a:gd name="connsiteY42" fmla="*/ 152255 h 662520"/>
              <a:gd name="connsiteX43" fmla="*/ 493429 w 2368257"/>
              <a:gd name="connsiteY43" fmla="*/ 201265 h 662520"/>
              <a:gd name="connsiteX44" fmla="*/ 502756 w 2368257"/>
              <a:gd name="connsiteY44" fmla="*/ 257766 h 662520"/>
              <a:gd name="connsiteX45" fmla="*/ 505955 w 2368257"/>
              <a:gd name="connsiteY45" fmla="*/ 321983 h 662520"/>
              <a:gd name="connsiteX46" fmla="*/ 503406 w 2368257"/>
              <a:gd name="connsiteY46" fmla="*/ 376707 h 662520"/>
              <a:gd name="connsiteX47" fmla="*/ 495858 w 2368257"/>
              <a:gd name="connsiteY47" fmla="*/ 427041 h 662520"/>
              <a:gd name="connsiteX48" fmla="*/ 483456 w 2368257"/>
              <a:gd name="connsiteY48" fmla="*/ 472909 h 662520"/>
              <a:gd name="connsiteX49" fmla="*/ 466346 w 2368257"/>
              <a:gd name="connsiteY49" fmla="*/ 514232 h 662520"/>
              <a:gd name="connsiteX50" fmla="*/ 444674 w 2368257"/>
              <a:gd name="connsiteY50" fmla="*/ 550937 h 662520"/>
              <a:gd name="connsiteX51" fmla="*/ 418587 w 2368257"/>
              <a:gd name="connsiteY51" fmla="*/ 582945 h 662520"/>
              <a:gd name="connsiteX52" fmla="*/ 388229 w 2368257"/>
              <a:gd name="connsiteY52" fmla="*/ 610181 h 662520"/>
              <a:gd name="connsiteX53" fmla="*/ 353748 w 2368257"/>
              <a:gd name="connsiteY53" fmla="*/ 632569 h 662520"/>
              <a:gd name="connsiteX54" fmla="*/ 315289 w 2368257"/>
              <a:gd name="connsiteY54" fmla="*/ 650033 h 662520"/>
              <a:gd name="connsiteX55" fmla="*/ 272999 w 2368257"/>
              <a:gd name="connsiteY55" fmla="*/ 662495 h 662520"/>
              <a:gd name="connsiteX56" fmla="*/ 592162 w 2368257"/>
              <a:gd name="connsiteY56" fmla="*/ 662520 h 662520"/>
              <a:gd name="connsiteX57" fmla="*/ 571167 w 2368257"/>
              <a:gd name="connsiteY57" fmla="*/ 658030 h 662520"/>
              <a:gd name="connsiteX58" fmla="*/ 551373 w 2368257"/>
              <a:gd name="connsiteY58" fmla="*/ 652783 h 662520"/>
              <a:gd name="connsiteX59" fmla="*/ 532537 w 2368257"/>
              <a:gd name="connsiteY59" fmla="*/ 646826 h 662520"/>
              <a:gd name="connsiteX60" fmla="*/ 514413 w 2368257"/>
              <a:gd name="connsiteY60" fmla="*/ 640206 h 662520"/>
              <a:gd name="connsiteX61" fmla="*/ 514413 w 2368257"/>
              <a:gd name="connsiteY61" fmla="*/ 516293 h 662520"/>
              <a:gd name="connsiteX62" fmla="*/ 596087 w 2368257"/>
              <a:gd name="connsiteY62" fmla="*/ 516293 h 662520"/>
              <a:gd name="connsiteX63" fmla="*/ 612203 w 2368257"/>
              <a:gd name="connsiteY63" fmla="*/ 539439 h 662520"/>
              <a:gd name="connsiteX64" fmla="*/ 635627 w 2368257"/>
              <a:gd name="connsiteY64" fmla="*/ 559242 h 662520"/>
              <a:gd name="connsiteX65" fmla="*/ 666972 w 2368257"/>
              <a:gd name="connsiteY65" fmla="*/ 573062 h 662520"/>
              <a:gd name="connsiteX66" fmla="*/ 706856 w 2368257"/>
              <a:gd name="connsiteY66" fmla="*/ 578256 h 662520"/>
              <a:gd name="connsiteX67" fmla="*/ 749359 w 2368257"/>
              <a:gd name="connsiteY67" fmla="*/ 571758 h 662520"/>
              <a:gd name="connsiteX68" fmla="*/ 784298 w 2368257"/>
              <a:gd name="connsiteY68" fmla="*/ 552322 h 662520"/>
              <a:gd name="connsiteX69" fmla="*/ 807972 w 2368257"/>
              <a:gd name="connsiteY69" fmla="*/ 520038 h 662520"/>
              <a:gd name="connsiteX70" fmla="*/ 816686 w 2368257"/>
              <a:gd name="connsiteY70" fmla="*/ 474992 h 662520"/>
              <a:gd name="connsiteX71" fmla="*/ 809424 w 2368257"/>
              <a:gd name="connsiteY71" fmla="*/ 430240 h 662520"/>
              <a:gd name="connsiteX72" fmla="*/ 787466 w 2368257"/>
              <a:gd name="connsiteY72" fmla="*/ 398602 h 662520"/>
              <a:gd name="connsiteX73" fmla="*/ 750549 w 2368257"/>
              <a:gd name="connsiteY73" fmla="*/ 379812 h 662520"/>
              <a:gd name="connsiteX74" fmla="*/ 698411 w 2368257"/>
              <a:gd name="connsiteY74" fmla="*/ 373608 h 662520"/>
              <a:gd name="connsiteX75" fmla="*/ 649592 w 2368257"/>
              <a:gd name="connsiteY75" fmla="*/ 373608 h 662520"/>
              <a:gd name="connsiteX76" fmla="*/ 649592 w 2368257"/>
              <a:gd name="connsiteY76" fmla="*/ 286308 h 662520"/>
              <a:gd name="connsiteX77" fmla="*/ 690892 w 2368257"/>
              <a:gd name="connsiteY77" fmla="*/ 286308 h 662520"/>
              <a:gd name="connsiteX78" fmla="*/ 744563 w 2368257"/>
              <a:gd name="connsiteY78" fmla="*/ 280133 h 662520"/>
              <a:gd name="connsiteX79" fmla="*/ 783007 w 2368257"/>
              <a:gd name="connsiteY79" fmla="*/ 261550 h 662520"/>
              <a:gd name="connsiteX80" fmla="*/ 806137 w 2368257"/>
              <a:gd name="connsiteY80" fmla="*/ 230469 h 662520"/>
              <a:gd name="connsiteX81" fmla="*/ 813866 w 2368257"/>
              <a:gd name="connsiteY81" fmla="*/ 186804 h 662520"/>
              <a:gd name="connsiteX82" fmla="*/ 808513 w 2368257"/>
              <a:gd name="connsiteY82" fmla="*/ 149115 h 662520"/>
              <a:gd name="connsiteX83" fmla="*/ 792160 w 2368257"/>
              <a:gd name="connsiteY83" fmla="*/ 121104 h 662520"/>
              <a:gd name="connsiteX84" fmla="*/ 764365 w 2368257"/>
              <a:gd name="connsiteY84" fmla="*/ 103651 h 662520"/>
              <a:gd name="connsiteX85" fmla="*/ 724687 w 2368257"/>
              <a:gd name="connsiteY85" fmla="*/ 97637 h 662520"/>
              <a:gd name="connsiteX86" fmla="*/ 687243 w 2368257"/>
              <a:gd name="connsiteY86" fmla="*/ 102374 h 662520"/>
              <a:gd name="connsiteX87" fmla="*/ 657456 w 2368257"/>
              <a:gd name="connsiteY87" fmla="*/ 115117 h 662520"/>
              <a:gd name="connsiteX88" fmla="*/ 634533 w 2368257"/>
              <a:gd name="connsiteY88" fmla="*/ 133668 h 662520"/>
              <a:gd name="connsiteX89" fmla="*/ 617677 w 2368257"/>
              <a:gd name="connsiteY89" fmla="*/ 155828 h 662520"/>
              <a:gd name="connsiteX90" fmla="*/ 539775 w 2368257"/>
              <a:gd name="connsiteY90" fmla="*/ 155828 h 662520"/>
              <a:gd name="connsiteX91" fmla="*/ 539775 w 2368257"/>
              <a:gd name="connsiteY91" fmla="*/ 33807 h 662520"/>
              <a:gd name="connsiteX92" fmla="*/ 584006 w 2368257"/>
              <a:gd name="connsiteY92" fmla="*/ 19813 h 662520"/>
              <a:gd name="connsiteX93" fmla="*/ 631056 w 2368257"/>
              <a:gd name="connsiteY93" fmla="*/ 9159 h 662520"/>
              <a:gd name="connsiteX94" fmla="*/ 681278 w 2368257"/>
              <a:gd name="connsiteY94" fmla="*/ 2378 h 662520"/>
              <a:gd name="connsiteX95" fmla="*/ 735025 w 2368257"/>
              <a:gd name="connsiteY95" fmla="*/ 0 h 662520"/>
              <a:gd name="connsiteX96" fmla="*/ 790395 w 2368257"/>
              <a:gd name="connsiteY96" fmla="*/ 3158 h 662520"/>
              <a:gd name="connsiteX97" fmla="*/ 838689 w 2368257"/>
              <a:gd name="connsiteY97" fmla="*/ 12853 h 662520"/>
              <a:gd name="connsiteX98" fmla="*/ 879380 w 2368257"/>
              <a:gd name="connsiteY98" fmla="*/ 29412 h 662520"/>
              <a:gd name="connsiteX99" fmla="*/ 911943 w 2368257"/>
              <a:gd name="connsiteY99" fmla="*/ 53163 h 662520"/>
              <a:gd name="connsiteX100" fmla="*/ 935853 w 2368257"/>
              <a:gd name="connsiteY100" fmla="*/ 84435 h 662520"/>
              <a:gd name="connsiteX101" fmla="*/ 950584 w 2368257"/>
              <a:gd name="connsiteY101" fmla="*/ 123555 h 662520"/>
              <a:gd name="connsiteX102" fmla="*/ 955611 w 2368257"/>
              <a:gd name="connsiteY102" fmla="*/ 170853 h 662520"/>
              <a:gd name="connsiteX103" fmla="*/ 949453 w 2368257"/>
              <a:gd name="connsiteY103" fmla="*/ 219568 h 662520"/>
              <a:gd name="connsiteX104" fmla="*/ 931581 w 2368257"/>
              <a:gd name="connsiteY104" fmla="*/ 258234 h 662520"/>
              <a:gd name="connsiteX105" fmla="*/ 902895 w 2368257"/>
              <a:gd name="connsiteY105" fmla="*/ 287843 h 662520"/>
              <a:gd name="connsiteX106" fmla="*/ 864296 w 2368257"/>
              <a:gd name="connsiteY106" fmla="*/ 309388 h 662520"/>
              <a:gd name="connsiteX107" fmla="*/ 816686 w 2368257"/>
              <a:gd name="connsiteY107" fmla="*/ 323862 h 662520"/>
              <a:gd name="connsiteX108" fmla="*/ 816686 w 2368257"/>
              <a:gd name="connsiteY108" fmla="*/ 327609 h 662520"/>
              <a:gd name="connsiteX109" fmla="*/ 870681 w 2368257"/>
              <a:gd name="connsiteY109" fmla="*/ 340566 h 662520"/>
              <a:gd name="connsiteX110" fmla="*/ 912283 w 2368257"/>
              <a:gd name="connsiteY110" fmla="*/ 362534 h 662520"/>
              <a:gd name="connsiteX111" fmla="*/ 941719 w 2368257"/>
              <a:gd name="connsiteY111" fmla="*/ 393513 h 662520"/>
              <a:gd name="connsiteX112" fmla="*/ 959215 w 2368257"/>
              <a:gd name="connsiteY112" fmla="*/ 433502 h 662520"/>
              <a:gd name="connsiteX113" fmla="*/ 964996 w 2368257"/>
              <a:gd name="connsiteY113" fmla="*/ 482498 h 662520"/>
              <a:gd name="connsiteX114" fmla="*/ 959936 w 2368257"/>
              <a:gd name="connsiteY114" fmla="*/ 527743 h 662520"/>
              <a:gd name="connsiteX115" fmla="*/ 944659 w 2368257"/>
              <a:gd name="connsiteY115" fmla="*/ 567021 h 662520"/>
              <a:gd name="connsiteX116" fmla="*/ 920122 w 2368257"/>
              <a:gd name="connsiteY116" fmla="*/ 600232 h 662520"/>
              <a:gd name="connsiteX117" fmla="*/ 887285 w 2368257"/>
              <a:gd name="connsiteY117" fmla="*/ 627278 h 662520"/>
              <a:gd name="connsiteX118" fmla="*/ 847106 w 2368257"/>
              <a:gd name="connsiteY118" fmla="*/ 648061 h 662520"/>
              <a:gd name="connsiteX119" fmla="*/ 800544 w 2368257"/>
              <a:gd name="connsiteY119" fmla="*/ 662482 h 662520"/>
              <a:gd name="connsiteX120" fmla="*/ 1360843 w 2368257"/>
              <a:gd name="connsiteY120" fmla="*/ 662495 h 662520"/>
              <a:gd name="connsiteX121" fmla="*/ 1322871 w 2368257"/>
              <a:gd name="connsiteY121" fmla="*/ 649352 h 662520"/>
              <a:gd name="connsiteX122" fmla="*/ 1287296 w 2368257"/>
              <a:gd name="connsiteY122" fmla="*/ 630560 h 662520"/>
              <a:gd name="connsiteX123" fmla="*/ 1254670 w 2368257"/>
              <a:gd name="connsiteY123" fmla="*/ 606062 h 662520"/>
              <a:gd name="connsiteX124" fmla="*/ 1225546 w 2368257"/>
              <a:gd name="connsiteY124" fmla="*/ 575802 h 662520"/>
              <a:gd name="connsiteX125" fmla="*/ 1200477 w 2368257"/>
              <a:gd name="connsiteY125" fmla="*/ 539722 h 662520"/>
              <a:gd name="connsiteX126" fmla="*/ 1180016 w 2368257"/>
              <a:gd name="connsiteY126" fmla="*/ 497766 h 662520"/>
              <a:gd name="connsiteX127" fmla="*/ 1164717 w 2368257"/>
              <a:gd name="connsiteY127" fmla="*/ 449876 h 662520"/>
              <a:gd name="connsiteX128" fmla="*/ 1155131 w 2368257"/>
              <a:gd name="connsiteY128" fmla="*/ 395995 h 662520"/>
              <a:gd name="connsiteX129" fmla="*/ 1151813 w 2368257"/>
              <a:gd name="connsiteY129" fmla="*/ 336067 h 662520"/>
              <a:gd name="connsiteX130" fmla="*/ 1155053 w 2368257"/>
              <a:gd name="connsiteY130" fmla="*/ 276826 h 662520"/>
              <a:gd name="connsiteX131" fmla="*/ 1164415 w 2368257"/>
              <a:gd name="connsiteY131" fmla="*/ 223488 h 662520"/>
              <a:gd name="connsiteX132" fmla="*/ 1179368 w 2368257"/>
              <a:gd name="connsiteY132" fmla="*/ 175997 h 662520"/>
              <a:gd name="connsiteX133" fmla="*/ 1199377 w 2368257"/>
              <a:gd name="connsiteY133" fmla="*/ 134299 h 662520"/>
              <a:gd name="connsiteX134" fmla="*/ 1223910 w 2368257"/>
              <a:gd name="connsiteY134" fmla="*/ 98339 h 662520"/>
              <a:gd name="connsiteX135" fmla="*/ 1252434 w 2368257"/>
              <a:gd name="connsiteY135" fmla="*/ 68062 h 662520"/>
              <a:gd name="connsiteX136" fmla="*/ 1284414 w 2368257"/>
              <a:gd name="connsiteY136" fmla="*/ 43413 h 662520"/>
              <a:gd name="connsiteX137" fmla="*/ 1319318 w 2368257"/>
              <a:gd name="connsiteY137" fmla="*/ 24337 h 662520"/>
              <a:gd name="connsiteX138" fmla="*/ 1356613 w 2368257"/>
              <a:gd name="connsiteY138" fmla="*/ 10780 h 662520"/>
              <a:gd name="connsiteX139" fmla="*/ 1395766 w 2368257"/>
              <a:gd name="connsiteY139" fmla="*/ 2685 h 662520"/>
              <a:gd name="connsiteX140" fmla="*/ 1436243 w 2368257"/>
              <a:gd name="connsiteY140" fmla="*/ 0 h 662520"/>
              <a:gd name="connsiteX141" fmla="*/ 1476722 w 2368257"/>
              <a:gd name="connsiteY141" fmla="*/ 2685 h 662520"/>
              <a:gd name="connsiteX142" fmla="*/ 1515876 w 2368257"/>
              <a:gd name="connsiteY142" fmla="*/ 10780 h 662520"/>
              <a:gd name="connsiteX143" fmla="*/ 1553172 w 2368257"/>
              <a:gd name="connsiteY143" fmla="*/ 24337 h 662520"/>
              <a:gd name="connsiteX144" fmla="*/ 1588076 w 2368257"/>
              <a:gd name="connsiteY144" fmla="*/ 43413 h 662520"/>
              <a:gd name="connsiteX145" fmla="*/ 1620056 w 2368257"/>
              <a:gd name="connsiteY145" fmla="*/ 68062 h 662520"/>
              <a:gd name="connsiteX146" fmla="*/ 1648579 w 2368257"/>
              <a:gd name="connsiteY146" fmla="*/ 98339 h 662520"/>
              <a:gd name="connsiteX147" fmla="*/ 1673111 w 2368257"/>
              <a:gd name="connsiteY147" fmla="*/ 134299 h 662520"/>
              <a:gd name="connsiteX148" fmla="*/ 1693119 w 2368257"/>
              <a:gd name="connsiteY148" fmla="*/ 175997 h 662520"/>
              <a:gd name="connsiteX149" fmla="*/ 1708071 w 2368257"/>
              <a:gd name="connsiteY149" fmla="*/ 223488 h 662520"/>
              <a:gd name="connsiteX150" fmla="*/ 1717433 w 2368257"/>
              <a:gd name="connsiteY150" fmla="*/ 276826 h 662520"/>
              <a:gd name="connsiteX151" fmla="*/ 1720672 w 2368257"/>
              <a:gd name="connsiteY151" fmla="*/ 336067 h 662520"/>
              <a:gd name="connsiteX152" fmla="*/ 1717354 w 2368257"/>
              <a:gd name="connsiteY152" fmla="*/ 395995 h 662520"/>
              <a:gd name="connsiteX153" fmla="*/ 1707768 w 2368257"/>
              <a:gd name="connsiteY153" fmla="*/ 449876 h 662520"/>
              <a:gd name="connsiteX154" fmla="*/ 1692469 w 2368257"/>
              <a:gd name="connsiteY154" fmla="*/ 497766 h 662520"/>
              <a:gd name="connsiteX155" fmla="*/ 1672008 w 2368257"/>
              <a:gd name="connsiteY155" fmla="*/ 539722 h 662520"/>
              <a:gd name="connsiteX156" fmla="*/ 1646939 w 2368257"/>
              <a:gd name="connsiteY156" fmla="*/ 575802 h 662520"/>
              <a:gd name="connsiteX157" fmla="*/ 1617815 w 2368257"/>
              <a:gd name="connsiteY157" fmla="*/ 606062 h 662520"/>
              <a:gd name="connsiteX158" fmla="*/ 1585189 w 2368257"/>
              <a:gd name="connsiteY158" fmla="*/ 630560 h 662520"/>
              <a:gd name="connsiteX159" fmla="*/ 1549614 w 2368257"/>
              <a:gd name="connsiteY159" fmla="*/ 649352 h 662520"/>
              <a:gd name="connsiteX160" fmla="*/ 1511642 w 2368257"/>
              <a:gd name="connsiteY160" fmla="*/ 662495 h 662520"/>
              <a:gd name="connsiteX161" fmla="*/ 1943430 w 2368257"/>
              <a:gd name="connsiteY161" fmla="*/ 662495 h 662520"/>
              <a:gd name="connsiteX162" fmla="*/ 1905459 w 2368257"/>
              <a:gd name="connsiteY162" fmla="*/ 649348 h 662520"/>
              <a:gd name="connsiteX163" fmla="*/ 1869885 w 2368257"/>
              <a:gd name="connsiteY163" fmla="*/ 630555 h 662520"/>
              <a:gd name="connsiteX164" fmla="*/ 1837261 w 2368257"/>
              <a:gd name="connsiteY164" fmla="*/ 606057 h 662520"/>
              <a:gd name="connsiteX165" fmla="*/ 1808138 w 2368257"/>
              <a:gd name="connsiteY165" fmla="*/ 575797 h 662520"/>
              <a:gd name="connsiteX166" fmla="*/ 1783072 w 2368257"/>
              <a:gd name="connsiteY166" fmla="*/ 539718 h 662520"/>
              <a:gd name="connsiteX167" fmla="*/ 1762613 w 2368257"/>
              <a:gd name="connsiteY167" fmla="*/ 497763 h 662520"/>
              <a:gd name="connsiteX168" fmla="*/ 1747315 w 2368257"/>
              <a:gd name="connsiteY168" fmla="*/ 449874 h 662520"/>
              <a:gd name="connsiteX169" fmla="*/ 1737731 w 2368257"/>
              <a:gd name="connsiteY169" fmla="*/ 395995 h 662520"/>
              <a:gd name="connsiteX170" fmla="*/ 1734413 w 2368257"/>
              <a:gd name="connsiteY170" fmla="*/ 336067 h 662520"/>
              <a:gd name="connsiteX171" fmla="*/ 1737652 w 2368257"/>
              <a:gd name="connsiteY171" fmla="*/ 276826 h 662520"/>
              <a:gd name="connsiteX172" fmla="*/ 1747014 w 2368257"/>
              <a:gd name="connsiteY172" fmla="*/ 223488 h 662520"/>
              <a:gd name="connsiteX173" fmla="*/ 1761965 w 2368257"/>
              <a:gd name="connsiteY173" fmla="*/ 175997 h 662520"/>
              <a:gd name="connsiteX174" fmla="*/ 1781973 w 2368257"/>
              <a:gd name="connsiteY174" fmla="*/ 134299 h 662520"/>
              <a:gd name="connsiteX175" fmla="*/ 1806505 w 2368257"/>
              <a:gd name="connsiteY175" fmla="*/ 98339 h 662520"/>
              <a:gd name="connsiteX176" fmla="*/ 1835026 w 2368257"/>
              <a:gd name="connsiteY176" fmla="*/ 68062 h 662520"/>
              <a:gd name="connsiteX177" fmla="*/ 1867005 w 2368257"/>
              <a:gd name="connsiteY177" fmla="*/ 43413 h 662520"/>
              <a:gd name="connsiteX178" fmla="*/ 1901908 w 2368257"/>
              <a:gd name="connsiteY178" fmla="*/ 24337 h 662520"/>
              <a:gd name="connsiteX179" fmla="*/ 1939202 w 2368257"/>
              <a:gd name="connsiteY179" fmla="*/ 10780 h 662520"/>
              <a:gd name="connsiteX180" fmla="*/ 1978353 w 2368257"/>
              <a:gd name="connsiteY180" fmla="*/ 2685 h 662520"/>
              <a:gd name="connsiteX181" fmla="*/ 2018830 w 2368257"/>
              <a:gd name="connsiteY181" fmla="*/ 0 h 662520"/>
              <a:gd name="connsiteX182" fmla="*/ 2059309 w 2368257"/>
              <a:gd name="connsiteY182" fmla="*/ 2685 h 662520"/>
              <a:gd name="connsiteX183" fmla="*/ 2098463 w 2368257"/>
              <a:gd name="connsiteY183" fmla="*/ 10780 h 662520"/>
              <a:gd name="connsiteX184" fmla="*/ 2135759 w 2368257"/>
              <a:gd name="connsiteY184" fmla="*/ 24337 h 662520"/>
              <a:gd name="connsiteX185" fmla="*/ 2170664 w 2368257"/>
              <a:gd name="connsiteY185" fmla="*/ 43413 h 662520"/>
              <a:gd name="connsiteX186" fmla="*/ 2202644 w 2368257"/>
              <a:gd name="connsiteY186" fmla="*/ 68062 h 662520"/>
              <a:gd name="connsiteX187" fmla="*/ 2231166 w 2368257"/>
              <a:gd name="connsiteY187" fmla="*/ 98339 h 662520"/>
              <a:gd name="connsiteX188" fmla="*/ 2255698 w 2368257"/>
              <a:gd name="connsiteY188" fmla="*/ 134299 h 662520"/>
              <a:gd name="connsiteX189" fmla="*/ 2275706 w 2368257"/>
              <a:gd name="connsiteY189" fmla="*/ 175997 h 662520"/>
              <a:gd name="connsiteX190" fmla="*/ 2290658 w 2368257"/>
              <a:gd name="connsiteY190" fmla="*/ 223488 h 662520"/>
              <a:gd name="connsiteX191" fmla="*/ 2300020 w 2368257"/>
              <a:gd name="connsiteY191" fmla="*/ 276826 h 662520"/>
              <a:gd name="connsiteX192" fmla="*/ 2303259 w 2368257"/>
              <a:gd name="connsiteY192" fmla="*/ 336067 h 662520"/>
              <a:gd name="connsiteX193" fmla="*/ 2299941 w 2368257"/>
              <a:gd name="connsiteY193" fmla="*/ 395991 h 662520"/>
              <a:gd name="connsiteX194" fmla="*/ 2290357 w 2368257"/>
              <a:gd name="connsiteY194" fmla="*/ 449869 h 662520"/>
              <a:gd name="connsiteX195" fmla="*/ 2275059 w 2368257"/>
              <a:gd name="connsiteY195" fmla="*/ 497757 h 662520"/>
              <a:gd name="connsiteX196" fmla="*/ 2254600 w 2368257"/>
              <a:gd name="connsiteY196" fmla="*/ 539713 h 662520"/>
              <a:gd name="connsiteX197" fmla="*/ 2229533 w 2368257"/>
              <a:gd name="connsiteY197" fmla="*/ 575793 h 662520"/>
              <a:gd name="connsiteX198" fmla="*/ 2200411 w 2368257"/>
              <a:gd name="connsiteY198" fmla="*/ 606054 h 662520"/>
              <a:gd name="connsiteX199" fmla="*/ 2167787 w 2368257"/>
              <a:gd name="connsiteY199" fmla="*/ 630553 h 662520"/>
              <a:gd name="connsiteX200" fmla="*/ 2132213 w 2368257"/>
              <a:gd name="connsiteY200" fmla="*/ 649348 h 662520"/>
              <a:gd name="connsiteX201" fmla="*/ 2094242 w 2368257"/>
              <a:gd name="connsiteY201" fmla="*/ 662495 h 662520"/>
              <a:gd name="connsiteX202" fmla="*/ 2368257 w 2368257"/>
              <a:gd name="connsiteY202" fmla="*/ 539693 h 662520"/>
              <a:gd name="connsiteX203" fmla="*/ 2347803 w 2368257"/>
              <a:gd name="connsiteY203" fmla="*/ 497740 h 662520"/>
              <a:gd name="connsiteX204" fmla="*/ 2332510 w 2368257"/>
              <a:gd name="connsiteY204" fmla="*/ 449856 h 662520"/>
              <a:gd name="connsiteX205" fmla="*/ 2322930 w 2368257"/>
              <a:gd name="connsiteY205" fmla="*/ 395984 h 662520"/>
              <a:gd name="connsiteX206" fmla="*/ 2319616 w 2368257"/>
              <a:gd name="connsiteY206" fmla="*/ 336067 h 662520"/>
              <a:gd name="connsiteX207" fmla="*/ 2322855 w 2368257"/>
              <a:gd name="connsiteY207" fmla="*/ 276826 h 662520"/>
              <a:gd name="connsiteX208" fmla="*/ 2332217 w 2368257"/>
              <a:gd name="connsiteY208" fmla="*/ 223488 h 662520"/>
              <a:gd name="connsiteX209" fmla="*/ 2347169 w 2368257"/>
              <a:gd name="connsiteY209" fmla="*/ 175997 h 662520"/>
              <a:gd name="connsiteX210" fmla="*/ 2367177 w 2368257"/>
              <a:gd name="connsiteY210" fmla="*/ 134299 h 662520"/>
              <a:gd name="connsiteX0" fmla="*/ 74231 w 2367177"/>
              <a:gd name="connsiteY0" fmla="*/ 662482 h 662520"/>
              <a:gd name="connsiteX1" fmla="*/ 60344 w 2367177"/>
              <a:gd name="connsiteY1" fmla="*/ 659582 h 662520"/>
              <a:gd name="connsiteX2" fmla="*/ 47517 w 2367177"/>
              <a:gd name="connsiteY2" fmla="*/ 656437 h 662520"/>
              <a:gd name="connsiteX3" fmla="*/ 35823 w 2367177"/>
              <a:gd name="connsiteY3" fmla="*/ 653092 h 662520"/>
              <a:gd name="connsiteX4" fmla="*/ 25336 w 2367177"/>
              <a:gd name="connsiteY4" fmla="*/ 649592 h 662520"/>
              <a:gd name="connsiteX5" fmla="*/ 25336 w 2367177"/>
              <a:gd name="connsiteY5" fmla="*/ 533196 h 662520"/>
              <a:gd name="connsiteX6" fmla="*/ 104190 w 2367177"/>
              <a:gd name="connsiteY6" fmla="*/ 533196 h 662520"/>
              <a:gd name="connsiteX7" fmla="*/ 116931 w 2367177"/>
              <a:gd name="connsiteY7" fmla="*/ 550133 h 662520"/>
              <a:gd name="connsiteX8" fmla="*/ 135043 w 2367177"/>
              <a:gd name="connsiteY8" fmla="*/ 564522 h 662520"/>
              <a:gd name="connsiteX9" fmla="*/ 160020 w 2367177"/>
              <a:gd name="connsiteY9" fmla="*/ 574514 h 662520"/>
              <a:gd name="connsiteX10" fmla="*/ 193357 w 2367177"/>
              <a:gd name="connsiteY10" fmla="*/ 578256 h 662520"/>
              <a:gd name="connsiteX11" fmla="*/ 233829 w 2367177"/>
              <a:gd name="connsiteY11" fmla="*/ 573672 h 662520"/>
              <a:gd name="connsiteX12" fmla="*/ 297105 w 2367177"/>
              <a:gd name="connsiteY12" fmla="*/ 537246 h 662520"/>
              <a:gd name="connsiteX13" fmla="*/ 320040 w 2367177"/>
              <a:gd name="connsiteY13" fmla="*/ 505568 h 662520"/>
              <a:gd name="connsiteX14" fmla="*/ 337261 w 2367177"/>
              <a:gd name="connsiteY14" fmla="*/ 465022 h 662520"/>
              <a:gd name="connsiteX15" fmla="*/ 348834 w 2367177"/>
              <a:gd name="connsiteY15" fmla="*/ 415691 h 662520"/>
              <a:gd name="connsiteX16" fmla="*/ 354825 w 2367177"/>
              <a:gd name="connsiteY16" fmla="*/ 357657 h 662520"/>
              <a:gd name="connsiteX17" fmla="*/ 325357 w 2367177"/>
              <a:gd name="connsiteY17" fmla="*/ 385098 h 662520"/>
              <a:gd name="connsiteX18" fmla="*/ 289466 w 2367177"/>
              <a:gd name="connsiteY18" fmla="*/ 406117 h 662520"/>
              <a:gd name="connsiteX19" fmla="*/ 247767 w 2367177"/>
              <a:gd name="connsiteY19" fmla="*/ 419568 h 662520"/>
              <a:gd name="connsiteX20" fmla="*/ 200875 w 2367177"/>
              <a:gd name="connsiteY20" fmla="*/ 424306 h 662520"/>
              <a:gd name="connsiteX21" fmla="*/ 153099 w 2367177"/>
              <a:gd name="connsiteY21" fmla="*/ 420031 h 662520"/>
              <a:gd name="connsiteX22" fmla="*/ 110150 w 2367177"/>
              <a:gd name="connsiteY22" fmla="*/ 407348 h 662520"/>
              <a:gd name="connsiteX23" fmla="*/ 72948 w 2367177"/>
              <a:gd name="connsiteY23" fmla="*/ 386472 h 662520"/>
              <a:gd name="connsiteX24" fmla="*/ 42412 w 2367177"/>
              <a:gd name="connsiteY24" fmla="*/ 357614 h 662520"/>
              <a:gd name="connsiteX25" fmla="*/ 19463 w 2367177"/>
              <a:gd name="connsiteY25" fmla="*/ 320990 h 662520"/>
              <a:gd name="connsiteX26" fmla="*/ 5019 w 2367177"/>
              <a:gd name="connsiteY26" fmla="*/ 276814 h 662520"/>
              <a:gd name="connsiteX27" fmla="*/ 0 w 2367177"/>
              <a:gd name="connsiteY27" fmla="*/ 225297 h 662520"/>
              <a:gd name="connsiteX28" fmla="*/ 4447 w 2367177"/>
              <a:gd name="connsiteY28" fmla="*/ 178425 h 662520"/>
              <a:gd name="connsiteX29" fmla="*/ 17453 w 2367177"/>
              <a:gd name="connsiteY29" fmla="*/ 135445 h 662520"/>
              <a:gd name="connsiteX30" fmla="*/ 38511 w 2367177"/>
              <a:gd name="connsiteY30" fmla="*/ 97085 h 662520"/>
              <a:gd name="connsiteX31" fmla="*/ 67116 w 2367177"/>
              <a:gd name="connsiteY31" fmla="*/ 64071 h 662520"/>
              <a:gd name="connsiteX32" fmla="*/ 102760 w 2367177"/>
              <a:gd name="connsiteY32" fmla="*/ 37129 h 662520"/>
              <a:gd name="connsiteX33" fmla="*/ 144939 w 2367177"/>
              <a:gd name="connsiteY33" fmla="*/ 16986 h 662520"/>
              <a:gd name="connsiteX34" fmla="*/ 193146 w 2367177"/>
              <a:gd name="connsiteY34" fmla="*/ 4367 h 662520"/>
              <a:gd name="connsiteX35" fmla="*/ 246875 w 2367177"/>
              <a:gd name="connsiteY35" fmla="*/ 0 h 662520"/>
              <a:gd name="connsiteX36" fmla="*/ 290625 w 2367177"/>
              <a:gd name="connsiteY36" fmla="*/ 2882 h 662520"/>
              <a:gd name="connsiteX37" fmla="*/ 331492 w 2367177"/>
              <a:gd name="connsiteY37" fmla="*/ 11678 h 662520"/>
              <a:gd name="connsiteX38" fmla="*/ 369070 w 2367177"/>
              <a:gd name="connsiteY38" fmla="*/ 26614 h 662520"/>
              <a:gd name="connsiteX39" fmla="*/ 402953 w 2367177"/>
              <a:gd name="connsiteY39" fmla="*/ 47914 h 662520"/>
              <a:gd name="connsiteX40" fmla="*/ 432736 w 2367177"/>
              <a:gd name="connsiteY40" fmla="*/ 75804 h 662520"/>
              <a:gd name="connsiteX41" fmla="*/ 458013 w 2367177"/>
              <a:gd name="connsiteY41" fmla="*/ 110509 h 662520"/>
              <a:gd name="connsiteX42" fmla="*/ 478379 w 2367177"/>
              <a:gd name="connsiteY42" fmla="*/ 152255 h 662520"/>
              <a:gd name="connsiteX43" fmla="*/ 493429 w 2367177"/>
              <a:gd name="connsiteY43" fmla="*/ 201265 h 662520"/>
              <a:gd name="connsiteX44" fmla="*/ 502756 w 2367177"/>
              <a:gd name="connsiteY44" fmla="*/ 257766 h 662520"/>
              <a:gd name="connsiteX45" fmla="*/ 505955 w 2367177"/>
              <a:gd name="connsiteY45" fmla="*/ 321983 h 662520"/>
              <a:gd name="connsiteX46" fmla="*/ 503406 w 2367177"/>
              <a:gd name="connsiteY46" fmla="*/ 376707 h 662520"/>
              <a:gd name="connsiteX47" fmla="*/ 495858 w 2367177"/>
              <a:gd name="connsiteY47" fmla="*/ 427041 h 662520"/>
              <a:gd name="connsiteX48" fmla="*/ 483456 w 2367177"/>
              <a:gd name="connsiteY48" fmla="*/ 472909 h 662520"/>
              <a:gd name="connsiteX49" fmla="*/ 466346 w 2367177"/>
              <a:gd name="connsiteY49" fmla="*/ 514232 h 662520"/>
              <a:gd name="connsiteX50" fmla="*/ 444674 w 2367177"/>
              <a:gd name="connsiteY50" fmla="*/ 550937 h 662520"/>
              <a:gd name="connsiteX51" fmla="*/ 418587 w 2367177"/>
              <a:gd name="connsiteY51" fmla="*/ 582945 h 662520"/>
              <a:gd name="connsiteX52" fmla="*/ 388229 w 2367177"/>
              <a:gd name="connsiteY52" fmla="*/ 610181 h 662520"/>
              <a:gd name="connsiteX53" fmla="*/ 353748 w 2367177"/>
              <a:gd name="connsiteY53" fmla="*/ 632569 h 662520"/>
              <a:gd name="connsiteX54" fmla="*/ 315289 w 2367177"/>
              <a:gd name="connsiteY54" fmla="*/ 650033 h 662520"/>
              <a:gd name="connsiteX55" fmla="*/ 272999 w 2367177"/>
              <a:gd name="connsiteY55" fmla="*/ 662495 h 662520"/>
              <a:gd name="connsiteX56" fmla="*/ 592162 w 2367177"/>
              <a:gd name="connsiteY56" fmla="*/ 662520 h 662520"/>
              <a:gd name="connsiteX57" fmla="*/ 571167 w 2367177"/>
              <a:gd name="connsiteY57" fmla="*/ 658030 h 662520"/>
              <a:gd name="connsiteX58" fmla="*/ 551373 w 2367177"/>
              <a:gd name="connsiteY58" fmla="*/ 652783 h 662520"/>
              <a:gd name="connsiteX59" fmla="*/ 532537 w 2367177"/>
              <a:gd name="connsiteY59" fmla="*/ 646826 h 662520"/>
              <a:gd name="connsiteX60" fmla="*/ 514413 w 2367177"/>
              <a:gd name="connsiteY60" fmla="*/ 640206 h 662520"/>
              <a:gd name="connsiteX61" fmla="*/ 514413 w 2367177"/>
              <a:gd name="connsiteY61" fmla="*/ 516293 h 662520"/>
              <a:gd name="connsiteX62" fmla="*/ 596087 w 2367177"/>
              <a:gd name="connsiteY62" fmla="*/ 516293 h 662520"/>
              <a:gd name="connsiteX63" fmla="*/ 612203 w 2367177"/>
              <a:gd name="connsiteY63" fmla="*/ 539439 h 662520"/>
              <a:gd name="connsiteX64" fmla="*/ 635627 w 2367177"/>
              <a:gd name="connsiteY64" fmla="*/ 559242 h 662520"/>
              <a:gd name="connsiteX65" fmla="*/ 666972 w 2367177"/>
              <a:gd name="connsiteY65" fmla="*/ 573062 h 662520"/>
              <a:gd name="connsiteX66" fmla="*/ 706856 w 2367177"/>
              <a:gd name="connsiteY66" fmla="*/ 578256 h 662520"/>
              <a:gd name="connsiteX67" fmla="*/ 749359 w 2367177"/>
              <a:gd name="connsiteY67" fmla="*/ 571758 h 662520"/>
              <a:gd name="connsiteX68" fmla="*/ 784298 w 2367177"/>
              <a:gd name="connsiteY68" fmla="*/ 552322 h 662520"/>
              <a:gd name="connsiteX69" fmla="*/ 807972 w 2367177"/>
              <a:gd name="connsiteY69" fmla="*/ 520038 h 662520"/>
              <a:gd name="connsiteX70" fmla="*/ 816686 w 2367177"/>
              <a:gd name="connsiteY70" fmla="*/ 474992 h 662520"/>
              <a:gd name="connsiteX71" fmla="*/ 809424 w 2367177"/>
              <a:gd name="connsiteY71" fmla="*/ 430240 h 662520"/>
              <a:gd name="connsiteX72" fmla="*/ 787466 w 2367177"/>
              <a:gd name="connsiteY72" fmla="*/ 398602 h 662520"/>
              <a:gd name="connsiteX73" fmla="*/ 750549 w 2367177"/>
              <a:gd name="connsiteY73" fmla="*/ 379812 h 662520"/>
              <a:gd name="connsiteX74" fmla="*/ 698411 w 2367177"/>
              <a:gd name="connsiteY74" fmla="*/ 373608 h 662520"/>
              <a:gd name="connsiteX75" fmla="*/ 649592 w 2367177"/>
              <a:gd name="connsiteY75" fmla="*/ 373608 h 662520"/>
              <a:gd name="connsiteX76" fmla="*/ 649592 w 2367177"/>
              <a:gd name="connsiteY76" fmla="*/ 286308 h 662520"/>
              <a:gd name="connsiteX77" fmla="*/ 690892 w 2367177"/>
              <a:gd name="connsiteY77" fmla="*/ 286308 h 662520"/>
              <a:gd name="connsiteX78" fmla="*/ 744563 w 2367177"/>
              <a:gd name="connsiteY78" fmla="*/ 280133 h 662520"/>
              <a:gd name="connsiteX79" fmla="*/ 783007 w 2367177"/>
              <a:gd name="connsiteY79" fmla="*/ 261550 h 662520"/>
              <a:gd name="connsiteX80" fmla="*/ 806137 w 2367177"/>
              <a:gd name="connsiteY80" fmla="*/ 230469 h 662520"/>
              <a:gd name="connsiteX81" fmla="*/ 813866 w 2367177"/>
              <a:gd name="connsiteY81" fmla="*/ 186804 h 662520"/>
              <a:gd name="connsiteX82" fmla="*/ 808513 w 2367177"/>
              <a:gd name="connsiteY82" fmla="*/ 149115 h 662520"/>
              <a:gd name="connsiteX83" fmla="*/ 792160 w 2367177"/>
              <a:gd name="connsiteY83" fmla="*/ 121104 h 662520"/>
              <a:gd name="connsiteX84" fmla="*/ 764365 w 2367177"/>
              <a:gd name="connsiteY84" fmla="*/ 103651 h 662520"/>
              <a:gd name="connsiteX85" fmla="*/ 724687 w 2367177"/>
              <a:gd name="connsiteY85" fmla="*/ 97637 h 662520"/>
              <a:gd name="connsiteX86" fmla="*/ 687243 w 2367177"/>
              <a:gd name="connsiteY86" fmla="*/ 102374 h 662520"/>
              <a:gd name="connsiteX87" fmla="*/ 657456 w 2367177"/>
              <a:gd name="connsiteY87" fmla="*/ 115117 h 662520"/>
              <a:gd name="connsiteX88" fmla="*/ 634533 w 2367177"/>
              <a:gd name="connsiteY88" fmla="*/ 133668 h 662520"/>
              <a:gd name="connsiteX89" fmla="*/ 617677 w 2367177"/>
              <a:gd name="connsiteY89" fmla="*/ 155828 h 662520"/>
              <a:gd name="connsiteX90" fmla="*/ 539775 w 2367177"/>
              <a:gd name="connsiteY90" fmla="*/ 155828 h 662520"/>
              <a:gd name="connsiteX91" fmla="*/ 539775 w 2367177"/>
              <a:gd name="connsiteY91" fmla="*/ 33807 h 662520"/>
              <a:gd name="connsiteX92" fmla="*/ 584006 w 2367177"/>
              <a:gd name="connsiteY92" fmla="*/ 19813 h 662520"/>
              <a:gd name="connsiteX93" fmla="*/ 631056 w 2367177"/>
              <a:gd name="connsiteY93" fmla="*/ 9159 h 662520"/>
              <a:gd name="connsiteX94" fmla="*/ 681278 w 2367177"/>
              <a:gd name="connsiteY94" fmla="*/ 2378 h 662520"/>
              <a:gd name="connsiteX95" fmla="*/ 735025 w 2367177"/>
              <a:gd name="connsiteY95" fmla="*/ 0 h 662520"/>
              <a:gd name="connsiteX96" fmla="*/ 790395 w 2367177"/>
              <a:gd name="connsiteY96" fmla="*/ 3158 h 662520"/>
              <a:gd name="connsiteX97" fmla="*/ 838689 w 2367177"/>
              <a:gd name="connsiteY97" fmla="*/ 12853 h 662520"/>
              <a:gd name="connsiteX98" fmla="*/ 879380 w 2367177"/>
              <a:gd name="connsiteY98" fmla="*/ 29412 h 662520"/>
              <a:gd name="connsiteX99" fmla="*/ 911943 w 2367177"/>
              <a:gd name="connsiteY99" fmla="*/ 53163 h 662520"/>
              <a:gd name="connsiteX100" fmla="*/ 935853 w 2367177"/>
              <a:gd name="connsiteY100" fmla="*/ 84435 h 662520"/>
              <a:gd name="connsiteX101" fmla="*/ 950584 w 2367177"/>
              <a:gd name="connsiteY101" fmla="*/ 123555 h 662520"/>
              <a:gd name="connsiteX102" fmla="*/ 955611 w 2367177"/>
              <a:gd name="connsiteY102" fmla="*/ 170853 h 662520"/>
              <a:gd name="connsiteX103" fmla="*/ 949453 w 2367177"/>
              <a:gd name="connsiteY103" fmla="*/ 219568 h 662520"/>
              <a:gd name="connsiteX104" fmla="*/ 931581 w 2367177"/>
              <a:gd name="connsiteY104" fmla="*/ 258234 h 662520"/>
              <a:gd name="connsiteX105" fmla="*/ 902895 w 2367177"/>
              <a:gd name="connsiteY105" fmla="*/ 287843 h 662520"/>
              <a:gd name="connsiteX106" fmla="*/ 864296 w 2367177"/>
              <a:gd name="connsiteY106" fmla="*/ 309388 h 662520"/>
              <a:gd name="connsiteX107" fmla="*/ 816686 w 2367177"/>
              <a:gd name="connsiteY107" fmla="*/ 323862 h 662520"/>
              <a:gd name="connsiteX108" fmla="*/ 816686 w 2367177"/>
              <a:gd name="connsiteY108" fmla="*/ 327609 h 662520"/>
              <a:gd name="connsiteX109" fmla="*/ 870681 w 2367177"/>
              <a:gd name="connsiteY109" fmla="*/ 340566 h 662520"/>
              <a:gd name="connsiteX110" fmla="*/ 912283 w 2367177"/>
              <a:gd name="connsiteY110" fmla="*/ 362534 h 662520"/>
              <a:gd name="connsiteX111" fmla="*/ 941719 w 2367177"/>
              <a:gd name="connsiteY111" fmla="*/ 393513 h 662520"/>
              <a:gd name="connsiteX112" fmla="*/ 959215 w 2367177"/>
              <a:gd name="connsiteY112" fmla="*/ 433502 h 662520"/>
              <a:gd name="connsiteX113" fmla="*/ 964996 w 2367177"/>
              <a:gd name="connsiteY113" fmla="*/ 482498 h 662520"/>
              <a:gd name="connsiteX114" fmla="*/ 959936 w 2367177"/>
              <a:gd name="connsiteY114" fmla="*/ 527743 h 662520"/>
              <a:gd name="connsiteX115" fmla="*/ 944659 w 2367177"/>
              <a:gd name="connsiteY115" fmla="*/ 567021 h 662520"/>
              <a:gd name="connsiteX116" fmla="*/ 920122 w 2367177"/>
              <a:gd name="connsiteY116" fmla="*/ 600232 h 662520"/>
              <a:gd name="connsiteX117" fmla="*/ 887285 w 2367177"/>
              <a:gd name="connsiteY117" fmla="*/ 627278 h 662520"/>
              <a:gd name="connsiteX118" fmla="*/ 847106 w 2367177"/>
              <a:gd name="connsiteY118" fmla="*/ 648061 h 662520"/>
              <a:gd name="connsiteX119" fmla="*/ 800544 w 2367177"/>
              <a:gd name="connsiteY119" fmla="*/ 662482 h 662520"/>
              <a:gd name="connsiteX120" fmla="*/ 1360843 w 2367177"/>
              <a:gd name="connsiteY120" fmla="*/ 662495 h 662520"/>
              <a:gd name="connsiteX121" fmla="*/ 1322871 w 2367177"/>
              <a:gd name="connsiteY121" fmla="*/ 649352 h 662520"/>
              <a:gd name="connsiteX122" fmla="*/ 1287296 w 2367177"/>
              <a:gd name="connsiteY122" fmla="*/ 630560 h 662520"/>
              <a:gd name="connsiteX123" fmla="*/ 1254670 w 2367177"/>
              <a:gd name="connsiteY123" fmla="*/ 606062 h 662520"/>
              <a:gd name="connsiteX124" fmla="*/ 1225546 w 2367177"/>
              <a:gd name="connsiteY124" fmla="*/ 575802 h 662520"/>
              <a:gd name="connsiteX125" fmla="*/ 1200477 w 2367177"/>
              <a:gd name="connsiteY125" fmla="*/ 539722 h 662520"/>
              <a:gd name="connsiteX126" fmla="*/ 1180016 w 2367177"/>
              <a:gd name="connsiteY126" fmla="*/ 497766 h 662520"/>
              <a:gd name="connsiteX127" fmla="*/ 1164717 w 2367177"/>
              <a:gd name="connsiteY127" fmla="*/ 449876 h 662520"/>
              <a:gd name="connsiteX128" fmla="*/ 1155131 w 2367177"/>
              <a:gd name="connsiteY128" fmla="*/ 395995 h 662520"/>
              <a:gd name="connsiteX129" fmla="*/ 1151813 w 2367177"/>
              <a:gd name="connsiteY129" fmla="*/ 336067 h 662520"/>
              <a:gd name="connsiteX130" fmla="*/ 1155053 w 2367177"/>
              <a:gd name="connsiteY130" fmla="*/ 276826 h 662520"/>
              <a:gd name="connsiteX131" fmla="*/ 1164415 w 2367177"/>
              <a:gd name="connsiteY131" fmla="*/ 223488 h 662520"/>
              <a:gd name="connsiteX132" fmla="*/ 1179368 w 2367177"/>
              <a:gd name="connsiteY132" fmla="*/ 175997 h 662520"/>
              <a:gd name="connsiteX133" fmla="*/ 1199377 w 2367177"/>
              <a:gd name="connsiteY133" fmla="*/ 134299 h 662520"/>
              <a:gd name="connsiteX134" fmla="*/ 1223910 w 2367177"/>
              <a:gd name="connsiteY134" fmla="*/ 98339 h 662520"/>
              <a:gd name="connsiteX135" fmla="*/ 1252434 w 2367177"/>
              <a:gd name="connsiteY135" fmla="*/ 68062 h 662520"/>
              <a:gd name="connsiteX136" fmla="*/ 1284414 w 2367177"/>
              <a:gd name="connsiteY136" fmla="*/ 43413 h 662520"/>
              <a:gd name="connsiteX137" fmla="*/ 1319318 w 2367177"/>
              <a:gd name="connsiteY137" fmla="*/ 24337 h 662520"/>
              <a:gd name="connsiteX138" fmla="*/ 1356613 w 2367177"/>
              <a:gd name="connsiteY138" fmla="*/ 10780 h 662520"/>
              <a:gd name="connsiteX139" fmla="*/ 1395766 w 2367177"/>
              <a:gd name="connsiteY139" fmla="*/ 2685 h 662520"/>
              <a:gd name="connsiteX140" fmla="*/ 1436243 w 2367177"/>
              <a:gd name="connsiteY140" fmla="*/ 0 h 662520"/>
              <a:gd name="connsiteX141" fmla="*/ 1476722 w 2367177"/>
              <a:gd name="connsiteY141" fmla="*/ 2685 h 662520"/>
              <a:gd name="connsiteX142" fmla="*/ 1515876 w 2367177"/>
              <a:gd name="connsiteY142" fmla="*/ 10780 h 662520"/>
              <a:gd name="connsiteX143" fmla="*/ 1553172 w 2367177"/>
              <a:gd name="connsiteY143" fmla="*/ 24337 h 662520"/>
              <a:gd name="connsiteX144" fmla="*/ 1588076 w 2367177"/>
              <a:gd name="connsiteY144" fmla="*/ 43413 h 662520"/>
              <a:gd name="connsiteX145" fmla="*/ 1620056 w 2367177"/>
              <a:gd name="connsiteY145" fmla="*/ 68062 h 662520"/>
              <a:gd name="connsiteX146" fmla="*/ 1648579 w 2367177"/>
              <a:gd name="connsiteY146" fmla="*/ 98339 h 662520"/>
              <a:gd name="connsiteX147" fmla="*/ 1673111 w 2367177"/>
              <a:gd name="connsiteY147" fmla="*/ 134299 h 662520"/>
              <a:gd name="connsiteX148" fmla="*/ 1693119 w 2367177"/>
              <a:gd name="connsiteY148" fmla="*/ 175997 h 662520"/>
              <a:gd name="connsiteX149" fmla="*/ 1708071 w 2367177"/>
              <a:gd name="connsiteY149" fmla="*/ 223488 h 662520"/>
              <a:gd name="connsiteX150" fmla="*/ 1717433 w 2367177"/>
              <a:gd name="connsiteY150" fmla="*/ 276826 h 662520"/>
              <a:gd name="connsiteX151" fmla="*/ 1720672 w 2367177"/>
              <a:gd name="connsiteY151" fmla="*/ 336067 h 662520"/>
              <a:gd name="connsiteX152" fmla="*/ 1717354 w 2367177"/>
              <a:gd name="connsiteY152" fmla="*/ 395995 h 662520"/>
              <a:gd name="connsiteX153" fmla="*/ 1707768 w 2367177"/>
              <a:gd name="connsiteY153" fmla="*/ 449876 h 662520"/>
              <a:gd name="connsiteX154" fmla="*/ 1692469 w 2367177"/>
              <a:gd name="connsiteY154" fmla="*/ 497766 h 662520"/>
              <a:gd name="connsiteX155" fmla="*/ 1672008 w 2367177"/>
              <a:gd name="connsiteY155" fmla="*/ 539722 h 662520"/>
              <a:gd name="connsiteX156" fmla="*/ 1646939 w 2367177"/>
              <a:gd name="connsiteY156" fmla="*/ 575802 h 662520"/>
              <a:gd name="connsiteX157" fmla="*/ 1617815 w 2367177"/>
              <a:gd name="connsiteY157" fmla="*/ 606062 h 662520"/>
              <a:gd name="connsiteX158" fmla="*/ 1585189 w 2367177"/>
              <a:gd name="connsiteY158" fmla="*/ 630560 h 662520"/>
              <a:gd name="connsiteX159" fmla="*/ 1549614 w 2367177"/>
              <a:gd name="connsiteY159" fmla="*/ 649352 h 662520"/>
              <a:gd name="connsiteX160" fmla="*/ 1511642 w 2367177"/>
              <a:gd name="connsiteY160" fmla="*/ 662495 h 662520"/>
              <a:gd name="connsiteX161" fmla="*/ 1943430 w 2367177"/>
              <a:gd name="connsiteY161" fmla="*/ 662495 h 662520"/>
              <a:gd name="connsiteX162" fmla="*/ 1905459 w 2367177"/>
              <a:gd name="connsiteY162" fmla="*/ 649348 h 662520"/>
              <a:gd name="connsiteX163" fmla="*/ 1869885 w 2367177"/>
              <a:gd name="connsiteY163" fmla="*/ 630555 h 662520"/>
              <a:gd name="connsiteX164" fmla="*/ 1837261 w 2367177"/>
              <a:gd name="connsiteY164" fmla="*/ 606057 h 662520"/>
              <a:gd name="connsiteX165" fmla="*/ 1808138 w 2367177"/>
              <a:gd name="connsiteY165" fmla="*/ 575797 h 662520"/>
              <a:gd name="connsiteX166" fmla="*/ 1783072 w 2367177"/>
              <a:gd name="connsiteY166" fmla="*/ 539718 h 662520"/>
              <a:gd name="connsiteX167" fmla="*/ 1762613 w 2367177"/>
              <a:gd name="connsiteY167" fmla="*/ 497763 h 662520"/>
              <a:gd name="connsiteX168" fmla="*/ 1747315 w 2367177"/>
              <a:gd name="connsiteY168" fmla="*/ 449874 h 662520"/>
              <a:gd name="connsiteX169" fmla="*/ 1737731 w 2367177"/>
              <a:gd name="connsiteY169" fmla="*/ 395995 h 662520"/>
              <a:gd name="connsiteX170" fmla="*/ 1734413 w 2367177"/>
              <a:gd name="connsiteY170" fmla="*/ 336067 h 662520"/>
              <a:gd name="connsiteX171" fmla="*/ 1737652 w 2367177"/>
              <a:gd name="connsiteY171" fmla="*/ 276826 h 662520"/>
              <a:gd name="connsiteX172" fmla="*/ 1747014 w 2367177"/>
              <a:gd name="connsiteY172" fmla="*/ 223488 h 662520"/>
              <a:gd name="connsiteX173" fmla="*/ 1761965 w 2367177"/>
              <a:gd name="connsiteY173" fmla="*/ 175997 h 662520"/>
              <a:gd name="connsiteX174" fmla="*/ 1781973 w 2367177"/>
              <a:gd name="connsiteY174" fmla="*/ 134299 h 662520"/>
              <a:gd name="connsiteX175" fmla="*/ 1806505 w 2367177"/>
              <a:gd name="connsiteY175" fmla="*/ 98339 h 662520"/>
              <a:gd name="connsiteX176" fmla="*/ 1835026 w 2367177"/>
              <a:gd name="connsiteY176" fmla="*/ 68062 h 662520"/>
              <a:gd name="connsiteX177" fmla="*/ 1867005 w 2367177"/>
              <a:gd name="connsiteY177" fmla="*/ 43413 h 662520"/>
              <a:gd name="connsiteX178" fmla="*/ 1901908 w 2367177"/>
              <a:gd name="connsiteY178" fmla="*/ 24337 h 662520"/>
              <a:gd name="connsiteX179" fmla="*/ 1939202 w 2367177"/>
              <a:gd name="connsiteY179" fmla="*/ 10780 h 662520"/>
              <a:gd name="connsiteX180" fmla="*/ 1978353 w 2367177"/>
              <a:gd name="connsiteY180" fmla="*/ 2685 h 662520"/>
              <a:gd name="connsiteX181" fmla="*/ 2018830 w 2367177"/>
              <a:gd name="connsiteY181" fmla="*/ 0 h 662520"/>
              <a:gd name="connsiteX182" fmla="*/ 2059309 w 2367177"/>
              <a:gd name="connsiteY182" fmla="*/ 2685 h 662520"/>
              <a:gd name="connsiteX183" fmla="*/ 2098463 w 2367177"/>
              <a:gd name="connsiteY183" fmla="*/ 10780 h 662520"/>
              <a:gd name="connsiteX184" fmla="*/ 2135759 w 2367177"/>
              <a:gd name="connsiteY184" fmla="*/ 24337 h 662520"/>
              <a:gd name="connsiteX185" fmla="*/ 2170664 w 2367177"/>
              <a:gd name="connsiteY185" fmla="*/ 43413 h 662520"/>
              <a:gd name="connsiteX186" fmla="*/ 2202644 w 2367177"/>
              <a:gd name="connsiteY186" fmla="*/ 68062 h 662520"/>
              <a:gd name="connsiteX187" fmla="*/ 2231166 w 2367177"/>
              <a:gd name="connsiteY187" fmla="*/ 98339 h 662520"/>
              <a:gd name="connsiteX188" fmla="*/ 2255698 w 2367177"/>
              <a:gd name="connsiteY188" fmla="*/ 134299 h 662520"/>
              <a:gd name="connsiteX189" fmla="*/ 2275706 w 2367177"/>
              <a:gd name="connsiteY189" fmla="*/ 175997 h 662520"/>
              <a:gd name="connsiteX190" fmla="*/ 2290658 w 2367177"/>
              <a:gd name="connsiteY190" fmla="*/ 223488 h 662520"/>
              <a:gd name="connsiteX191" fmla="*/ 2300020 w 2367177"/>
              <a:gd name="connsiteY191" fmla="*/ 276826 h 662520"/>
              <a:gd name="connsiteX192" fmla="*/ 2303259 w 2367177"/>
              <a:gd name="connsiteY192" fmla="*/ 336067 h 662520"/>
              <a:gd name="connsiteX193" fmla="*/ 2299941 w 2367177"/>
              <a:gd name="connsiteY193" fmla="*/ 395991 h 662520"/>
              <a:gd name="connsiteX194" fmla="*/ 2290357 w 2367177"/>
              <a:gd name="connsiteY194" fmla="*/ 449869 h 662520"/>
              <a:gd name="connsiteX195" fmla="*/ 2275059 w 2367177"/>
              <a:gd name="connsiteY195" fmla="*/ 497757 h 662520"/>
              <a:gd name="connsiteX196" fmla="*/ 2254600 w 2367177"/>
              <a:gd name="connsiteY196" fmla="*/ 539713 h 662520"/>
              <a:gd name="connsiteX197" fmla="*/ 2229533 w 2367177"/>
              <a:gd name="connsiteY197" fmla="*/ 575793 h 662520"/>
              <a:gd name="connsiteX198" fmla="*/ 2200411 w 2367177"/>
              <a:gd name="connsiteY198" fmla="*/ 606054 h 662520"/>
              <a:gd name="connsiteX199" fmla="*/ 2167787 w 2367177"/>
              <a:gd name="connsiteY199" fmla="*/ 630553 h 662520"/>
              <a:gd name="connsiteX200" fmla="*/ 2132213 w 2367177"/>
              <a:gd name="connsiteY200" fmla="*/ 649348 h 662520"/>
              <a:gd name="connsiteX201" fmla="*/ 2094242 w 2367177"/>
              <a:gd name="connsiteY201" fmla="*/ 662495 h 662520"/>
              <a:gd name="connsiteX202" fmla="*/ 2347803 w 2367177"/>
              <a:gd name="connsiteY202" fmla="*/ 497740 h 662520"/>
              <a:gd name="connsiteX203" fmla="*/ 2332510 w 2367177"/>
              <a:gd name="connsiteY203" fmla="*/ 449856 h 662520"/>
              <a:gd name="connsiteX204" fmla="*/ 2322930 w 2367177"/>
              <a:gd name="connsiteY204" fmla="*/ 395984 h 662520"/>
              <a:gd name="connsiteX205" fmla="*/ 2319616 w 2367177"/>
              <a:gd name="connsiteY205" fmla="*/ 336067 h 662520"/>
              <a:gd name="connsiteX206" fmla="*/ 2322855 w 2367177"/>
              <a:gd name="connsiteY206" fmla="*/ 276826 h 662520"/>
              <a:gd name="connsiteX207" fmla="*/ 2332217 w 2367177"/>
              <a:gd name="connsiteY207" fmla="*/ 223488 h 662520"/>
              <a:gd name="connsiteX208" fmla="*/ 2347169 w 2367177"/>
              <a:gd name="connsiteY208" fmla="*/ 175997 h 662520"/>
              <a:gd name="connsiteX209" fmla="*/ 2367177 w 2367177"/>
              <a:gd name="connsiteY209" fmla="*/ 134299 h 662520"/>
              <a:gd name="connsiteX0" fmla="*/ 74231 w 2367177"/>
              <a:gd name="connsiteY0" fmla="*/ 662482 h 662520"/>
              <a:gd name="connsiteX1" fmla="*/ 60344 w 2367177"/>
              <a:gd name="connsiteY1" fmla="*/ 659582 h 662520"/>
              <a:gd name="connsiteX2" fmla="*/ 47517 w 2367177"/>
              <a:gd name="connsiteY2" fmla="*/ 656437 h 662520"/>
              <a:gd name="connsiteX3" fmla="*/ 35823 w 2367177"/>
              <a:gd name="connsiteY3" fmla="*/ 653092 h 662520"/>
              <a:gd name="connsiteX4" fmla="*/ 25336 w 2367177"/>
              <a:gd name="connsiteY4" fmla="*/ 649592 h 662520"/>
              <a:gd name="connsiteX5" fmla="*/ 25336 w 2367177"/>
              <a:gd name="connsiteY5" fmla="*/ 533196 h 662520"/>
              <a:gd name="connsiteX6" fmla="*/ 104190 w 2367177"/>
              <a:gd name="connsiteY6" fmla="*/ 533196 h 662520"/>
              <a:gd name="connsiteX7" fmla="*/ 116931 w 2367177"/>
              <a:gd name="connsiteY7" fmla="*/ 550133 h 662520"/>
              <a:gd name="connsiteX8" fmla="*/ 135043 w 2367177"/>
              <a:gd name="connsiteY8" fmla="*/ 564522 h 662520"/>
              <a:gd name="connsiteX9" fmla="*/ 160020 w 2367177"/>
              <a:gd name="connsiteY9" fmla="*/ 574514 h 662520"/>
              <a:gd name="connsiteX10" fmla="*/ 193357 w 2367177"/>
              <a:gd name="connsiteY10" fmla="*/ 578256 h 662520"/>
              <a:gd name="connsiteX11" fmla="*/ 233829 w 2367177"/>
              <a:gd name="connsiteY11" fmla="*/ 573672 h 662520"/>
              <a:gd name="connsiteX12" fmla="*/ 297105 w 2367177"/>
              <a:gd name="connsiteY12" fmla="*/ 537246 h 662520"/>
              <a:gd name="connsiteX13" fmla="*/ 320040 w 2367177"/>
              <a:gd name="connsiteY13" fmla="*/ 505568 h 662520"/>
              <a:gd name="connsiteX14" fmla="*/ 337261 w 2367177"/>
              <a:gd name="connsiteY14" fmla="*/ 465022 h 662520"/>
              <a:gd name="connsiteX15" fmla="*/ 348834 w 2367177"/>
              <a:gd name="connsiteY15" fmla="*/ 415691 h 662520"/>
              <a:gd name="connsiteX16" fmla="*/ 354825 w 2367177"/>
              <a:gd name="connsiteY16" fmla="*/ 357657 h 662520"/>
              <a:gd name="connsiteX17" fmla="*/ 325357 w 2367177"/>
              <a:gd name="connsiteY17" fmla="*/ 385098 h 662520"/>
              <a:gd name="connsiteX18" fmla="*/ 289466 w 2367177"/>
              <a:gd name="connsiteY18" fmla="*/ 406117 h 662520"/>
              <a:gd name="connsiteX19" fmla="*/ 247767 w 2367177"/>
              <a:gd name="connsiteY19" fmla="*/ 419568 h 662520"/>
              <a:gd name="connsiteX20" fmla="*/ 200875 w 2367177"/>
              <a:gd name="connsiteY20" fmla="*/ 424306 h 662520"/>
              <a:gd name="connsiteX21" fmla="*/ 153099 w 2367177"/>
              <a:gd name="connsiteY21" fmla="*/ 420031 h 662520"/>
              <a:gd name="connsiteX22" fmla="*/ 110150 w 2367177"/>
              <a:gd name="connsiteY22" fmla="*/ 407348 h 662520"/>
              <a:gd name="connsiteX23" fmla="*/ 72948 w 2367177"/>
              <a:gd name="connsiteY23" fmla="*/ 386472 h 662520"/>
              <a:gd name="connsiteX24" fmla="*/ 42412 w 2367177"/>
              <a:gd name="connsiteY24" fmla="*/ 357614 h 662520"/>
              <a:gd name="connsiteX25" fmla="*/ 19463 w 2367177"/>
              <a:gd name="connsiteY25" fmla="*/ 320990 h 662520"/>
              <a:gd name="connsiteX26" fmla="*/ 5019 w 2367177"/>
              <a:gd name="connsiteY26" fmla="*/ 276814 h 662520"/>
              <a:gd name="connsiteX27" fmla="*/ 0 w 2367177"/>
              <a:gd name="connsiteY27" fmla="*/ 225297 h 662520"/>
              <a:gd name="connsiteX28" fmla="*/ 4447 w 2367177"/>
              <a:gd name="connsiteY28" fmla="*/ 178425 h 662520"/>
              <a:gd name="connsiteX29" fmla="*/ 17453 w 2367177"/>
              <a:gd name="connsiteY29" fmla="*/ 135445 h 662520"/>
              <a:gd name="connsiteX30" fmla="*/ 38511 w 2367177"/>
              <a:gd name="connsiteY30" fmla="*/ 97085 h 662520"/>
              <a:gd name="connsiteX31" fmla="*/ 67116 w 2367177"/>
              <a:gd name="connsiteY31" fmla="*/ 64071 h 662520"/>
              <a:gd name="connsiteX32" fmla="*/ 102760 w 2367177"/>
              <a:gd name="connsiteY32" fmla="*/ 37129 h 662520"/>
              <a:gd name="connsiteX33" fmla="*/ 144939 w 2367177"/>
              <a:gd name="connsiteY33" fmla="*/ 16986 h 662520"/>
              <a:gd name="connsiteX34" fmla="*/ 193146 w 2367177"/>
              <a:gd name="connsiteY34" fmla="*/ 4367 h 662520"/>
              <a:gd name="connsiteX35" fmla="*/ 246875 w 2367177"/>
              <a:gd name="connsiteY35" fmla="*/ 0 h 662520"/>
              <a:gd name="connsiteX36" fmla="*/ 290625 w 2367177"/>
              <a:gd name="connsiteY36" fmla="*/ 2882 h 662520"/>
              <a:gd name="connsiteX37" fmla="*/ 331492 w 2367177"/>
              <a:gd name="connsiteY37" fmla="*/ 11678 h 662520"/>
              <a:gd name="connsiteX38" fmla="*/ 369070 w 2367177"/>
              <a:gd name="connsiteY38" fmla="*/ 26614 h 662520"/>
              <a:gd name="connsiteX39" fmla="*/ 402953 w 2367177"/>
              <a:gd name="connsiteY39" fmla="*/ 47914 h 662520"/>
              <a:gd name="connsiteX40" fmla="*/ 432736 w 2367177"/>
              <a:gd name="connsiteY40" fmla="*/ 75804 h 662520"/>
              <a:gd name="connsiteX41" fmla="*/ 458013 w 2367177"/>
              <a:gd name="connsiteY41" fmla="*/ 110509 h 662520"/>
              <a:gd name="connsiteX42" fmla="*/ 478379 w 2367177"/>
              <a:gd name="connsiteY42" fmla="*/ 152255 h 662520"/>
              <a:gd name="connsiteX43" fmla="*/ 493429 w 2367177"/>
              <a:gd name="connsiteY43" fmla="*/ 201265 h 662520"/>
              <a:gd name="connsiteX44" fmla="*/ 502756 w 2367177"/>
              <a:gd name="connsiteY44" fmla="*/ 257766 h 662520"/>
              <a:gd name="connsiteX45" fmla="*/ 505955 w 2367177"/>
              <a:gd name="connsiteY45" fmla="*/ 321983 h 662520"/>
              <a:gd name="connsiteX46" fmla="*/ 503406 w 2367177"/>
              <a:gd name="connsiteY46" fmla="*/ 376707 h 662520"/>
              <a:gd name="connsiteX47" fmla="*/ 495858 w 2367177"/>
              <a:gd name="connsiteY47" fmla="*/ 427041 h 662520"/>
              <a:gd name="connsiteX48" fmla="*/ 483456 w 2367177"/>
              <a:gd name="connsiteY48" fmla="*/ 472909 h 662520"/>
              <a:gd name="connsiteX49" fmla="*/ 466346 w 2367177"/>
              <a:gd name="connsiteY49" fmla="*/ 514232 h 662520"/>
              <a:gd name="connsiteX50" fmla="*/ 444674 w 2367177"/>
              <a:gd name="connsiteY50" fmla="*/ 550937 h 662520"/>
              <a:gd name="connsiteX51" fmla="*/ 418587 w 2367177"/>
              <a:gd name="connsiteY51" fmla="*/ 582945 h 662520"/>
              <a:gd name="connsiteX52" fmla="*/ 388229 w 2367177"/>
              <a:gd name="connsiteY52" fmla="*/ 610181 h 662520"/>
              <a:gd name="connsiteX53" fmla="*/ 353748 w 2367177"/>
              <a:gd name="connsiteY53" fmla="*/ 632569 h 662520"/>
              <a:gd name="connsiteX54" fmla="*/ 315289 w 2367177"/>
              <a:gd name="connsiteY54" fmla="*/ 650033 h 662520"/>
              <a:gd name="connsiteX55" fmla="*/ 272999 w 2367177"/>
              <a:gd name="connsiteY55" fmla="*/ 662495 h 662520"/>
              <a:gd name="connsiteX56" fmla="*/ 592162 w 2367177"/>
              <a:gd name="connsiteY56" fmla="*/ 662520 h 662520"/>
              <a:gd name="connsiteX57" fmla="*/ 571167 w 2367177"/>
              <a:gd name="connsiteY57" fmla="*/ 658030 h 662520"/>
              <a:gd name="connsiteX58" fmla="*/ 551373 w 2367177"/>
              <a:gd name="connsiteY58" fmla="*/ 652783 h 662520"/>
              <a:gd name="connsiteX59" fmla="*/ 532537 w 2367177"/>
              <a:gd name="connsiteY59" fmla="*/ 646826 h 662520"/>
              <a:gd name="connsiteX60" fmla="*/ 514413 w 2367177"/>
              <a:gd name="connsiteY60" fmla="*/ 640206 h 662520"/>
              <a:gd name="connsiteX61" fmla="*/ 514413 w 2367177"/>
              <a:gd name="connsiteY61" fmla="*/ 516293 h 662520"/>
              <a:gd name="connsiteX62" fmla="*/ 596087 w 2367177"/>
              <a:gd name="connsiteY62" fmla="*/ 516293 h 662520"/>
              <a:gd name="connsiteX63" fmla="*/ 612203 w 2367177"/>
              <a:gd name="connsiteY63" fmla="*/ 539439 h 662520"/>
              <a:gd name="connsiteX64" fmla="*/ 635627 w 2367177"/>
              <a:gd name="connsiteY64" fmla="*/ 559242 h 662520"/>
              <a:gd name="connsiteX65" fmla="*/ 666972 w 2367177"/>
              <a:gd name="connsiteY65" fmla="*/ 573062 h 662520"/>
              <a:gd name="connsiteX66" fmla="*/ 706856 w 2367177"/>
              <a:gd name="connsiteY66" fmla="*/ 578256 h 662520"/>
              <a:gd name="connsiteX67" fmla="*/ 749359 w 2367177"/>
              <a:gd name="connsiteY67" fmla="*/ 571758 h 662520"/>
              <a:gd name="connsiteX68" fmla="*/ 784298 w 2367177"/>
              <a:gd name="connsiteY68" fmla="*/ 552322 h 662520"/>
              <a:gd name="connsiteX69" fmla="*/ 807972 w 2367177"/>
              <a:gd name="connsiteY69" fmla="*/ 520038 h 662520"/>
              <a:gd name="connsiteX70" fmla="*/ 816686 w 2367177"/>
              <a:gd name="connsiteY70" fmla="*/ 474992 h 662520"/>
              <a:gd name="connsiteX71" fmla="*/ 809424 w 2367177"/>
              <a:gd name="connsiteY71" fmla="*/ 430240 h 662520"/>
              <a:gd name="connsiteX72" fmla="*/ 787466 w 2367177"/>
              <a:gd name="connsiteY72" fmla="*/ 398602 h 662520"/>
              <a:gd name="connsiteX73" fmla="*/ 750549 w 2367177"/>
              <a:gd name="connsiteY73" fmla="*/ 379812 h 662520"/>
              <a:gd name="connsiteX74" fmla="*/ 698411 w 2367177"/>
              <a:gd name="connsiteY74" fmla="*/ 373608 h 662520"/>
              <a:gd name="connsiteX75" fmla="*/ 649592 w 2367177"/>
              <a:gd name="connsiteY75" fmla="*/ 373608 h 662520"/>
              <a:gd name="connsiteX76" fmla="*/ 649592 w 2367177"/>
              <a:gd name="connsiteY76" fmla="*/ 286308 h 662520"/>
              <a:gd name="connsiteX77" fmla="*/ 690892 w 2367177"/>
              <a:gd name="connsiteY77" fmla="*/ 286308 h 662520"/>
              <a:gd name="connsiteX78" fmla="*/ 744563 w 2367177"/>
              <a:gd name="connsiteY78" fmla="*/ 280133 h 662520"/>
              <a:gd name="connsiteX79" fmla="*/ 783007 w 2367177"/>
              <a:gd name="connsiteY79" fmla="*/ 261550 h 662520"/>
              <a:gd name="connsiteX80" fmla="*/ 806137 w 2367177"/>
              <a:gd name="connsiteY80" fmla="*/ 230469 h 662520"/>
              <a:gd name="connsiteX81" fmla="*/ 813866 w 2367177"/>
              <a:gd name="connsiteY81" fmla="*/ 186804 h 662520"/>
              <a:gd name="connsiteX82" fmla="*/ 808513 w 2367177"/>
              <a:gd name="connsiteY82" fmla="*/ 149115 h 662520"/>
              <a:gd name="connsiteX83" fmla="*/ 792160 w 2367177"/>
              <a:gd name="connsiteY83" fmla="*/ 121104 h 662520"/>
              <a:gd name="connsiteX84" fmla="*/ 764365 w 2367177"/>
              <a:gd name="connsiteY84" fmla="*/ 103651 h 662520"/>
              <a:gd name="connsiteX85" fmla="*/ 724687 w 2367177"/>
              <a:gd name="connsiteY85" fmla="*/ 97637 h 662520"/>
              <a:gd name="connsiteX86" fmla="*/ 687243 w 2367177"/>
              <a:gd name="connsiteY86" fmla="*/ 102374 h 662520"/>
              <a:gd name="connsiteX87" fmla="*/ 657456 w 2367177"/>
              <a:gd name="connsiteY87" fmla="*/ 115117 h 662520"/>
              <a:gd name="connsiteX88" fmla="*/ 634533 w 2367177"/>
              <a:gd name="connsiteY88" fmla="*/ 133668 h 662520"/>
              <a:gd name="connsiteX89" fmla="*/ 617677 w 2367177"/>
              <a:gd name="connsiteY89" fmla="*/ 155828 h 662520"/>
              <a:gd name="connsiteX90" fmla="*/ 539775 w 2367177"/>
              <a:gd name="connsiteY90" fmla="*/ 155828 h 662520"/>
              <a:gd name="connsiteX91" fmla="*/ 539775 w 2367177"/>
              <a:gd name="connsiteY91" fmla="*/ 33807 h 662520"/>
              <a:gd name="connsiteX92" fmla="*/ 584006 w 2367177"/>
              <a:gd name="connsiteY92" fmla="*/ 19813 h 662520"/>
              <a:gd name="connsiteX93" fmla="*/ 631056 w 2367177"/>
              <a:gd name="connsiteY93" fmla="*/ 9159 h 662520"/>
              <a:gd name="connsiteX94" fmla="*/ 681278 w 2367177"/>
              <a:gd name="connsiteY94" fmla="*/ 2378 h 662520"/>
              <a:gd name="connsiteX95" fmla="*/ 735025 w 2367177"/>
              <a:gd name="connsiteY95" fmla="*/ 0 h 662520"/>
              <a:gd name="connsiteX96" fmla="*/ 790395 w 2367177"/>
              <a:gd name="connsiteY96" fmla="*/ 3158 h 662520"/>
              <a:gd name="connsiteX97" fmla="*/ 838689 w 2367177"/>
              <a:gd name="connsiteY97" fmla="*/ 12853 h 662520"/>
              <a:gd name="connsiteX98" fmla="*/ 879380 w 2367177"/>
              <a:gd name="connsiteY98" fmla="*/ 29412 h 662520"/>
              <a:gd name="connsiteX99" fmla="*/ 911943 w 2367177"/>
              <a:gd name="connsiteY99" fmla="*/ 53163 h 662520"/>
              <a:gd name="connsiteX100" fmla="*/ 935853 w 2367177"/>
              <a:gd name="connsiteY100" fmla="*/ 84435 h 662520"/>
              <a:gd name="connsiteX101" fmla="*/ 950584 w 2367177"/>
              <a:gd name="connsiteY101" fmla="*/ 123555 h 662520"/>
              <a:gd name="connsiteX102" fmla="*/ 955611 w 2367177"/>
              <a:gd name="connsiteY102" fmla="*/ 170853 h 662520"/>
              <a:gd name="connsiteX103" fmla="*/ 949453 w 2367177"/>
              <a:gd name="connsiteY103" fmla="*/ 219568 h 662520"/>
              <a:gd name="connsiteX104" fmla="*/ 931581 w 2367177"/>
              <a:gd name="connsiteY104" fmla="*/ 258234 h 662520"/>
              <a:gd name="connsiteX105" fmla="*/ 902895 w 2367177"/>
              <a:gd name="connsiteY105" fmla="*/ 287843 h 662520"/>
              <a:gd name="connsiteX106" fmla="*/ 864296 w 2367177"/>
              <a:gd name="connsiteY106" fmla="*/ 309388 h 662520"/>
              <a:gd name="connsiteX107" fmla="*/ 816686 w 2367177"/>
              <a:gd name="connsiteY107" fmla="*/ 323862 h 662520"/>
              <a:gd name="connsiteX108" fmla="*/ 816686 w 2367177"/>
              <a:gd name="connsiteY108" fmla="*/ 327609 h 662520"/>
              <a:gd name="connsiteX109" fmla="*/ 870681 w 2367177"/>
              <a:gd name="connsiteY109" fmla="*/ 340566 h 662520"/>
              <a:gd name="connsiteX110" fmla="*/ 912283 w 2367177"/>
              <a:gd name="connsiteY110" fmla="*/ 362534 h 662520"/>
              <a:gd name="connsiteX111" fmla="*/ 941719 w 2367177"/>
              <a:gd name="connsiteY111" fmla="*/ 393513 h 662520"/>
              <a:gd name="connsiteX112" fmla="*/ 959215 w 2367177"/>
              <a:gd name="connsiteY112" fmla="*/ 433502 h 662520"/>
              <a:gd name="connsiteX113" fmla="*/ 964996 w 2367177"/>
              <a:gd name="connsiteY113" fmla="*/ 482498 h 662520"/>
              <a:gd name="connsiteX114" fmla="*/ 959936 w 2367177"/>
              <a:gd name="connsiteY114" fmla="*/ 527743 h 662520"/>
              <a:gd name="connsiteX115" fmla="*/ 944659 w 2367177"/>
              <a:gd name="connsiteY115" fmla="*/ 567021 h 662520"/>
              <a:gd name="connsiteX116" fmla="*/ 920122 w 2367177"/>
              <a:gd name="connsiteY116" fmla="*/ 600232 h 662520"/>
              <a:gd name="connsiteX117" fmla="*/ 887285 w 2367177"/>
              <a:gd name="connsiteY117" fmla="*/ 627278 h 662520"/>
              <a:gd name="connsiteX118" fmla="*/ 847106 w 2367177"/>
              <a:gd name="connsiteY118" fmla="*/ 648061 h 662520"/>
              <a:gd name="connsiteX119" fmla="*/ 800544 w 2367177"/>
              <a:gd name="connsiteY119" fmla="*/ 662482 h 662520"/>
              <a:gd name="connsiteX120" fmla="*/ 1360843 w 2367177"/>
              <a:gd name="connsiteY120" fmla="*/ 662495 h 662520"/>
              <a:gd name="connsiteX121" fmla="*/ 1322871 w 2367177"/>
              <a:gd name="connsiteY121" fmla="*/ 649352 h 662520"/>
              <a:gd name="connsiteX122" fmla="*/ 1287296 w 2367177"/>
              <a:gd name="connsiteY122" fmla="*/ 630560 h 662520"/>
              <a:gd name="connsiteX123" fmla="*/ 1254670 w 2367177"/>
              <a:gd name="connsiteY123" fmla="*/ 606062 h 662520"/>
              <a:gd name="connsiteX124" fmla="*/ 1225546 w 2367177"/>
              <a:gd name="connsiteY124" fmla="*/ 575802 h 662520"/>
              <a:gd name="connsiteX125" fmla="*/ 1200477 w 2367177"/>
              <a:gd name="connsiteY125" fmla="*/ 539722 h 662520"/>
              <a:gd name="connsiteX126" fmla="*/ 1180016 w 2367177"/>
              <a:gd name="connsiteY126" fmla="*/ 497766 h 662520"/>
              <a:gd name="connsiteX127" fmla="*/ 1164717 w 2367177"/>
              <a:gd name="connsiteY127" fmla="*/ 449876 h 662520"/>
              <a:gd name="connsiteX128" fmla="*/ 1155131 w 2367177"/>
              <a:gd name="connsiteY128" fmla="*/ 395995 h 662520"/>
              <a:gd name="connsiteX129" fmla="*/ 1151813 w 2367177"/>
              <a:gd name="connsiteY129" fmla="*/ 336067 h 662520"/>
              <a:gd name="connsiteX130" fmla="*/ 1155053 w 2367177"/>
              <a:gd name="connsiteY130" fmla="*/ 276826 h 662520"/>
              <a:gd name="connsiteX131" fmla="*/ 1164415 w 2367177"/>
              <a:gd name="connsiteY131" fmla="*/ 223488 h 662520"/>
              <a:gd name="connsiteX132" fmla="*/ 1179368 w 2367177"/>
              <a:gd name="connsiteY132" fmla="*/ 175997 h 662520"/>
              <a:gd name="connsiteX133" fmla="*/ 1199377 w 2367177"/>
              <a:gd name="connsiteY133" fmla="*/ 134299 h 662520"/>
              <a:gd name="connsiteX134" fmla="*/ 1223910 w 2367177"/>
              <a:gd name="connsiteY134" fmla="*/ 98339 h 662520"/>
              <a:gd name="connsiteX135" fmla="*/ 1252434 w 2367177"/>
              <a:gd name="connsiteY135" fmla="*/ 68062 h 662520"/>
              <a:gd name="connsiteX136" fmla="*/ 1284414 w 2367177"/>
              <a:gd name="connsiteY136" fmla="*/ 43413 h 662520"/>
              <a:gd name="connsiteX137" fmla="*/ 1319318 w 2367177"/>
              <a:gd name="connsiteY137" fmla="*/ 24337 h 662520"/>
              <a:gd name="connsiteX138" fmla="*/ 1356613 w 2367177"/>
              <a:gd name="connsiteY138" fmla="*/ 10780 h 662520"/>
              <a:gd name="connsiteX139" fmla="*/ 1395766 w 2367177"/>
              <a:gd name="connsiteY139" fmla="*/ 2685 h 662520"/>
              <a:gd name="connsiteX140" fmla="*/ 1436243 w 2367177"/>
              <a:gd name="connsiteY140" fmla="*/ 0 h 662520"/>
              <a:gd name="connsiteX141" fmla="*/ 1476722 w 2367177"/>
              <a:gd name="connsiteY141" fmla="*/ 2685 h 662520"/>
              <a:gd name="connsiteX142" fmla="*/ 1515876 w 2367177"/>
              <a:gd name="connsiteY142" fmla="*/ 10780 h 662520"/>
              <a:gd name="connsiteX143" fmla="*/ 1553172 w 2367177"/>
              <a:gd name="connsiteY143" fmla="*/ 24337 h 662520"/>
              <a:gd name="connsiteX144" fmla="*/ 1588076 w 2367177"/>
              <a:gd name="connsiteY144" fmla="*/ 43413 h 662520"/>
              <a:gd name="connsiteX145" fmla="*/ 1620056 w 2367177"/>
              <a:gd name="connsiteY145" fmla="*/ 68062 h 662520"/>
              <a:gd name="connsiteX146" fmla="*/ 1648579 w 2367177"/>
              <a:gd name="connsiteY146" fmla="*/ 98339 h 662520"/>
              <a:gd name="connsiteX147" fmla="*/ 1673111 w 2367177"/>
              <a:gd name="connsiteY147" fmla="*/ 134299 h 662520"/>
              <a:gd name="connsiteX148" fmla="*/ 1693119 w 2367177"/>
              <a:gd name="connsiteY148" fmla="*/ 175997 h 662520"/>
              <a:gd name="connsiteX149" fmla="*/ 1708071 w 2367177"/>
              <a:gd name="connsiteY149" fmla="*/ 223488 h 662520"/>
              <a:gd name="connsiteX150" fmla="*/ 1717433 w 2367177"/>
              <a:gd name="connsiteY150" fmla="*/ 276826 h 662520"/>
              <a:gd name="connsiteX151" fmla="*/ 1720672 w 2367177"/>
              <a:gd name="connsiteY151" fmla="*/ 336067 h 662520"/>
              <a:gd name="connsiteX152" fmla="*/ 1717354 w 2367177"/>
              <a:gd name="connsiteY152" fmla="*/ 395995 h 662520"/>
              <a:gd name="connsiteX153" fmla="*/ 1707768 w 2367177"/>
              <a:gd name="connsiteY153" fmla="*/ 449876 h 662520"/>
              <a:gd name="connsiteX154" fmla="*/ 1692469 w 2367177"/>
              <a:gd name="connsiteY154" fmla="*/ 497766 h 662520"/>
              <a:gd name="connsiteX155" fmla="*/ 1672008 w 2367177"/>
              <a:gd name="connsiteY155" fmla="*/ 539722 h 662520"/>
              <a:gd name="connsiteX156" fmla="*/ 1646939 w 2367177"/>
              <a:gd name="connsiteY156" fmla="*/ 575802 h 662520"/>
              <a:gd name="connsiteX157" fmla="*/ 1617815 w 2367177"/>
              <a:gd name="connsiteY157" fmla="*/ 606062 h 662520"/>
              <a:gd name="connsiteX158" fmla="*/ 1585189 w 2367177"/>
              <a:gd name="connsiteY158" fmla="*/ 630560 h 662520"/>
              <a:gd name="connsiteX159" fmla="*/ 1549614 w 2367177"/>
              <a:gd name="connsiteY159" fmla="*/ 649352 h 662520"/>
              <a:gd name="connsiteX160" fmla="*/ 1511642 w 2367177"/>
              <a:gd name="connsiteY160" fmla="*/ 662495 h 662520"/>
              <a:gd name="connsiteX161" fmla="*/ 1943430 w 2367177"/>
              <a:gd name="connsiteY161" fmla="*/ 662495 h 662520"/>
              <a:gd name="connsiteX162" fmla="*/ 1905459 w 2367177"/>
              <a:gd name="connsiteY162" fmla="*/ 649348 h 662520"/>
              <a:gd name="connsiteX163" fmla="*/ 1869885 w 2367177"/>
              <a:gd name="connsiteY163" fmla="*/ 630555 h 662520"/>
              <a:gd name="connsiteX164" fmla="*/ 1837261 w 2367177"/>
              <a:gd name="connsiteY164" fmla="*/ 606057 h 662520"/>
              <a:gd name="connsiteX165" fmla="*/ 1808138 w 2367177"/>
              <a:gd name="connsiteY165" fmla="*/ 575797 h 662520"/>
              <a:gd name="connsiteX166" fmla="*/ 1783072 w 2367177"/>
              <a:gd name="connsiteY166" fmla="*/ 539718 h 662520"/>
              <a:gd name="connsiteX167" fmla="*/ 1762613 w 2367177"/>
              <a:gd name="connsiteY167" fmla="*/ 497763 h 662520"/>
              <a:gd name="connsiteX168" fmla="*/ 1747315 w 2367177"/>
              <a:gd name="connsiteY168" fmla="*/ 449874 h 662520"/>
              <a:gd name="connsiteX169" fmla="*/ 1737731 w 2367177"/>
              <a:gd name="connsiteY169" fmla="*/ 395995 h 662520"/>
              <a:gd name="connsiteX170" fmla="*/ 1734413 w 2367177"/>
              <a:gd name="connsiteY170" fmla="*/ 336067 h 662520"/>
              <a:gd name="connsiteX171" fmla="*/ 1737652 w 2367177"/>
              <a:gd name="connsiteY171" fmla="*/ 276826 h 662520"/>
              <a:gd name="connsiteX172" fmla="*/ 1747014 w 2367177"/>
              <a:gd name="connsiteY172" fmla="*/ 223488 h 662520"/>
              <a:gd name="connsiteX173" fmla="*/ 1761965 w 2367177"/>
              <a:gd name="connsiteY173" fmla="*/ 175997 h 662520"/>
              <a:gd name="connsiteX174" fmla="*/ 1781973 w 2367177"/>
              <a:gd name="connsiteY174" fmla="*/ 134299 h 662520"/>
              <a:gd name="connsiteX175" fmla="*/ 1806505 w 2367177"/>
              <a:gd name="connsiteY175" fmla="*/ 98339 h 662520"/>
              <a:gd name="connsiteX176" fmla="*/ 1835026 w 2367177"/>
              <a:gd name="connsiteY176" fmla="*/ 68062 h 662520"/>
              <a:gd name="connsiteX177" fmla="*/ 1867005 w 2367177"/>
              <a:gd name="connsiteY177" fmla="*/ 43413 h 662520"/>
              <a:gd name="connsiteX178" fmla="*/ 1901908 w 2367177"/>
              <a:gd name="connsiteY178" fmla="*/ 24337 h 662520"/>
              <a:gd name="connsiteX179" fmla="*/ 1939202 w 2367177"/>
              <a:gd name="connsiteY179" fmla="*/ 10780 h 662520"/>
              <a:gd name="connsiteX180" fmla="*/ 1978353 w 2367177"/>
              <a:gd name="connsiteY180" fmla="*/ 2685 h 662520"/>
              <a:gd name="connsiteX181" fmla="*/ 2018830 w 2367177"/>
              <a:gd name="connsiteY181" fmla="*/ 0 h 662520"/>
              <a:gd name="connsiteX182" fmla="*/ 2059309 w 2367177"/>
              <a:gd name="connsiteY182" fmla="*/ 2685 h 662520"/>
              <a:gd name="connsiteX183" fmla="*/ 2098463 w 2367177"/>
              <a:gd name="connsiteY183" fmla="*/ 10780 h 662520"/>
              <a:gd name="connsiteX184" fmla="*/ 2135759 w 2367177"/>
              <a:gd name="connsiteY184" fmla="*/ 24337 h 662520"/>
              <a:gd name="connsiteX185" fmla="*/ 2170664 w 2367177"/>
              <a:gd name="connsiteY185" fmla="*/ 43413 h 662520"/>
              <a:gd name="connsiteX186" fmla="*/ 2202644 w 2367177"/>
              <a:gd name="connsiteY186" fmla="*/ 68062 h 662520"/>
              <a:gd name="connsiteX187" fmla="*/ 2231166 w 2367177"/>
              <a:gd name="connsiteY187" fmla="*/ 98339 h 662520"/>
              <a:gd name="connsiteX188" fmla="*/ 2255698 w 2367177"/>
              <a:gd name="connsiteY188" fmla="*/ 134299 h 662520"/>
              <a:gd name="connsiteX189" fmla="*/ 2275706 w 2367177"/>
              <a:gd name="connsiteY189" fmla="*/ 175997 h 662520"/>
              <a:gd name="connsiteX190" fmla="*/ 2290658 w 2367177"/>
              <a:gd name="connsiteY190" fmla="*/ 223488 h 662520"/>
              <a:gd name="connsiteX191" fmla="*/ 2300020 w 2367177"/>
              <a:gd name="connsiteY191" fmla="*/ 276826 h 662520"/>
              <a:gd name="connsiteX192" fmla="*/ 2303259 w 2367177"/>
              <a:gd name="connsiteY192" fmla="*/ 336067 h 662520"/>
              <a:gd name="connsiteX193" fmla="*/ 2299941 w 2367177"/>
              <a:gd name="connsiteY193" fmla="*/ 395991 h 662520"/>
              <a:gd name="connsiteX194" fmla="*/ 2290357 w 2367177"/>
              <a:gd name="connsiteY194" fmla="*/ 449869 h 662520"/>
              <a:gd name="connsiteX195" fmla="*/ 2275059 w 2367177"/>
              <a:gd name="connsiteY195" fmla="*/ 497757 h 662520"/>
              <a:gd name="connsiteX196" fmla="*/ 2254600 w 2367177"/>
              <a:gd name="connsiteY196" fmla="*/ 539713 h 662520"/>
              <a:gd name="connsiteX197" fmla="*/ 2229533 w 2367177"/>
              <a:gd name="connsiteY197" fmla="*/ 575793 h 662520"/>
              <a:gd name="connsiteX198" fmla="*/ 2200411 w 2367177"/>
              <a:gd name="connsiteY198" fmla="*/ 606054 h 662520"/>
              <a:gd name="connsiteX199" fmla="*/ 2167787 w 2367177"/>
              <a:gd name="connsiteY199" fmla="*/ 630553 h 662520"/>
              <a:gd name="connsiteX200" fmla="*/ 2132213 w 2367177"/>
              <a:gd name="connsiteY200" fmla="*/ 649348 h 662520"/>
              <a:gd name="connsiteX201" fmla="*/ 2094242 w 2367177"/>
              <a:gd name="connsiteY201" fmla="*/ 662495 h 662520"/>
              <a:gd name="connsiteX202" fmla="*/ 2332510 w 2367177"/>
              <a:gd name="connsiteY202" fmla="*/ 449856 h 662520"/>
              <a:gd name="connsiteX203" fmla="*/ 2322930 w 2367177"/>
              <a:gd name="connsiteY203" fmla="*/ 395984 h 662520"/>
              <a:gd name="connsiteX204" fmla="*/ 2319616 w 2367177"/>
              <a:gd name="connsiteY204" fmla="*/ 336067 h 662520"/>
              <a:gd name="connsiteX205" fmla="*/ 2322855 w 2367177"/>
              <a:gd name="connsiteY205" fmla="*/ 276826 h 662520"/>
              <a:gd name="connsiteX206" fmla="*/ 2332217 w 2367177"/>
              <a:gd name="connsiteY206" fmla="*/ 223488 h 662520"/>
              <a:gd name="connsiteX207" fmla="*/ 2347169 w 2367177"/>
              <a:gd name="connsiteY207" fmla="*/ 175997 h 662520"/>
              <a:gd name="connsiteX208" fmla="*/ 2367177 w 2367177"/>
              <a:gd name="connsiteY208" fmla="*/ 134299 h 662520"/>
              <a:gd name="connsiteX0" fmla="*/ 74231 w 2367177"/>
              <a:gd name="connsiteY0" fmla="*/ 662482 h 662520"/>
              <a:gd name="connsiteX1" fmla="*/ 60344 w 2367177"/>
              <a:gd name="connsiteY1" fmla="*/ 659582 h 662520"/>
              <a:gd name="connsiteX2" fmla="*/ 47517 w 2367177"/>
              <a:gd name="connsiteY2" fmla="*/ 656437 h 662520"/>
              <a:gd name="connsiteX3" fmla="*/ 35823 w 2367177"/>
              <a:gd name="connsiteY3" fmla="*/ 653092 h 662520"/>
              <a:gd name="connsiteX4" fmla="*/ 25336 w 2367177"/>
              <a:gd name="connsiteY4" fmla="*/ 649592 h 662520"/>
              <a:gd name="connsiteX5" fmla="*/ 25336 w 2367177"/>
              <a:gd name="connsiteY5" fmla="*/ 533196 h 662520"/>
              <a:gd name="connsiteX6" fmla="*/ 104190 w 2367177"/>
              <a:gd name="connsiteY6" fmla="*/ 533196 h 662520"/>
              <a:gd name="connsiteX7" fmla="*/ 116931 w 2367177"/>
              <a:gd name="connsiteY7" fmla="*/ 550133 h 662520"/>
              <a:gd name="connsiteX8" fmla="*/ 135043 w 2367177"/>
              <a:gd name="connsiteY8" fmla="*/ 564522 h 662520"/>
              <a:gd name="connsiteX9" fmla="*/ 160020 w 2367177"/>
              <a:gd name="connsiteY9" fmla="*/ 574514 h 662520"/>
              <a:gd name="connsiteX10" fmla="*/ 193357 w 2367177"/>
              <a:gd name="connsiteY10" fmla="*/ 578256 h 662520"/>
              <a:gd name="connsiteX11" fmla="*/ 233829 w 2367177"/>
              <a:gd name="connsiteY11" fmla="*/ 573672 h 662520"/>
              <a:gd name="connsiteX12" fmla="*/ 297105 w 2367177"/>
              <a:gd name="connsiteY12" fmla="*/ 537246 h 662520"/>
              <a:gd name="connsiteX13" fmla="*/ 320040 w 2367177"/>
              <a:gd name="connsiteY13" fmla="*/ 505568 h 662520"/>
              <a:gd name="connsiteX14" fmla="*/ 337261 w 2367177"/>
              <a:gd name="connsiteY14" fmla="*/ 465022 h 662520"/>
              <a:gd name="connsiteX15" fmla="*/ 348834 w 2367177"/>
              <a:gd name="connsiteY15" fmla="*/ 415691 h 662520"/>
              <a:gd name="connsiteX16" fmla="*/ 354825 w 2367177"/>
              <a:gd name="connsiteY16" fmla="*/ 357657 h 662520"/>
              <a:gd name="connsiteX17" fmla="*/ 325357 w 2367177"/>
              <a:gd name="connsiteY17" fmla="*/ 385098 h 662520"/>
              <a:gd name="connsiteX18" fmla="*/ 289466 w 2367177"/>
              <a:gd name="connsiteY18" fmla="*/ 406117 h 662520"/>
              <a:gd name="connsiteX19" fmla="*/ 247767 w 2367177"/>
              <a:gd name="connsiteY19" fmla="*/ 419568 h 662520"/>
              <a:gd name="connsiteX20" fmla="*/ 200875 w 2367177"/>
              <a:gd name="connsiteY20" fmla="*/ 424306 h 662520"/>
              <a:gd name="connsiteX21" fmla="*/ 153099 w 2367177"/>
              <a:gd name="connsiteY21" fmla="*/ 420031 h 662520"/>
              <a:gd name="connsiteX22" fmla="*/ 110150 w 2367177"/>
              <a:gd name="connsiteY22" fmla="*/ 407348 h 662520"/>
              <a:gd name="connsiteX23" fmla="*/ 72948 w 2367177"/>
              <a:gd name="connsiteY23" fmla="*/ 386472 h 662520"/>
              <a:gd name="connsiteX24" fmla="*/ 42412 w 2367177"/>
              <a:gd name="connsiteY24" fmla="*/ 357614 h 662520"/>
              <a:gd name="connsiteX25" fmla="*/ 19463 w 2367177"/>
              <a:gd name="connsiteY25" fmla="*/ 320990 h 662520"/>
              <a:gd name="connsiteX26" fmla="*/ 5019 w 2367177"/>
              <a:gd name="connsiteY26" fmla="*/ 276814 h 662520"/>
              <a:gd name="connsiteX27" fmla="*/ 0 w 2367177"/>
              <a:gd name="connsiteY27" fmla="*/ 225297 h 662520"/>
              <a:gd name="connsiteX28" fmla="*/ 4447 w 2367177"/>
              <a:gd name="connsiteY28" fmla="*/ 178425 h 662520"/>
              <a:gd name="connsiteX29" fmla="*/ 17453 w 2367177"/>
              <a:gd name="connsiteY29" fmla="*/ 135445 h 662520"/>
              <a:gd name="connsiteX30" fmla="*/ 38511 w 2367177"/>
              <a:gd name="connsiteY30" fmla="*/ 97085 h 662520"/>
              <a:gd name="connsiteX31" fmla="*/ 67116 w 2367177"/>
              <a:gd name="connsiteY31" fmla="*/ 64071 h 662520"/>
              <a:gd name="connsiteX32" fmla="*/ 102760 w 2367177"/>
              <a:gd name="connsiteY32" fmla="*/ 37129 h 662520"/>
              <a:gd name="connsiteX33" fmla="*/ 144939 w 2367177"/>
              <a:gd name="connsiteY33" fmla="*/ 16986 h 662520"/>
              <a:gd name="connsiteX34" fmla="*/ 193146 w 2367177"/>
              <a:gd name="connsiteY34" fmla="*/ 4367 h 662520"/>
              <a:gd name="connsiteX35" fmla="*/ 246875 w 2367177"/>
              <a:gd name="connsiteY35" fmla="*/ 0 h 662520"/>
              <a:gd name="connsiteX36" fmla="*/ 290625 w 2367177"/>
              <a:gd name="connsiteY36" fmla="*/ 2882 h 662520"/>
              <a:gd name="connsiteX37" fmla="*/ 331492 w 2367177"/>
              <a:gd name="connsiteY37" fmla="*/ 11678 h 662520"/>
              <a:gd name="connsiteX38" fmla="*/ 369070 w 2367177"/>
              <a:gd name="connsiteY38" fmla="*/ 26614 h 662520"/>
              <a:gd name="connsiteX39" fmla="*/ 402953 w 2367177"/>
              <a:gd name="connsiteY39" fmla="*/ 47914 h 662520"/>
              <a:gd name="connsiteX40" fmla="*/ 432736 w 2367177"/>
              <a:gd name="connsiteY40" fmla="*/ 75804 h 662520"/>
              <a:gd name="connsiteX41" fmla="*/ 458013 w 2367177"/>
              <a:gd name="connsiteY41" fmla="*/ 110509 h 662520"/>
              <a:gd name="connsiteX42" fmla="*/ 478379 w 2367177"/>
              <a:gd name="connsiteY42" fmla="*/ 152255 h 662520"/>
              <a:gd name="connsiteX43" fmla="*/ 493429 w 2367177"/>
              <a:gd name="connsiteY43" fmla="*/ 201265 h 662520"/>
              <a:gd name="connsiteX44" fmla="*/ 502756 w 2367177"/>
              <a:gd name="connsiteY44" fmla="*/ 257766 h 662520"/>
              <a:gd name="connsiteX45" fmla="*/ 505955 w 2367177"/>
              <a:gd name="connsiteY45" fmla="*/ 321983 h 662520"/>
              <a:gd name="connsiteX46" fmla="*/ 503406 w 2367177"/>
              <a:gd name="connsiteY46" fmla="*/ 376707 h 662520"/>
              <a:gd name="connsiteX47" fmla="*/ 495858 w 2367177"/>
              <a:gd name="connsiteY47" fmla="*/ 427041 h 662520"/>
              <a:gd name="connsiteX48" fmla="*/ 483456 w 2367177"/>
              <a:gd name="connsiteY48" fmla="*/ 472909 h 662520"/>
              <a:gd name="connsiteX49" fmla="*/ 466346 w 2367177"/>
              <a:gd name="connsiteY49" fmla="*/ 514232 h 662520"/>
              <a:gd name="connsiteX50" fmla="*/ 444674 w 2367177"/>
              <a:gd name="connsiteY50" fmla="*/ 550937 h 662520"/>
              <a:gd name="connsiteX51" fmla="*/ 418587 w 2367177"/>
              <a:gd name="connsiteY51" fmla="*/ 582945 h 662520"/>
              <a:gd name="connsiteX52" fmla="*/ 388229 w 2367177"/>
              <a:gd name="connsiteY52" fmla="*/ 610181 h 662520"/>
              <a:gd name="connsiteX53" fmla="*/ 353748 w 2367177"/>
              <a:gd name="connsiteY53" fmla="*/ 632569 h 662520"/>
              <a:gd name="connsiteX54" fmla="*/ 315289 w 2367177"/>
              <a:gd name="connsiteY54" fmla="*/ 650033 h 662520"/>
              <a:gd name="connsiteX55" fmla="*/ 272999 w 2367177"/>
              <a:gd name="connsiteY55" fmla="*/ 662495 h 662520"/>
              <a:gd name="connsiteX56" fmla="*/ 592162 w 2367177"/>
              <a:gd name="connsiteY56" fmla="*/ 662520 h 662520"/>
              <a:gd name="connsiteX57" fmla="*/ 571167 w 2367177"/>
              <a:gd name="connsiteY57" fmla="*/ 658030 h 662520"/>
              <a:gd name="connsiteX58" fmla="*/ 551373 w 2367177"/>
              <a:gd name="connsiteY58" fmla="*/ 652783 h 662520"/>
              <a:gd name="connsiteX59" fmla="*/ 532537 w 2367177"/>
              <a:gd name="connsiteY59" fmla="*/ 646826 h 662520"/>
              <a:gd name="connsiteX60" fmla="*/ 514413 w 2367177"/>
              <a:gd name="connsiteY60" fmla="*/ 640206 h 662520"/>
              <a:gd name="connsiteX61" fmla="*/ 514413 w 2367177"/>
              <a:gd name="connsiteY61" fmla="*/ 516293 h 662520"/>
              <a:gd name="connsiteX62" fmla="*/ 596087 w 2367177"/>
              <a:gd name="connsiteY62" fmla="*/ 516293 h 662520"/>
              <a:gd name="connsiteX63" fmla="*/ 612203 w 2367177"/>
              <a:gd name="connsiteY63" fmla="*/ 539439 h 662520"/>
              <a:gd name="connsiteX64" fmla="*/ 635627 w 2367177"/>
              <a:gd name="connsiteY64" fmla="*/ 559242 h 662520"/>
              <a:gd name="connsiteX65" fmla="*/ 666972 w 2367177"/>
              <a:gd name="connsiteY65" fmla="*/ 573062 h 662520"/>
              <a:gd name="connsiteX66" fmla="*/ 706856 w 2367177"/>
              <a:gd name="connsiteY66" fmla="*/ 578256 h 662520"/>
              <a:gd name="connsiteX67" fmla="*/ 749359 w 2367177"/>
              <a:gd name="connsiteY67" fmla="*/ 571758 h 662520"/>
              <a:gd name="connsiteX68" fmla="*/ 784298 w 2367177"/>
              <a:gd name="connsiteY68" fmla="*/ 552322 h 662520"/>
              <a:gd name="connsiteX69" fmla="*/ 807972 w 2367177"/>
              <a:gd name="connsiteY69" fmla="*/ 520038 h 662520"/>
              <a:gd name="connsiteX70" fmla="*/ 816686 w 2367177"/>
              <a:gd name="connsiteY70" fmla="*/ 474992 h 662520"/>
              <a:gd name="connsiteX71" fmla="*/ 809424 w 2367177"/>
              <a:gd name="connsiteY71" fmla="*/ 430240 h 662520"/>
              <a:gd name="connsiteX72" fmla="*/ 787466 w 2367177"/>
              <a:gd name="connsiteY72" fmla="*/ 398602 h 662520"/>
              <a:gd name="connsiteX73" fmla="*/ 750549 w 2367177"/>
              <a:gd name="connsiteY73" fmla="*/ 379812 h 662520"/>
              <a:gd name="connsiteX74" fmla="*/ 698411 w 2367177"/>
              <a:gd name="connsiteY74" fmla="*/ 373608 h 662520"/>
              <a:gd name="connsiteX75" fmla="*/ 649592 w 2367177"/>
              <a:gd name="connsiteY75" fmla="*/ 373608 h 662520"/>
              <a:gd name="connsiteX76" fmla="*/ 649592 w 2367177"/>
              <a:gd name="connsiteY76" fmla="*/ 286308 h 662520"/>
              <a:gd name="connsiteX77" fmla="*/ 690892 w 2367177"/>
              <a:gd name="connsiteY77" fmla="*/ 286308 h 662520"/>
              <a:gd name="connsiteX78" fmla="*/ 744563 w 2367177"/>
              <a:gd name="connsiteY78" fmla="*/ 280133 h 662520"/>
              <a:gd name="connsiteX79" fmla="*/ 783007 w 2367177"/>
              <a:gd name="connsiteY79" fmla="*/ 261550 h 662520"/>
              <a:gd name="connsiteX80" fmla="*/ 806137 w 2367177"/>
              <a:gd name="connsiteY80" fmla="*/ 230469 h 662520"/>
              <a:gd name="connsiteX81" fmla="*/ 813866 w 2367177"/>
              <a:gd name="connsiteY81" fmla="*/ 186804 h 662520"/>
              <a:gd name="connsiteX82" fmla="*/ 808513 w 2367177"/>
              <a:gd name="connsiteY82" fmla="*/ 149115 h 662520"/>
              <a:gd name="connsiteX83" fmla="*/ 792160 w 2367177"/>
              <a:gd name="connsiteY83" fmla="*/ 121104 h 662520"/>
              <a:gd name="connsiteX84" fmla="*/ 764365 w 2367177"/>
              <a:gd name="connsiteY84" fmla="*/ 103651 h 662520"/>
              <a:gd name="connsiteX85" fmla="*/ 724687 w 2367177"/>
              <a:gd name="connsiteY85" fmla="*/ 97637 h 662520"/>
              <a:gd name="connsiteX86" fmla="*/ 687243 w 2367177"/>
              <a:gd name="connsiteY86" fmla="*/ 102374 h 662520"/>
              <a:gd name="connsiteX87" fmla="*/ 657456 w 2367177"/>
              <a:gd name="connsiteY87" fmla="*/ 115117 h 662520"/>
              <a:gd name="connsiteX88" fmla="*/ 634533 w 2367177"/>
              <a:gd name="connsiteY88" fmla="*/ 133668 h 662520"/>
              <a:gd name="connsiteX89" fmla="*/ 617677 w 2367177"/>
              <a:gd name="connsiteY89" fmla="*/ 155828 h 662520"/>
              <a:gd name="connsiteX90" fmla="*/ 539775 w 2367177"/>
              <a:gd name="connsiteY90" fmla="*/ 155828 h 662520"/>
              <a:gd name="connsiteX91" fmla="*/ 539775 w 2367177"/>
              <a:gd name="connsiteY91" fmla="*/ 33807 h 662520"/>
              <a:gd name="connsiteX92" fmla="*/ 584006 w 2367177"/>
              <a:gd name="connsiteY92" fmla="*/ 19813 h 662520"/>
              <a:gd name="connsiteX93" fmla="*/ 631056 w 2367177"/>
              <a:gd name="connsiteY93" fmla="*/ 9159 h 662520"/>
              <a:gd name="connsiteX94" fmla="*/ 681278 w 2367177"/>
              <a:gd name="connsiteY94" fmla="*/ 2378 h 662520"/>
              <a:gd name="connsiteX95" fmla="*/ 735025 w 2367177"/>
              <a:gd name="connsiteY95" fmla="*/ 0 h 662520"/>
              <a:gd name="connsiteX96" fmla="*/ 790395 w 2367177"/>
              <a:gd name="connsiteY96" fmla="*/ 3158 h 662520"/>
              <a:gd name="connsiteX97" fmla="*/ 838689 w 2367177"/>
              <a:gd name="connsiteY97" fmla="*/ 12853 h 662520"/>
              <a:gd name="connsiteX98" fmla="*/ 879380 w 2367177"/>
              <a:gd name="connsiteY98" fmla="*/ 29412 h 662520"/>
              <a:gd name="connsiteX99" fmla="*/ 911943 w 2367177"/>
              <a:gd name="connsiteY99" fmla="*/ 53163 h 662520"/>
              <a:gd name="connsiteX100" fmla="*/ 935853 w 2367177"/>
              <a:gd name="connsiteY100" fmla="*/ 84435 h 662520"/>
              <a:gd name="connsiteX101" fmla="*/ 950584 w 2367177"/>
              <a:gd name="connsiteY101" fmla="*/ 123555 h 662520"/>
              <a:gd name="connsiteX102" fmla="*/ 955611 w 2367177"/>
              <a:gd name="connsiteY102" fmla="*/ 170853 h 662520"/>
              <a:gd name="connsiteX103" fmla="*/ 949453 w 2367177"/>
              <a:gd name="connsiteY103" fmla="*/ 219568 h 662520"/>
              <a:gd name="connsiteX104" fmla="*/ 931581 w 2367177"/>
              <a:gd name="connsiteY104" fmla="*/ 258234 h 662520"/>
              <a:gd name="connsiteX105" fmla="*/ 902895 w 2367177"/>
              <a:gd name="connsiteY105" fmla="*/ 287843 h 662520"/>
              <a:gd name="connsiteX106" fmla="*/ 864296 w 2367177"/>
              <a:gd name="connsiteY106" fmla="*/ 309388 h 662520"/>
              <a:gd name="connsiteX107" fmla="*/ 816686 w 2367177"/>
              <a:gd name="connsiteY107" fmla="*/ 323862 h 662520"/>
              <a:gd name="connsiteX108" fmla="*/ 816686 w 2367177"/>
              <a:gd name="connsiteY108" fmla="*/ 327609 h 662520"/>
              <a:gd name="connsiteX109" fmla="*/ 870681 w 2367177"/>
              <a:gd name="connsiteY109" fmla="*/ 340566 h 662520"/>
              <a:gd name="connsiteX110" fmla="*/ 912283 w 2367177"/>
              <a:gd name="connsiteY110" fmla="*/ 362534 h 662520"/>
              <a:gd name="connsiteX111" fmla="*/ 941719 w 2367177"/>
              <a:gd name="connsiteY111" fmla="*/ 393513 h 662520"/>
              <a:gd name="connsiteX112" fmla="*/ 959215 w 2367177"/>
              <a:gd name="connsiteY112" fmla="*/ 433502 h 662520"/>
              <a:gd name="connsiteX113" fmla="*/ 964996 w 2367177"/>
              <a:gd name="connsiteY113" fmla="*/ 482498 h 662520"/>
              <a:gd name="connsiteX114" fmla="*/ 959936 w 2367177"/>
              <a:gd name="connsiteY114" fmla="*/ 527743 h 662520"/>
              <a:gd name="connsiteX115" fmla="*/ 944659 w 2367177"/>
              <a:gd name="connsiteY115" fmla="*/ 567021 h 662520"/>
              <a:gd name="connsiteX116" fmla="*/ 920122 w 2367177"/>
              <a:gd name="connsiteY116" fmla="*/ 600232 h 662520"/>
              <a:gd name="connsiteX117" fmla="*/ 887285 w 2367177"/>
              <a:gd name="connsiteY117" fmla="*/ 627278 h 662520"/>
              <a:gd name="connsiteX118" fmla="*/ 847106 w 2367177"/>
              <a:gd name="connsiteY118" fmla="*/ 648061 h 662520"/>
              <a:gd name="connsiteX119" fmla="*/ 800544 w 2367177"/>
              <a:gd name="connsiteY119" fmla="*/ 662482 h 662520"/>
              <a:gd name="connsiteX120" fmla="*/ 1360843 w 2367177"/>
              <a:gd name="connsiteY120" fmla="*/ 662495 h 662520"/>
              <a:gd name="connsiteX121" fmla="*/ 1322871 w 2367177"/>
              <a:gd name="connsiteY121" fmla="*/ 649352 h 662520"/>
              <a:gd name="connsiteX122" fmla="*/ 1287296 w 2367177"/>
              <a:gd name="connsiteY122" fmla="*/ 630560 h 662520"/>
              <a:gd name="connsiteX123" fmla="*/ 1254670 w 2367177"/>
              <a:gd name="connsiteY123" fmla="*/ 606062 h 662520"/>
              <a:gd name="connsiteX124" fmla="*/ 1225546 w 2367177"/>
              <a:gd name="connsiteY124" fmla="*/ 575802 h 662520"/>
              <a:gd name="connsiteX125" fmla="*/ 1200477 w 2367177"/>
              <a:gd name="connsiteY125" fmla="*/ 539722 h 662520"/>
              <a:gd name="connsiteX126" fmla="*/ 1180016 w 2367177"/>
              <a:gd name="connsiteY126" fmla="*/ 497766 h 662520"/>
              <a:gd name="connsiteX127" fmla="*/ 1164717 w 2367177"/>
              <a:gd name="connsiteY127" fmla="*/ 449876 h 662520"/>
              <a:gd name="connsiteX128" fmla="*/ 1155131 w 2367177"/>
              <a:gd name="connsiteY128" fmla="*/ 395995 h 662520"/>
              <a:gd name="connsiteX129" fmla="*/ 1151813 w 2367177"/>
              <a:gd name="connsiteY129" fmla="*/ 336067 h 662520"/>
              <a:gd name="connsiteX130" fmla="*/ 1155053 w 2367177"/>
              <a:gd name="connsiteY130" fmla="*/ 276826 h 662520"/>
              <a:gd name="connsiteX131" fmla="*/ 1164415 w 2367177"/>
              <a:gd name="connsiteY131" fmla="*/ 223488 h 662520"/>
              <a:gd name="connsiteX132" fmla="*/ 1179368 w 2367177"/>
              <a:gd name="connsiteY132" fmla="*/ 175997 h 662520"/>
              <a:gd name="connsiteX133" fmla="*/ 1199377 w 2367177"/>
              <a:gd name="connsiteY133" fmla="*/ 134299 h 662520"/>
              <a:gd name="connsiteX134" fmla="*/ 1223910 w 2367177"/>
              <a:gd name="connsiteY134" fmla="*/ 98339 h 662520"/>
              <a:gd name="connsiteX135" fmla="*/ 1252434 w 2367177"/>
              <a:gd name="connsiteY135" fmla="*/ 68062 h 662520"/>
              <a:gd name="connsiteX136" fmla="*/ 1284414 w 2367177"/>
              <a:gd name="connsiteY136" fmla="*/ 43413 h 662520"/>
              <a:gd name="connsiteX137" fmla="*/ 1319318 w 2367177"/>
              <a:gd name="connsiteY137" fmla="*/ 24337 h 662520"/>
              <a:gd name="connsiteX138" fmla="*/ 1356613 w 2367177"/>
              <a:gd name="connsiteY138" fmla="*/ 10780 h 662520"/>
              <a:gd name="connsiteX139" fmla="*/ 1395766 w 2367177"/>
              <a:gd name="connsiteY139" fmla="*/ 2685 h 662520"/>
              <a:gd name="connsiteX140" fmla="*/ 1436243 w 2367177"/>
              <a:gd name="connsiteY140" fmla="*/ 0 h 662520"/>
              <a:gd name="connsiteX141" fmla="*/ 1476722 w 2367177"/>
              <a:gd name="connsiteY141" fmla="*/ 2685 h 662520"/>
              <a:gd name="connsiteX142" fmla="*/ 1515876 w 2367177"/>
              <a:gd name="connsiteY142" fmla="*/ 10780 h 662520"/>
              <a:gd name="connsiteX143" fmla="*/ 1553172 w 2367177"/>
              <a:gd name="connsiteY143" fmla="*/ 24337 h 662520"/>
              <a:gd name="connsiteX144" fmla="*/ 1588076 w 2367177"/>
              <a:gd name="connsiteY144" fmla="*/ 43413 h 662520"/>
              <a:gd name="connsiteX145" fmla="*/ 1620056 w 2367177"/>
              <a:gd name="connsiteY145" fmla="*/ 68062 h 662520"/>
              <a:gd name="connsiteX146" fmla="*/ 1648579 w 2367177"/>
              <a:gd name="connsiteY146" fmla="*/ 98339 h 662520"/>
              <a:gd name="connsiteX147" fmla="*/ 1673111 w 2367177"/>
              <a:gd name="connsiteY147" fmla="*/ 134299 h 662520"/>
              <a:gd name="connsiteX148" fmla="*/ 1693119 w 2367177"/>
              <a:gd name="connsiteY148" fmla="*/ 175997 h 662520"/>
              <a:gd name="connsiteX149" fmla="*/ 1708071 w 2367177"/>
              <a:gd name="connsiteY149" fmla="*/ 223488 h 662520"/>
              <a:gd name="connsiteX150" fmla="*/ 1717433 w 2367177"/>
              <a:gd name="connsiteY150" fmla="*/ 276826 h 662520"/>
              <a:gd name="connsiteX151" fmla="*/ 1720672 w 2367177"/>
              <a:gd name="connsiteY151" fmla="*/ 336067 h 662520"/>
              <a:gd name="connsiteX152" fmla="*/ 1717354 w 2367177"/>
              <a:gd name="connsiteY152" fmla="*/ 395995 h 662520"/>
              <a:gd name="connsiteX153" fmla="*/ 1707768 w 2367177"/>
              <a:gd name="connsiteY153" fmla="*/ 449876 h 662520"/>
              <a:gd name="connsiteX154" fmla="*/ 1692469 w 2367177"/>
              <a:gd name="connsiteY154" fmla="*/ 497766 h 662520"/>
              <a:gd name="connsiteX155" fmla="*/ 1672008 w 2367177"/>
              <a:gd name="connsiteY155" fmla="*/ 539722 h 662520"/>
              <a:gd name="connsiteX156" fmla="*/ 1646939 w 2367177"/>
              <a:gd name="connsiteY156" fmla="*/ 575802 h 662520"/>
              <a:gd name="connsiteX157" fmla="*/ 1617815 w 2367177"/>
              <a:gd name="connsiteY157" fmla="*/ 606062 h 662520"/>
              <a:gd name="connsiteX158" fmla="*/ 1585189 w 2367177"/>
              <a:gd name="connsiteY158" fmla="*/ 630560 h 662520"/>
              <a:gd name="connsiteX159" fmla="*/ 1549614 w 2367177"/>
              <a:gd name="connsiteY159" fmla="*/ 649352 h 662520"/>
              <a:gd name="connsiteX160" fmla="*/ 1511642 w 2367177"/>
              <a:gd name="connsiteY160" fmla="*/ 662495 h 662520"/>
              <a:gd name="connsiteX161" fmla="*/ 1943430 w 2367177"/>
              <a:gd name="connsiteY161" fmla="*/ 662495 h 662520"/>
              <a:gd name="connsiteX162" fmla="*/ 1905459 w 2367177"/>
              <a:gd name="connsiteY162" fmla="*/ 649348 h 662520"/>
              <a:gd name="connsiteX163" fmla="*/ 1869885 w 2367177"/>
              <a:gd name="connsiteY163" fmla="*/ 630555 h 662520"/>
              <a:gd name="connsiteX164" fmla="*/ 1837261 w 2367177"/>
              <a:gd name="connsiteY164" fmla="*/ 606057 h 662520"/>
              <a:gd name="connsiteX165" fmla="*/ 1808138 w 2367177"/>
              <a:gd name="connsiteY165" fmla="*/ 575797 h 662520"/>
              <a:gd name="connsiteX166" fmla="*/ 1783072 w 2367177"/>
              <a:gd name="connsiteY166" fmla="*/ 539718 h 662520"/>
              <a:gd name="connsiteX167" fmla="*/ 1762613 w 2367177"/>
              <a:gd name="connsiteY167" fmla="*/ 497763 h 662520"/>
              <a:gd name="connsiteX168" fmla="*/ 1747315 w 2367177"/>
              <a:gd name="connsiteY168" fmla="*/ 449874 h 662520"/>
              <a:gd name="connsiteX169" fmla="*/ 1737731 w 2367177"/>
              <a:gd name="connsiteY169" fmla="*/ 395995 h 662520"/>
              <a:gd name="connsiteX170" fmla="*/ 1734413 w 2367177"/>
              <a:gd name="connsiteY170" fmla="*/ 336067 h 662520"/>
              <a:gd name="connsiteX171" fmla="*/ 1737652 w 2367177"/>
              <a:gd name="connsiteY171" fmla="*/ 276826 h 662520"/>
              <a:gd name="connsiteX172" fmla="*/ 1747014 w 2367177"/>
              <a:gd name="connsiteY172" fmla="*/ 223488 h 662520"/>
              <a:gd name="connsiteX173" fmla="*/ 1761965 w 2367177"/>
              <a:gd name="connsiteY173" fmla="*/ 175997 h 662520"/>
              <a:gd name="connsiteX174" fmla="*/ 1781973 w 2367177"/>
              <a:gd name="connsiteY174" fmla="*/ 134299 h 662520"/>
              <a:gd name="connsiteX175" fmla="*/ 1806505 w 2367177"/>
              <a:gd name="connsiteY175" fmla="*/ 98339 h 662520"/>
              <a:gd name="connsiteX176" fmla="*/ 1835026 w 2367177"/>
              <a:gd name="connsiteY176" fmla="*/ 68062 h 662520"/>
              <a:gd name="connsiteX177" fmla="*/ 1867005 w 2367177"/>
              <a:gd name="connsiteY177" fmla="*/ 43413 h 662520"/>
              <a:gd name="connsiteX178" fmla="*/ 1901908 w 2367177"/>
              <a:gd name="connsiteY178" fmla="*/ 24337 h 662520"/>
              <a:gd name="connsiteX179" fmla="*/ 1939202 w 2367177"/>
              <a:gd name="connsiteY179" fmla="*/ 10780 h 662520"/>
              <a:gd name="connsiteX180" fmla="*/ 1978353 w 2367177"/>
              <a:gd name="connsiteY180" fmla="*/ 2685 h 662520"/>
              <a:gd name="connsiteX181" fmla="*/ 2018830 w 2367177"/>
              <a:gd name="connsiteY181" fmla="*/ 0 h 662520"/>
              <a:gd name="connsiteX182" fmla="*/ 2059309 w 2367177"/>
              <a:gd name="connsiteY182" fmla="*/ 2685 h 662520"/>
              <a:gd name="connsiteX183" fmla="*/ 2098463 w 2367177"/>
              <a:gd name="connsiteY183" fmla="*/ 10780 h 662520"/>
              <a:gd name="connsiteX184" fmla="*/ 2135759 w 2367177"/>
              <a:gd name="connsiteY184" fmla="*/ 24337 h 662520"/>
              <a:gd name="connsiteX185" fmla="*/ 2170664 w 2367177"/>
              <a:gd name="connsiteY185" fmla="*/ 43413 h 662520"/>
              <a:gd name="connsiteX186" fmla="*/ 2202644 w 2367177"/>
              <a:gd name="connsiteY186" fmla="*/ 68062 h 662520"/>
              <a:gd name="connsiteX187" fmla="*/ 2231166 w 2367177"/>
              <a:gd name="connsiteY187" fmla="*/ 98339 h 662520"/>
              <a:gd name="connsiteX188" fmla="*/ 2255698 w 2367177"/>
              <a:gd name="connsiteY188" fmla="*/ 134299 h 662520"/>
              <a:gd name="connsiteX189" fmla="*/ 2275706 w 2367177"/>
              <a:gd name="connsiteY189" fmla="*/ 175997 h 662520"/>
              <a:gd name="connsiteX190" fmla="*/ 2290658 w 2367177"/>
              <a:gd name="connsiteY190" fmla="*/ 223488 h 662520"/>
              <a:gd name="connsiteX191" fmla="*/ 2300020 w 2367177"/>
              <a:gd name="connsiteY191" fmla="*/ 276826 h 662520"/>
              <a:gd name="connsiteX192" fmla="*/ 2303259 w 2367177"/>
              <a:gd name="connsiteY192" fmla="*/ 336067 h 662520"/>
              <a:gd name="connsiteX193" fmla="*/ 2299941 w 2367177"/>
              <a:gd name="connsiteY193" fmla="*/ 395991 h 662520"/>
              <a:gd name="connsiteX194" fmla="*/ 2290357 w 2367177"/>
              <a:gd name="connsiteY194" fmla="*/ 449869 h 662520"/>
              <a:gd name="connsiteX195" fmla="*/ 2275059 w 2367177"/>
              <a:gd name="connsiteY195" fmla="*/ 497757 h 662520"/>
              <a:gd name="connsiteX196" fmla="*/ 2254600 w 2367177"/>
              <a:gd name="connsiteY196" fmla="*/ 539713 h 662520"/>
              <a:gd name="connsiteX197" fmla="*/ 2229533 w 2367177"/>
              <a:gd name="connsiteY197" fmla="*/ 575793 h 662520"/>
              <a:gd name="connsiteX198" fmla="*/ 2200411 w 2367177"/>
              <a:gd name="connsiteY198" fmla="*/ 606054 h 662520"/>
              <a:gd name="connsiteX199" fmla="*/ 2167787 w 2367177"/>
              <a:gd name="connsiteY199" fmla="*/ 630553 h 662520"/>
              <a:gd name="connsiteX200" fmla="*/ 2132213 w 2367177"/>
              <a:gd name="connsiteY200" fmla="*/ 649348 h 662520"/>
              <a:gd name="connsiteX201" fmla="*/ 2094242 w 2367177"/>
              <a:gd name="connsiteY201" fmla="*/ 662495 h 662520"/>
              <a:gd name="connsiteX202" fmla="*/ 2322930 w 2367177"/>
              <a:gd name="connsiteY202" fmla="*/ 395984 h 662520"/>
              <a:gd name="connsiteX203" fmla="*/ 2319616 w 2367177"/>
              <a:gd name="connsiteY203" fmla="*/ 336067 h 662520"/>
              <a:gd name="connsiteX204" fmla="*/ 2322855 w 2367177"/>
              <a:gd name="connsiteY204" fmla="*/ 276826 h 662520"/>
              <a:gd name="connsiteX205" fmla="*/ 2332217 w 2367177"/>
              <a:gd name="connsiteY205" fmla="*/ 223488 h 662520"/>
              <a:gd name="connsiteX206" fmla="*/ 2347169 w 2367177"/>
              <a:gd name="connsiteY206" fmla="*/ 175997 h 662520"/>
              <a:gd name="connsiteX207" fmla="*/ 2367177 w 2367177"/>
              <a:gd name="connsiteY207" fmla="*/ 134299 h 662520"/>
              <a:gd name="connsiteX0" fmla="*/ 74231 w 2347169"/>
              <a:gd name="connsiteY0" fmla="*/ 662482 h 662520"/>
              <a:gd name="connsiteX1" fmla="*/ 60344 w 2347169"/>
              <a:gd name="connsiteY1" fmla="*/ 659582 h 662520"/>
              <a:gd name="connsiteX2" fmla="*/ 47517 w 2347169"/>
              <a:gd name="connsiteY2" fmla="*/ 656437 h 662520"/>
              <a:gd name="connsiteX3" fmla="*/ 35823 w 2347169"/>
              <a:gd name="connsiteY3" fmla="*/ 653092 h 662520"/>
              <a:gd name="connsiteX4" fmla="*/ 25336 w 2347169"/>
              <a:gd name="connsiteY4" fmla="*/ 649592 h 662520"/>
              <a:gd name="connsiteX5" fmla="*/ 25336 w 2347169"/>
              <a:gd name="connsiteY5" fmla="*/ 533196 h 662520"/>
              <a:gd name="connsiteX6" fmla="*/ 104190 w 2347169"/>
              <a:gd name="connsiteY6" fmla="*/ 533196 h 662520"/>
              <a:gd name="connsiteX7" fmla="*/ 116931 w 2347169"/>
              <a:gd name="connsiteY7" fmla="*/ 550133 h 662520"/>
              <a:gd name="connsiteX8" fmla="*/ 135043 w 2347169"/>
              <a:gd name="connsiteY8" fmla="*/ 564522 h 662520"/>
              <a:gd name="connsiteX9" fmla="*/ 160020 w 2347169"/>
              <a:gd name="connsiteY9" fmla="*/ 574514 h 662520"/>
              <a:gd name="connsiteX10" fmla="*/ 193357 w 2347169"/>
              <a:gd name="connsiteY10" fmla="*/ 578256 h 662520"/>
              <a:gd name="connsiteX11" fmla="*/ 233829 w 2347169"/>
              <a:gd name="connsiteY11" fmla="*/ 573672 h 662520"/>
              <a:gd name="connsiteX12" fmla="*/ 297105 w 2347169"/>
              <a:gd name="connsiteY12" fmla="*/ 537246 h 662520"/>
              <a:gd name="connsiteX13" fmla="*/ 320040 w 2347169"/>
              <a:gd name="connsiteY13" fmla="*/ 505568 h 662520"/>
              <a:gd name="connsiteX14" fmla="*/ 337261 w 2347169"/>
              <a:gd name="connsiteY14" fmla="*/ 465022 h 662520"/>
              <a:gd name="connsiteX15" fmla="*/ 348834 w 2347169"/>
              <a:gd name="connsiteY15" fmla="*/ 415691 h 662520"/>
              <a:gd name="connsiteX16" fmla="*/ 354825 w 2347169"/>
              <a:gd name="connsiteY16" fmla="*/ 357657 h 662520"/>
              <a:gd name="connsiteX17" fmla="*/ 325357 w 2347169"/>
              <a:gd name="connsiteY17" fmla="*/ 385098 h 662520"/>
              <a:gd name="connsiteX18" fmla="*/ 289466 w 2347169"/>
              <a:gd name="connsiteY18" fmla="*/ 406117 h 662520"/>
              <a:gd name="connsiteX19" fmla="*/ 247767 w 2347169"/>
              <a:gd name="connsiteY19" fmla="*/ 419568 h 662520"/>
              <a:gd name="connsiteX20" fmla="*/ 200875 w 2347169"/>
              <a:gd name="connsiteY20" fmla="*/ 424306 h 662520"/>
              <a:gd name="connsiteX21" fmla="*/ 153099 w 2347169"/>
              <a:gd name="connsiteY21" fmla="*/ 420031 h 662520"/>
              <a:gd name="connsiteX22" fmla="*/ 110150 w 2347169"/>
              <a:gd name="connsiteY22" fmla="*/ 407348 h 662520"/>
              <a:gd name="connsiteX23" fmla="*/ 72948 w 2347169"/>
              <a:gd name="connsiteY23" fmla="*/ 386472 h 662520"/>
              <a:gd name="connsiteX24" fmla="*/ 42412 w 2347169"/>
              <a:gd name="connsiteY24" fmla="*/ 357614 h 662520"/>
              <a:gd name="connsiteX25" fmla="*/ 19463 w 2347169"/>
              <a:gd name="connsiteY25" fmla="*/ 320990 h 662520"/>
              <a:gd name="connsiteX26" fmla="*/ 5019 w 2347169"/>
              <a:gd name="connsiteY26" fmla="*/ 276814 h 662520"/>
              <a:gd name="connsiteX27" fmla="*/ 0 w 2347169"/>
              <a:gd name="connsiteY27" fmla="*/ 225297 h 662520"/>
              <a:gd name="connsiteX28" fmla="*/ 4447 w 2347169"/>
              <a:gd name="connsiteY28" fmla="*/ 178425 h 662520"/>
              <a:gd name="connsiteX29" fmla="*/ 17453 w 2347169"/>
              <a:gd name="connsiteY29" fmla="*/ 135445 h 662520"/>
              <a:gd name="connsiteX30" fmla="*/ 38511 w 2347169"/>
              <a:gd name="connsiteY30" fmla="*/ 97085 h 662520"/>
              <a:gd name="connsiteX31" fmla="*/ 67116 w 2347169"/>
              <a:gd name="connsiteY31" fmla="*/ 64071 h 662520"/>
              <a:gd name="connsiteX32" fmla="*/ 102760 w 2347169"/>
              <a:gd name="connsiteY32" fmla="*/ 37129 h 662520"/>
              <a:gd name="connsiteX33" fmla="*/ 144939 w 2347169"/>
              <a:gd name="connsiteY33" fmla="*/ 16986 h 662520"/>
              <a:gd name="connsiteX34" fmla="*/ 193146 w 2347169"/>
              <a:gd name="connsiteY34" fmla="*/ 4367 h 662520"/>
              <a:gd name="connsiteX35" fmla="*/ 246875 w 2347169"/>
              <a:gd name="connsiteY35" fmla="*/ 0 h 662520"/>
              <a:gd name="connsiteX36" fmla="*/ 290625 w 2347169"/>
              <a:gd name="connsiteY36" fmla="*/ 2882 h 662520"/>
              <a:gd name="connsiteX37" fmla="*/ 331492 w 2347169"/>
              <a:gd name="connsiteY37" fmla="*/ 11678 h 662520"/>
              <a:gd name="connsiteX38" fmla="*/ 369070 w 2347169"/>
              <a:gd name="connsiteY38" fmla="*/ 26614 h 662520"/>
              <a:gd name="connsiteX39" fmla="*/ 402953 w 2347169"/>
              <a:gd name="connsiteY39" fmla="*/ 47914 h 662520"/>
              <a:gd name="connsiteX40" fmla="*/ 432736 w 2347169"/>
              <a:gd name="connsiteY40" fmla="*/ 75804 h 662520"/>
              <a:gd name="connsiteX41" fmla="*/ 458013 w 2347169"/>
              <a:gd name="connsiteY41" fmla="*/ 110509 h 662520"/>
              <a:gd name="connsiteX42" fmla="*/ 478379 w 2347169"/>
              <a:gd name="connsiteY42" fmla="*/ 152255 h 662520"/>
              <a:gd name="connsiteX43" fmla="*/ 493429 w 2347169"/>
              <a:gd name="connsiteY43" fmla="*/ 201265 h 662520"/>
              <a:gd name="connsiteX44" fmla="*/ 502756 w 2347169"/>
              <a:gd name="connsiteY44" fmla="*/ 257766 h 662520"/>
              <a:gd name="connsiteX45" fmla="*/ 505955 w 2347169"/>
              <a:gd name="connsiteY45" fmla="*/ 321983 h 662520"/>
              <a:gd name="connsiteX46" fmla="*/ 503406 w 2347169"/>
              <a:gd name="connsiteY46" fmla="*/ 376707 h 662520"/>
              <a:gd name="connsiteX47" fmla="*/ 495858 w 2347169"/>
              <a:gd name="connsiteY47" fmla="*/ 427041 h 662520"/>
              <a:gd name="connsiteX48" fmla="*/ 483456 w 2347169"/>
              <a:gd name="connsiteY48" fmla="*/ 472909 h 662520"/>
              <a:gd name="connsiteX49" fmla="*/ 466346 w 2347169"/>
              <a:gd name="connsiteY49" fmla="*/ 514232 h 662520"/>
              <a:gd name="connsiteX50" fmla="*/ 444674 w 2347169"/>
              <a:gd name="connsiteY50" fmla="*/ 550937 h 662520"/>
              <a:gd name="connsiteX51" fmla="*/ 418587 w 2347169"/>
              <a:gd name="connsiteY51" fmla="*/ 582945 h 662520"/>
              <a:gd name="connsiteX52" fmla="*/ 388229 w 2347169"/>
              <a:gd name="connsiteY52" fmla="*/ 610181 h 662520"/>
              <a:gd name="connsiteX53" fmla="*/ 353748 w 2347169"/>
              <a:gd name="connsiteY53" fmla="*/ 632569 h 662520"/>
              <a:gd name="connsiteX54" fmla="*/ 315289 w 2347169"/>
              <a:gd name="connsiteY54" fmla="*/ 650033 h 662520"/>
              <a:gd name="connsiteX55" fmla="*/ 272999 w 2347169"/>
              <a:gd name="connsiteY55" fmla="*/ 662495 h 662520"/>
              <a:gd name="connsiteX56" fmla="*/ 592162 w 2347169"/>
              <a:gd name="connsiteY56" fmla="*/ 662520 h 662520"/>
              <a:gd name="connsiteX57" fmla="*/ 571167 w 2347169"/>
              <a:gd name="connsiteY57" fmla="*/ 658030 h 662520"/>
              <a:gd name="connsiteX58" fmla="*/ 551373 w 2347169"/>
              <a:gd name="connsiteY58" fmla="*/ 652783 h 662520"/>
              <a:gd name="connsiteX59" fmla="*/ 532537 w 2347169"/>
              <a:gd name="connsiteY59" fmla="*/ 646826 h 662520"/>
              <a:gd name="connsiteX60" fmla="*/ 514413 w 2347169"/>
              <a:gd name="connsiteY60" fmla="*/ 640206 h 662520"/>
              <a:gd name="connsiteX61" fmla="*/ 514413 w 2347169"/>
              <a:gd name="connsiteY61" fmla="*/ 516293 h 662520"/>
              <a:gd name="connsiteX62" fmla="*/ 596087 w 2347169"/>
              <a:gd name="connsiteY62" fmla="*/ 516293 h 662520"/>
              <a:gd name="connsiteX63" fmla="*/ 612203 w 2347169"/>
              <a:gd name="connsiteY63" fmla="*/ 539439 h 662520"/>
              <a:gd name="connsiteX64" fmla="*/ 635627 w 2347169"/>
              <a:gd name="connsiteY64" fmla="*/ 559242 h 662520"/>
              <a:gd name="connsiteX65" fmla="*/ 666972 w 2347169"/>
              <a:gd name="connsiteY65" fmla="*/ 573062 h 662520"/>
              <a:gd name="connsiteX66" fmla="*/ 706856 w 2347169"/>
              <a:gd name="connsiteY66" fmla="*/ 578256 h 662520"/>
              <a:gd name="connsiteX67" fmla="*/ 749359 w 2347169"/>
              <a:gd name="connsiteY67" fmla="*/ 571758 h 662520"/>
              <a:gd name="connsiteX68" fmla="*/ 784298 w 2347169"/>
              <a:gd name="connsiteY68" fmla="*/ 552322 h 662520"/>
              <a:gd name="connsiteX69" fmla="*/ 807972 w 2347169"/>
              <a:gd name="connsiteY69" fmla="*/ 520038 h 662520"/>
              <a:gd name="connsiteX70" fmla="*/ 816686 w 2347169"/>
              <a:gd name="connsiteY70" fmla="*/ 474992 h 662520"/>
              <a:gd name="connsiteX71" fmla="*/ 809424 w 2347169"/>
              <a:gd name="connsiteY71" fmla="*/ 430240 h 662520"/>
              <a:gd name="connsiteX72" fmla="*/ 787466 w 2347169"/>
              <a:gd name="connsiteY72" fmla="*/ 398602 h 662520"/>
              <a:gd name="connsiteX73" fmla="*/ 750549 w 2347169"/>
              <a:gd name="connsiteY73" fmla="*/ 379812 h 662520"/>
              <a:gd name="connsiteX74" fmla="*/ 698411 w 2347169"/>
              <a:gd name="connsiteY74" fmla="*/ 373608 h 662520"/>
              <a:gd name="connsiteX75" fmla="*/ 649592 w 2347169"/>
              <a:gd name="connsiteY75" fmla="*/ 373608 h 662520"/>
              <a:gd name="connsiteX76" fmla="*/ 649592 w 2347169"/>
              <a:gd name="connsiteY76" fmla="*/ 286308 h 662520"/>
              <a:gd name="connsiteX77" fmla="*/ 690892 w 2347169"/>
              <a:gd name="connsiteY77" fmla="*/ 286308 h 662520"/>
              <a:gd name="connsiteX78" fmla="*/ 744563 w 2347169"/>
              <a:gd name="connsiteY78" fmla="*/ 280133 h 662520"/>
              <a:gd name="connsiteX79" fmla="*/ 783007 w 2347169"/>
              <a:gd name="connsiteY79" fmla="*/ 261550 h 662520"/>
              <a:gd name="connsiteX80" fmla="*/ 806137 w 2347169"/>
              <a:gd name="connsiteY80" fmla="*/ 230469 h 662520"/>
              <a:gd name="connsiteX81" fmla="*/ 813866 w 2347169"/>
              <a:gd name="connsiteY81" fmla="*/ 186804 h 662520"/>
              <a:gd name="connsiteX82" fmla="*/ 808513 w 2347169"/>
              <a:gd name="connsiteY82" fmla="*/ 149115 h 662520"/>
              <a:gd name="connsiteX83" fmla="*/ 792160 w 2347169"/>
              <a:gd name="connsiteY83" fmla="*/ 121104 h 662520"/>
              <a:gd name="connsiteX84" fmla="*/ 764365 w 2347169"/>
              <a:gd name="connsiteY84" fmla="*/ 103651 h 662520"/>
              <a:gd name="connsiteX85" fmla="*/ 724687 w 2347169"/>
              <a:gd name="connsiteY85" fmla="*/ 97637 h 662520"/>
              <a:gd name="connsiteX86" fmla="*/ 687243 w 2347169"/>
              <a:gd name="connsiteY86" fmla="*/ 102374 h 662520"/>
              <a:gd name="connsiteX87" fmla="*/ 657456 w 2347169"/>
              <a:gd name="connsiteY87" fmla="*/ 115117 h 662520"/>
              <a:gd name="connsiteX88" fmla="*/ 634533 w 2347169"/>
              <a:gd name="connsiteY88" fmla="*/ 133668 h 662520"/>
              <a:gd name="connsiteX89" fmla="*/ 617677 w 2347169"/>
              <a:gd name="connsiteY89" fmla="*/ 155828 h 662520"/>
              <a:gd name="connsiteX90" fmla="*/ 539775 w 2347169"/>
              <a:gd name="connsiteY90" fmla="*/ 155828 h 662520"/>
              <a:gd name="connsiteX91" fmla="*/ 539775 w 2347169"/>
              <a:gd name="connsiteY91" fmla="*/ 33807 h 662520"/>
              <a:gd name="connsiteX92" fmla="*/ 584006 w 2347169"/>
              <a:gd name="connsiteY92" fmla="*/ 19813 h 662520"/>
              <a:gd name="connsiteX93" fmla="*/ 631056 w 2347169"/>
              <a:gd name="connsiteY93" fmla="*/ 9159 h 662520"/>
              <a:gd name="connsiteX94" fmla="*/ 681278 w 2347169"/>
              <a:gd name="connsiteY94" fmla="*/ 2378 h 662520"/>
              <a:gd name="connsiteX95" fmla="*/ 735025 w 2347169"/>
              <a:gd name="connsiteY95" fmla="*/ 0 h 662520"/>
              <a:gd name="connsiteX96" fmla="*/ 790395 w 2347169"/>
              <a:gd name="connsiteY96" fmla="*/ 3158 h 662520"/>
              <a:gd name="connsiteX97" fmla="*/ 838689 w 2347169"/>
              <a:gd name="connsiteY97" fmla="*/ 12853 h 662520"/>
              <a:gd name="connsiteX98" fmla="*/ 879380 w 2347169"/>
              <a:gd name="connsiteY98" fmla="*/ 29412 h 662520"/>
              <a:gd name="connsiteX99" fmla="*/ 911943 w 2347169"/>
              <a:gd name="connsiteY99" fmla="*/ 53163 h 662520"/>
              <a:gd name="connsiteX100" fmla="*/ 935853 w 2347169"/>
              <a:gd name="connsiteY100" fmla="*/ 84435 h 662520"/>
              <a:gd name="connsiteX101" fmla="*/ 950584 w 2347169"/>
              <a:gd name="connsiteY101" fmla="*/ 123555 h 662520"/>
              <a:gd name="connsiteX102" fmla="*/ 955611 w 2347169"/>
              <a:gd name="connsiteY102" fmla="*/ 170853 h 662520"/>
              <a:gd name="connsiteX103" fmla="*/ 949453 w 2347169"/>
              <a:gd name="connsiteY103" fmla="*/ 219568 h 662520"/>
              <a:gd name="connsiteX104" fmla="*/ 931581 w 2347169"/>
              <a:gd name="connsiteY104" fmla="*/ 258234 h 662520"/>
              <a:gd name="connsiteX105" fmla="*/ 902895 w 2347169"/>
              <a:gd name="connsiteY105" fmla="*/ 287843 h 662520"/>
              <a:gd name="connsiteX106" fmla="*/ 864296 w 2347169"/>
              <a:gd name="connsiteY106" fmla="*/ 309388 h 662520"/>
              <a:gd name="connsiteX107" fmla="*/ 816686 w 2347169"/>
              <a:gd name="connsiteY107" fmla="*/ 323862 h 662520"/>
              <a:gd name="connsiteX108" fmla="*/ 816686 w 2347169"/>
              <a:gd name="connsiteY108" fmla="*/ 327609 h 662520"/>
              <a:gd name="connsiteX109" fmla="*/ 870681 w 2347169"/>
              <a:gd name="connsiteY109" fmla="*/ 340566 h 662520"/>
              <a:gd name="connsiteX110" fmla="*/ 912283 w 2347169"/>
              <a:gd name="connsiteY110" fmla="*/ 362534 h 662520"/>
              <a:gd name="connsiteX111" fmla="*/ 941719 w 2347169"/>
              <a:gd name="connsiteY111" fmla="*/ 393513 h 662520"/>
              <a:gd name="connsiteX112" fmla="*/ 959215 w 2347169"/>
              <a:gd name="connsiteY112" fmla="*/ 433502 h 662520"/>
              <a:gd name="connsiteX113" fmla="*/ 964996 w 2347169"/>
              <a:gd name="connsiteY113" fmla="*/ 482498 h 662520"/>
              <a:gd name="connsiteX114" fmla="*/ 959936 w 2347169"/>
              <a:gd name="connsiteY114" fmla="*/ 527743 h 662520"/>
              <a:gd name="connsiteX115" fmla="*/ 944659 w 2347169"/>
              <a:gd name="connsiteY115" fmla="*/ 567021 h 662520"/>
              <a:gd name="connsiteX116" fmla="*/ 920122 w 2347169"/>
              <a:gd name="connsiteY116" fmla="*/ 600232 h 662520"/>
              <a:gd name="connsiteX117" fmla="*/ 887285 w 2347169"/>
              <a:gd name="connsiteY117" fmla="*/ 627278 h 662520"/>
              <a:gd name="connsiteX118" fmla="*/ 847106 w 2347169"/>
              <a:gd name="connsiteY118" fmla="*/ 648061 h 662520"/>
              <a:gd name="connsiteX119" fmla="*/ 800544 w 2347169"/>
              <a:gd name="connsiteY119" fmla="*/ 662482 h 662520"/>
              <a:gd name="connsiteX120" fmla="*/ 1360843 w 2347169"/>
              <a:gd name="connsiteY120" fmla="*/ 662495 h 662520"/>
              <a:gd name="connsiteX121" fmla="*/ 1322871 w 2347169"/>
              <a:gd name="connsiteY121" fmla="*/ 649352 h 662520"/>
              <a:gd name="connsiteX122" fmla="*/ 1287296 w 2347169"/>
              <a:gd name="connsiteY122" fmla="*/ 630560 h 662520"/>
              <a:gd name="connsiteX123" fmla="*/ 1254670 w 2347169"/>
              <a:gd name="connsiteY123" fmla="*/ 606062 h 662520"/>
              <a:gd name="connsiteX124" fmla="*/ 1225546 w 2347169"/>
              <a:gd name="connsiteY124" fmla="*/ 575802 h 662520"/>
              <a:gd name="connsiteX125" fmla="*/ 1200477 w 2347169"/>
              <a:gd name="connsiteY125" fmla="*/ 539722 h 662520"/>
              <a:gd name="connsiteX126" fmla="*/ 1180016 w 2347169"/>
              <a:gd name="connsiteY126" fmla="*/ 497766 h 662520"/>
              <a:gd name="connsiteX127" fmla="*/ 1164717 w 2347169"/>
              <a:gd name="connsiteY127" fmla="*/ 449876 h 662520"/>
              <a:gd name="connsiteX128" fmla="*/ 1155131 w 2347169"/>
              <a:gd name="connsiteY128" fmla="*/ 395995 h 662520"/>
              <a:gd name="connsiteX129" fmla="*/ 1151813 w 2347169"/>
              <a:gd name="connsiteY129" fmla="*/ 336067 h 662520"/>
              <a:gd name="connsiteX130" fmla="*/ 1155053 w 2347169"/>
              <a:gd name="connsiteY130" fmla="*/ 276826 h 662520"/>
              <a:gd name="connsiteX131" fmla="*/ 1164415 w 2347169"/>
              <a:gd name="connsiteY131" fmla="*/ 223488 h 662520"/>
              <a:gd name="connsiteX132" fmla="*/ 1179368 w 2347169"/>
              <a:gd name="connsiteY132" fmla="*/ 175997 h 662520"/>
              <a:gd name="connsiteX133" fmla="*/ 1199377 w 2347169"/>
              <a:gd name="connsiteY133" fmla="*/ 134299 h 662520"/>
              <a:gd name="connsiteX134" fmla="*/ 1223910 w 2347169"/>
              <a:gd name="connsiteY134" fmla="*/ 98339 h 662520"/>
              <a:gd name="connsiteX135" fmla="*/ 1252434 w 2347169"/>
              <a:gd name="connsiteY135" fmla="*/ 68062 h 662520"/>
              <a:gd name="connsiteX136" fmla="*/ 1284414 w 2347169"/>
              <a:gd name="connsiteY136" fmla="*/ 43413 h 662520"/>
              <a:gd name="connsiteX137" fmla="*/ 1319318 w 2347169"/>
              <a:gd name="connsiteY137" fmla="*/ 24337 h 662520"/>
              <a:gd name="connsiteX138" fmla="*/ 1356613 w 2347169"/>
              <a:gd name="connsiteY138" fmla="*/ 10780 h 662520"/>
              <a:gd name="connsiteX139" fmla="*/ 1395766 w 2347169"/>
              <a:gd name="connsiteY139" fmla="*/ 2685 h 662520"/>
              <a:gd name="connsiteX140" fmla="*/ 1436243 w 2347169"/>
              <a:gd name="connsiteY140" fmla="*/ 0 h 662520"/>
              <a:gd name="connsiteX141" fmla="*/ 1476722 w 2347169"/>
              <a:gd name="connsiteY141" fmla="*/ 2685 h 662520"/>
              <a:gd name="connsiteX142" fmla="*/ 1515876 w 2347169"/>
              <a:gd name="connsiteY142" fmla="*/ 10780 h 662520"/>
              <a:gd name="connsiteX143" fmla="*/ 1553172 w 2347169"/>
              <a:gd name="connsiteY143" fmla="*/ 24337 h 662520"/>
              <a:gd name="connsiteX144" fmla="*/ 1588076 w 2347169"/>
              <a:gd name="connsiteY144" fmla="*/ 43413 h 662520"/>
              <a:gd name="connsiteX145" fmla="*/ 1620056 w 2347169"/>
              <a:gd name="connsiteY145" fmla="*/ 68062 h 662520"/>
              <a:gd name="connsiteX146" fmla="*/ 1648579 w 2347169"/>
              <a:gd name="connsiteY146" fmla="*/ 98339 h 662520"/>
              <a:gd name="connsiteX147" fmla="*/ 1673111 w 2347169"/>
              <a:gd name="connsiteY147" fmla="*/ 134299 h 662520"/>
              <a:gd name="connsiteX148" fmla="*/ 1693119 w 2347169"/>
              <a:gd name="connsiteY148" fmla="*/ 175997 h 662520"/>
              <a:gd name="connsiteX149" fmla="*/ 1708071 w 2347169"/>
              <a:gd name="connsiteY149" fmla="*/ 223488 h 662520"/>
              <a:gd name="connsiteX150" fmla="*/ 1717433 w 2347169"/>
              <a:gd name="connsiteY150" fmla="*/ 276826 h 662520"/>
              <a:gd name="connsiteX151" fmla="*/ 1720672 w 2347169"/>
              <a:gd name="connsiteY151" fmla="*/ 336067 h 662520"/>
              <a:gd name="connsiteX152" fmla="*/ 1717354 w 2347169"/>
              <a:gd name="connsiteY152" fmla="*/ 395995 h 662520"/>
              <a:gd name="connsiteX153" fmla="*/ 1707768 w 2347169"/>
              <a:gd name="connsiteY153" fmla="*/ 449876 h 662520"/>
              <a:gd name="connsiteX154" fmla="*/ 1692469 w 2347169"/>
              <a:gd name="connsiteY154" fmla="*/ 497766 h 662520"/>
              <a:gd name="connsiteX155" fmla="*/ 1672008 w 2347169"/>
              <a:gd name="connsiteY155" fmla="*/ 539722 h 662520"/>
              <a:gd name="connsiteX156" fmla="*/ 1646939 w 2347169"/>
              <a:gd name="connsiteY156" fmla="*/ 575802 h 662520"/>
              <a:gd name="connsiteX157" fmla="*/ 1617815 w 2347169"/>
              <a:gd name="connsiteY157" fmla="*/ 606062 h 662520"/>
              <a:gd name="connsiteX158" fmla="*/ 1585189 w 2347169"/>
              <a:gd name="connsiteY158" fmla="*/ 630560 h 662520"/>
              <a:gd name="connsiteX159" fmla="*/ 1549614 w 2347169"/>
              <a:gd name="connsiteY159" fmla="*/ 649352 h 662520"/>
              <a:gd name="connsiteX160" fmla="*/ 1511642 w 2347169"/>
              <a:gd name="connsiteY160" fmla="*/ 662495 h 662520"/>
              <a:gd name="connsiteX161" fmla="*/ 1943430 w 2347169"/>
              <a:gd name="connsiteY161" fmla="*/ 662495 h 662520"/>
              <a:gd name="connsiteX162" fmla="*/ 1905459 w 2347169"/>
              <a:gd name="connsiteY162" fmla="*/ 649348 h 662520"/>
              <a:gd name="connsiteX163" fmla="*/ 1869885 w 2347169"/>
              <a:gd name="connsiteY163" fmla="*/ 630555 h 662520"/>
              <a:gd name="connsiteX164" fmla="*/ 1837261 w 2347169"/>
              <a:gd name="connsiteY164" fmla="*/ 606057 h 662520"/>
              <a:gd name="connsiteX165" fmla="*/ 1808138 w 2347169"/>
              <a:gd name="connsiteY165" fmla="*/ 575797 h 662520"/>
              <a:gd name="connsiteX166" fmla="*/ 1783072 w 2347169"/>
              <a:gd name="connsiteY166" fmla="*/ 539718 h 662520"/>
              <a:gd name="connsiteX167" fmla="*/ 1762613 w 2347169"/>
              <a:gd name="connsiteY167" fmla="*/ 497763 h 662520"/>
              <a:gd name="connsiteX168" fmla="*/ 1747315 w 2347169"/>
              <a:gd name="connsiteY168" fmla="*/ 449874 h 662520"/>
              <a:gd name="connsiteX169" fmla="*/ 1737731 w 2347169"/>
              <a:gd name="connsiteY169" fmla="*/ 395995 h 662520"/>
              <a:gd name="connsiteX170" fmla="*/ 1734413 w 2347169"/>
              <a:gd name="connsiteY170" fmla="*/ 336067 h 662520"/>
              <a:gd name="connsiteX171" fmla="*/ 1737652 w 2347169"/>
              <a:gd name="connsiteY171" fmla="*/ 276826 h 662520"/>
              <a:gd name="connsiteX172" fmla="*/ 1747014 w 2347169"/>
              <a:gd name="connsiteY172" fmla="*/ 223488 h 662520"/>
              <a:gd name="connsiteX173" fmla="*/ 1761965 w 2347169"/>
              <a:gd name="connsiteY173" fmla="*/ 175997 h 662520"/>
              <a:gd name="connsiteX174" fmla="*/ 1781973 w 2347169"/>
              <a:gd name="connsiteY174" fmla="*/ 134299 h 662520"/>
              <a:gd name="connsiteX175" fmla="*/ 1806505 w 2347169"/>
              <a:gd name="connsiteY175" fmla="*/ 98339 h 662520"/>
              <a:gd name="connsiteX176" fmla="*/ 1835026 w 2347169"/>
              <a:gd name="connsiteY176" fmla="*/ 68062 h 662520"/>
              <a:gd name="connsiteX177" fmla="*/ 1867005 w 2347169"/>
              <a:gd name="connsiteY177" fmla="*/ 43413 h 662520"/>
              <a:gd name="connsiteX178" fmla="*/ 1901908 w 2347169"/>
              <a:gd name="connsiteY178" fmla="*/ 24337 h 662520"/>
              <a:gd name="connsiteX179" fmla="*/ 1939202 w 2347169"/>
              <a:gd name="connsiteY179" fmla="*/ 10780 h 662520"/>
              <a:gd name="connsiteX180" fmla="*/ 1978353 w 2347169"/>
              <a:gd name="connsiteY180" fmla="*/ 2685 h 662520"/>
              <a:gd name="connsiteX181" fmla="*/ 2018830 w 2347169"/>
              <a:gd name="connsiteY181" fmla="*/ 0 h 662520"/>
              <a:gd name="connsiteX182" fmla="*/ 2059309 w 2347169"/>
              <a:gd name="connsiteY182" fmla="*/ 2685 h 662520"/>
              <a:gd name="connsiteX183" fmla="*/ 2098463 w 2347169"/>
              <a:gd name="connsiteY183" fmla="*/ 10780 h 662520"/>
              <a:gd name="connsiteX184" fmla="*/ 2135759 w 2347169"/>
              <a:gd name="connsiteY184" fmla="*/ 24337 h 662520"/>
              <a:gd name="connsiteX185" fmla="*/ 2170664 w 2347169"/>
              <a:gd name="connsiteY185" fmla="*/ 43413 h 662520"/>
              <a:gd name="connsiteX186" fmla="*/ 2202644 w 2347169"/>
              <a:gd name="connsiteY186" fmla="*/ 68062 h 662520"/>
              <a:gd name="connsiteX187" fmla="*/ 2231166 w 2347169"/>
              <a:gd name="connsiteY187" fmla="*/ 98339 h 662520"/>
              <a:gd name="connsiteX188" fmla="*/ 2255698 w 2347169"/>
              <a:gd name="connsiteY188" fmla="*/ 134299 h 662520"/>
              <a:gd name="connsiteX189" fmla="*/ 2275706 w 2347169"/>
              <a:gd name="connsiteY189" fmla="*/ 175997 h 662520"/>
              <a:gd name="connsiteX190" fmla="*/ 2290658 w 2347169"/>
              <a:gd name="connsiteY190" fmla="*/ 223488 h 662520"/>
              <a:gd name="connsiteX191" fmla="*/ 2300020 w 2347169"/>
              <a:gd name="connsiteY191" fmla="*/ 276826 h 662520"/>
              <a:gd name="connsiteX192" fmla="*/ 2303259 w 2347169"/>
              <a:gd name="connsiteY192" fmla="*/ 336067 h 662520"/>
              <a:gd name="connsiteX193" fmla="*/ 2299941 w 2347169"/>
              <a:gd name="connsiteY193" fmla="*/ 395991 h 662520"/>
              <a:gd name="connsiteX194" fmla="*/ 2290357 w 2347169"/>
              <a:gd name="connsiteY194" fmla="*/ 449869 h 662520"/>
              <a:gd name="connsiteX195" fmla="*/ 2275059 w 2347169"/>
              <a:gd name="connsiteY195" fmla="*/ 497757 h 662520"/>
              <a:gd name="connsiteX196" fmla="*/ 2254600 w 2347169"/>
              <a:gd name="connsiteY196" fmla="*/ 539713 h 662520"/>
              <a:gd name="connsiteX197" fmla="*/ 2229533 w 2347169"/>
              <a:gd name="connsiteY197" fmla="*/ 575793 h 662520"/>
              <a:gd name="connsiteX198" fmla="*/ 2200411 w 2347169"/>
              <a:gd name="connsiteY198" fmla="*/ 606054 h 662520"/>
              <a:gd name="connsiteX199" fmla="*/ 2167787 w 2347169"/>
              <a:gd name="connsiteY199" fmla="*/ 630553 h 662520"/>
              <a:gd name="connsiteX200" fmla="*/ 2132213 w 2347169"/>
              <a:gd name="connsiteY200" fmla="*/ 649348 h 662520"/>
              <a:gd name="connsiteX201" fmla="*/ 2094242 w 2347169"/>
              <a:gd name="connsiteY201" fmla="*/ 662495 h 662520"/>
              <a:gd name="connsiteX202" fmla="*/ 2322930 w 2347169"/>
              <a:gd name="connsiteY202" fmla="*/ 395984 h 662520"/>
              <a:gd name="connsiteX203" fmla="*/ 2319616 w 2347169"/>
              <a:gd name="connsiteY203" fmla="*/ 336067 h 662520"/>
              <a:gd name="connsiteX204" fmla="*/ 2322855 w 2347169"/>
              <a:gd name="connsiteY204" fmla="*/ 276826 h 662520"/>
              <a:gd name="connsiteX205" fmla="*/ 2332217 w 2347169"/>
              <a:gd name="connsiteY205" fmla="*/ 223488 h 662520"/>
              <a:gd name="connsiteX206" fmla="*/ 2347169 w 2347169"/>
              <a:gd name="connsiteY206" fmla="*/ 175997 h 662520"/>
              <a:gd name="connsiteX0" fmla="*/ 74231 w 2332217"/>
              <a:gd name="connsiteY0" fmla="*/ 662482 h 662520"/>
              <a:gd name="connsiteX1" fmla="*/ 60344 w 2332217"/>
              <a:gd name="connsiteY1" fmla="*/ 659582 h 662520"/>
              <a:gd name="connsiteX2" fmla="*/ 47517 w 2332217"/>
              <a:gd name="connsiteY2" fmla="*/ 656437 h 662520"/>
              <a:gd name="connsiteX3" fmla="*/ 35823 w 2332217"/>
              <a:gd name="connsiteY3" fmla="*/ 653092 h 662520"/>
              <a:gd name="connsiteX4" fmla="*/ 25336 w 2332217"/>
              <a:gd name="connsiteY4" fmla="*/ 649592 h 662520"/>
              <a:gd name="connsiteX5" fmla="*/ 25336 w 2332217"/>
              <a:gd name="connsiteY5" fmla="*/ 533196 h 662520"/>
              <a:gd name="connsiteX6" fmla="*/ 104190 w 2332217"/>
              <a:gd name="connsiteY6" fmla="*/ 533196 h 662520"/>
              <a:gd name="connsiteX7" fmla="*/ 116931 w 2332217"/>
              <a:gd name="connsiteY7" fmla="*/ 550133 h 662520"/>
              <a:gd name="connsiteX8" fmla="*/ 135043 w 2332217"/>
              <a:gd name="connsiteY8" fmla="*/ 564522 h 662520"/>
              <a:gd name="connsiteX9" fmla="*/ 160020 w 2332217"/>
              <a:gd name="connsiteY9" fmla="*/ 574514 h 662520"/>
              <a:gd name="connsiteX10" fmla="*/ 193357 w 2332217"/>
              <a:gd name="connsiteY10" fmla="*/ 578256 h 662520"/>
              <a:gd name="connsiteX11" fmla="*/ 233829 w 2332217"/>
              <a:gd name="connsiteY11" fmla="*/ 573672 h 662520"/>
              <a:gd name="connsiteX12" fmla="*/ 297105 w 2332217"/>
              <a:gd name="connsiteY12" fmla="*/ 537246 h 662520"/>
              <a:gd name="connsiteX13" fmla="*/ 320040 w 2332217"/>
              <a:gd name="connsiteY13" fmla="*/ 505568 h 662520"/>
              <a:gd name="connsiteX14" fmla="*/ 337261 w 2332217"/>
              <a:gd name="connsiteY14" fmla="*/ 465022 h 662520"/>
              <a:gd name="connsiteX15" fmla="*/ 348834 w 2332217"/>
              <a:gd name="connsiteY15" fmla="*/ 415691 h 662520"/>
              <a:gd name="connsiteX16" fmla="*/ 354825 w 2332217"/>
              <a:gd name="connsiteY16" fmla="*/ 357657 h 662520"/>
              <a:gd name="connsiteX17" fmla="*/ 325357 w 2332217"/>
              <a:gd name="connsiteY17" fmla="*/ 385098 h 662520"/>
              <a:gd name="connsiteX18" fmla="*/ 289466 w 2332217"/>
              <a:gd name="connsiteY18" fmla="*/ 406117 h 662520"/>
              <a:gd name="connsiteX19" fmla="*/ 247767 w 2332217"/>
              <a:gd name="connsiteY19" fmla="*/ 419568 h 662520"/>
              <a:gd name="connsiteX20" fmla="*/ 200875 w 2332217"/>
              <a:gd name="connsiteY20" fmla="*/ 424306 h 662520"/>
              <a:gd name="connsiteX21" fmla="*/ 153099 w 2332217"/>
              <a:gd name="connsiteY21" fmla="*/ 420031 h 662520"/>
              <a:gd name="connsiteX22" fmla="*/ 110150 w 2332217"/>
              <a:gd name="connsiteY22" fmla="*/ 407348 h 662520"/>
              <a:gd name="connsiteX23" fmla="*/ 72948 w 2332217"/>
              <a:gd name="connsiteY23" fmla="*/ 386472 h 662520"/>
              <a:gd name="connsiteX24" fmla="*/ 42412 w 2332217"/>
              <a:gd name="connsiteY24" fmla="*/ 357614 h 662520"/>
              <a:gd name="connsiteX25" fmla="*/ 19463 w 2332217"/>
              <a:gd name="connsiteY25" fmla="*/ 320990 h 662520"/>
              <a:gd name="connsiteX26" fmla="*/ 5019 w 2332217"/>
              <a:gd name="connsiteY26" fmla="*/ 276814 h 662520"/>
              <a:gd name="connsiteX27" fmla="*/ 0 w 2332217"/>
              <a:gd name="connsiteY27" fmla="*/ 225297 h 662520"/>
              <a:gd name="connsiteX28" fmla="*/ 4447 w 2332217"/>
              <a:gd name="connsiteY28" fmla="*/ 178425 h 662520"/>
              <a:gd name="connsiteX29" fmla="*/ 17453 w 2332217"/>
              <a:gd name="connsiteY29" fmla="*/ 135445 h 662520"/>
              <a:gd name="connsiteX30" fmla="*/ 38511 w 2332217"/>
              <a:gd name="connsiteY30" fmla="*/ 97085 h 662520"/>
              <a:gd name="connsiteX31" fmla="*/ 67116 w 2332217"/>
              <a:gd name="connsiteY31" fmla="*/ 64071 h 662520"/>
              <a:gd name="connsiteX32" fmla="*/ 102760 w 2332217"/>
              <a:gd name="connsiteY32" fmla="*/ 37129 h 662520"/>
              <a:gd name="connsiteX33" fmla="*/ 144939 w 2332217"/>
              <a:gd name="connsiteY33" fmla="*/ 16986 h 662520"/>
              <a:gd name="connsiteX34" fmla="*/ 193146 w 2332217"/>
              <a:gd name="connsiteY34" fmla="*/ 4367 h 662520"/>
              <a:gd name="connsiteX35" fmla="*/ 246875 w 2332217"/>
              <a:gd name="connsiteY35" fmla="*/ 0 h 662520"/>
              <a:gd name="connsiteX36" fmla="*/ 290625 w 2332217"/>
              <a:gd name="connsiteY36" fmla="*/ 2882 h 662520"/>
              <a:gd name="connsiteX37" fmla="*/ 331492 w 2332217"/>
              <a:gd name="connsiteY37" fmla="*/ 11678 h 662520"/>
              <a:gd name="connsiteX38" fmla="*/ 369070 w 2332217"/>
              <a:gd name="connsiteY38" fmla="*/ 26614 h 662520"/>
              <a:gd name="connsiteX39" fmla="*/ 402953 w 2332217"/>
              <a:gd name="connsiteY39" fmla="*/ 47914 h 662520"/>
              <a:gd name="connsiteX40" fmla="*/ 432736 w 2332217"/>
              <a:gd name="connsiteY40" fmla="*/ 75804 h 662520"/>
              <a:gd name="connsiteX41" fmla="*/ 458013 w 2332217"/>
              <a:gd name="connsiteY41" fmla="*/ 110509 h 662520"/>
              <a:gd name="connsiteX42" fmla="*/ 478379 w 2332217"/>
              <a:gd name="connsiteY42" fmla="*/ 152255 h 662520"/>
              <a:gd name="connsiteX43" fmla="*/ 493429 w 2332217"/>
              <a:gd name="connsiteY43" fmla="*/ 201265 h 662520"/>
              <a:gd name="connsiteX44" fmla="*/ 502756 w 2332217"/>
              <a:gd name="connsiteY44" fmla="*/ 257766 h 662520"/>
              <a:gd name="connsiteX45" fmla="*/ 505955 w 2332217"/>
              <a:gd name="connsiteY45" fmla="*/ 321983 h 662520"/>
              <a:gd name="connsiteX46" fmla="*/ 503406 w 2332217"/>
              <a:gd name="connsiteY46" fmla="*/ 376707 h 662520"/>
              <a:gd name="connsiteX47" fmla="*/ 495858 w 2332217"/>
              <a:gd name="connsiteY47" fmla="*/ 427041 h 662520"/>
              <a:gd name="connsiteX48" fmla="*/ 483456 w 2332217"/>
              <a:gd name="connsiteY48" fmla="*/ 472909 h 662520"/>
              <a:gd name="connsiteX49" fmla="*/ 466346 w 2332217"/>
              <a:gd name="connsiteY49" fmla="*/ 514232 h 662520"/>
              <a:gd name="connsiteX50" fmla="*/ 444674 w 2332217"/>
              <a:gd name="connsiteY50" fmla="*/ 550937 h 662520"/>
              <a:gd name="connsiteX51" fmla="*/ 418587 w 2332217"/>
              <a:gd name="connsiteY51" fmla="*/ 582945 h 662520"/>
              <a:gd name="connsiteX52" fmla="*/ 388229 w 2332217"/>
              <a:gd name="connsiteY52" fmla="*/ 610181 h 662520"/>
              <a:gd name="connsiteX53" fmla="*/ 353748 w 2332217"/>
              <a:gd name="connsiteY53" fmla="*/ 632569 h 662520"/>
              <a:gd name="connsiteX54" fmla="*/ 315289 w 2332217"/>
              <a:gd name="connsiteY54" fmla="*/ 650033 h 662520"/>
              <a:gd name="connsiteX55" fmla="*/ 272999 w 2332217"/>
              <a:gd name="connsiteY55" fmla="*/ 662495 h 662520"/>
              <a:gd name="connsiteX56" fmla="*/ 592162 w 2332217"/>
              <a:gd name="connsiteY56" fmla="*/ 662520 h 662520"/>
              <a:gd name="connsiteX57" fmla="*/ 571167 w 2332217"/>
              <a:gd name="connsiteY57" fmla="*/ 658030 h 662520"/>
              <a:gd name="connsiteX58" fmla="*/ 551373 w 2332217"/>
              <a:gd name="connsiteY58" fmla="*/ 652783 h 662520"/>
              <a:gd name="connsiteX59" fmla="*/ 532537 w 2332217"/>
              <a:gd name="connsiteY59" fmla="*/ 646826 h 662520"/>
              <a:gd name="connsiteX60" fmla="*/ 514413 w 2332217"/>
              <a:gd name="connsiteY60" fmla="*/ 640206 h 662520"/>
              <a:gd name="connsiteX61" fmla="*/ 514413 w 2332217"/>
              <a:gd name="connsiteY61" fmla="*/ 516293 h 662520"/>
              <a:gd name="connsiteX62" fmla="*/ 596087 w 2332217"/>
              <a:gd name="connsiteY62" fmla="*/ 516293 h 662520"/>
              <a:gd name="connsiteX63" fmla="*/ 612203 w 2332217"/>
              <a:gd name="connsiteY63" fmla="*/ 539439 h 662520"/>
              <a:gd name="connsiteX64" fmla="*/ 635627 w 2332217"/>
              <a:gd name="connsiteY64" fmla="*/ 559242 h 662520"/>
              <a:gd name="connsiteX65" fmla="*/ 666972 w 2332217"/>
              <a:gd name="connsiteY65" fmla="*/ 573062 h 662520"/>
              <a:gd name="connsiteX66" fmla="*/ 706856 w 2332217"/>
              <a:gd name="connsiteY66" fmla="*/ 578256 h 662520"/>
              <a:gd name="connsiteX67" fmla="*/ 749359 w 2332217"/>
              <a:gd name="connsiteY67" fmla="*/ 571758 h 662520"/>
              <a:gd name="connsiteX68" fmla="*/ 784298 w 2332217"/>
              <a:gd name="connsiteY68" fmla="*/ 552322 h 662520"/>
              <a:gd name="connsiteX69" fmla="*/ 807972 w 2332217"/>
              <a:gd name="connsiteY69" fmla="*/ 520038 h 662520"/>
              <a:gd name="connsiteX70" fmla="*/ 816686 w 2332217"/>
              <a:gd name="connsiteY70" fmla="*/ 474992 h 662520"/>
              <a:gd name="connsiteX71" fmla="*/ 809424 w 2332217"/>
              <a:gd name="connsiteY71" fmla="*/ 430240 h 662520"/>
              <a:gd name="connsiteX72" fmla="*/ 787466 w 2332217"/>
              <a:gd name="connsiteY72" fmla="*/ 398602 h 662520"/>
              <a:gd name="connsiteX73" fmla="*/ 750549 w 2332217"/>
              <a:gd name="connsiteY73" fmla="*/ 379812 h 662520"/>
              <a:gd name="connsiteX74" fmla="*/ 698411 w 2332217"/>
              <a:gd name="connsiteY74" fmla="*/ 373608 h 662520"/>
              <a:gd name="connsiteX75" fmla="*/ 649592 w 2332217"/>
              <a:gd name="connsiteY75" fmla="*/ 373608 h 662520"/>
              <a:gd name="connsiteX76" fmla="*/ 649592 w 2332217"/>
              <a:gd name="connsiteY76" fmla="*/ 286308 h 662520"/>
              <a:gd name="connsiteX77" fmla="*/ 690892 w 2332217"/>
              <a:gd name="connsiteY77" fmla="*/ 286308 h 662520"/>
              <a:gd name="connsiteX78" fmla="*/ 744563 w 2332217"/>
              <a:gd name="connsiteY78" fmla="*/ 280133 h 662520"/>
              <a:gd name="connsiteX79" fmla="*/ 783007 w 2332217"/>
              <a:gd name="connsiteY79" fmla="*/ 261550 h 662520"/>
              <a:gd name="connsiteX80" fmla="*/ 806137 w 2332217"/>
              <a:gd name="connsiteY80" fmla="*/ 230469 h 662520"/>
              <a:gd name="connsiteX81" fmla="*/ 813866 w 2332217"/>
              <a:gd name="connsiteY81" fmla="*/ 186804 h 662520"/>
              <a:gd name="connsiteX82" fmla="*/ 808513 w 2332217"/>
              <a:gd name="connsiteY82" fmla="*/ 149115 h 662520"/>
              <a:gd name="connsiteX83" fmla="*/ 792160 w 2332217"/>
              <a:gd name="connsiteY83" fmla="*/ 121104 h 662520"/>
              <a:gd name="connsiteX84" fmla="*/ 764365 w 2332217"/>
              <a:gd name="connsiteY84" fmla="*/ 103651 h 662520"/>
              <a:gd name="connsiteX85" fmla="*/ 724687 w 2332217"/>
              <a:gd name="connsiteY85" fmla="*/ 97637 h 662520"/>
              <a:gd name="connsiteX86" fmla="*/ 687243 w 2332217"/>
              <a:gd name="connsiteY86" fmla="*/ 102374 h 662520"/>
              <a:gd name="connsiteX87" fmla="*/ 657456 w 2332217"/>
              <a:gd name="connsiteY87" fmla="*/ 115117 h 662520"/>
              <a:gd name="connsiteX88" fmla="*/ 634533 w 2332217"/>
              <a:gd name="connsiteY88" fmla="*/ 133668 h 662520"/>
              <a:gd name="connsiteX89" fmla="*/ 617677 w 2332217"/>
              <a:gd name="connsiteY89" fmla="*/ 155828 h 662520"/>
              <a:gd name="connsiteX90" fmla="*/ 539775 w 2332217"/>
              <a:gd name="connsiteY90" fmla="*/ 155828 h 662520"/>
              <a:gd name="connsiteX91" fmla="*/ 539775 w 2332217"/>
              <a:gd name="connsiteY91" fmla="*/ 33807 h 662520"/>
              <a:gd name="connsiteX92" fmla="*/ 584006 w 2332217"/>
              <a:gd name="connsiteY92" fmla="*/ 19813 h 662520"/>
              <a:gd name="connsiteX93" fmla="*/ 631056 w 2332217"/>
              <a:gd name="connsiteY93" fmla="*/ 9159 h 662520"/>
              <a:gd name="connsiteX94" fmla="*/ 681278 w 2332217"/>
              <a:gd name="connsiteY94" fmla="*/ 2378 h 662520"/>
              <a:gd name="connsiteX95" fmla="*/ 735025 w 2332217"/>
              <a:gd name="connsiteY95" fmla="*/ 0 h 662520"/>
              <a:gd name="connsiteX96" fmla="*/ 790395 w 2332217"/>
              <a:gd name="connsiteY96" fmla="*/ 3158 h 662520"/>
              <a:gd name="connsiteX97" fmla="*/ 838689 w 2332217"/>
              <a:gd name="connsiteY97" fmla="*/ 12853 h 662520"/>
              <a:gd name="connsiteX98" fmla="*/ 879380 w 2332217"/>
              <a:gd name="connsiteY98" fmla="*/ 29412 h 662520"/>
              <a:gd name="connsiteX99" fmla="*/ 911943 w 2332217"/>
              <a:gd name="connsiteY99" fmla="*/ 53163 h 662520"/>
              <a:gd name="connsiteX100" fmla="*/ 935853 w 2332217"/>
              <a:gd name="connsiteY100" fmla="*/ 84435 h 662520"/>
              <a:gd name="connsiteX101" fmla="*/ 950584 w 2332217"/>
              <a:gd name="connsiteY101" fmla="*/ 123555 h 662520"/>
              <a:gd name="connsiteX102" fmla="*/ 955611 w 2332217"/>
              <a:gd name="connsiteY102" fmla="*/ 170853 h 662520"/>
              <a:gd name="connsiteX103" fmla="*/ 949453 w 2332217"/>
              <a:gd name="connsiteY103" fmla="*/ 219568 h 662520"/>
              <a:gd name="connsiteX104" fmla="*/ 931581 w 2332217"/>
              <a:gd name="connsiteY104" fmla="*/ 258234 h 662520"/>
              <a:gd name="connsiteX105" fmla="*/ 902895 w 2332217"/>
              <a:gd name="connsiteY105" fmla="*/ 287843 h 662520"/>
              <a:gd name="connsiteX106" fmla="*/ 864296 w 2332217"/>
              <a:gd name="connsiteY106" fmla="*/ 309388 h 662520"/>
              <a:gd name="connsiteX107" fmla="*/ 816686 w 2332217"/>
              <a:gd name="connsiteY107" fmla="*/ 323862 h 662520"/>
              <a:gd name="connsiteX108" fmla="*/ 816686 w 2332217"/>
              <a:gd name="connsiteY108" fmla="*/ 327609 h 662520"/>
              <a:gd name="connsiteX109" fmla="*/ 870681 w 2332217"/>
              <a:gd name="connsiteY109" fmla="*/ 340566 h 662520"/>
              <a:gd name="connsiteX110" fmla="*/ 912283 w 2332217"/>
              <a:gd name="connsiteY110" fmla="*/ 362534 h 662520"/>
              <a:gd name="connsiteX111" fmla="*/ 941719 w 2332217"/>
              <a:gd name="connsiteY111" fmla="*/ 393513 h 662520"/>
              <a:gd name="connsiteX112" fmla="*/ 959215 w 2332217"/>
              <a:gd name="connsiteY112" fmla="*/ 433502 h 662520"/>
              <a:gd name="connsiteX113" fmla="*/ 964996 w 2332217"/>
              <a:gd name="connsiteY113" fmla="*/ 482498 h 662520"/>
              <a:gd name="connsiteX114" fmla="*/ 959936 w 2332217"/>
              <a:gd name="connsiteY114" fmla="*/ 527743 h 662520"/>
              <a:gd name="connsiteX115" fmla="*/ 944659 w 2332217"/>
              <a:gd name="connsiteY115" fmla="*/ 567021 h 662520"/>
              <a:gd name="connsiteX116" fmla="*/ 920122 w 2332217"/>
              <a:gd name="connsiteY116" fmla="*/ 600232 h 662520"/>
              <a:gd name="connsiteX117" fmla="*/ 887285 w 2332217"/>
              <a:gd name="connsiteY117" fmla="*/ 627278 h 662520"/>
              <a:gd name="connsiteX118" fmla="*/ 847106 w 2332217"/>
              <a:gd name="connsiteY118" fmla="*/ 648061 h 662520"/>
              <a:gd name="connsiteX119" fmla="*/ 800544 w 2332217"/>
              <a:gd name="connsiteY119" fmla="*/ 662482 h 662520"/>
              <a:gd name="connsiteX120" fmla="*/ 1360843 w 2332217"/>
              <a:gd name="connsiteY120" fmla="*/ 662495 h 662520"/>
              <a:gd name="connsiteX121" fmla="*/ 1322871 w 2332217"/>
              <a:gd name="connsiteY121" fmla="*/ 649352 h 662520"/>
              <a:gd name="connsiteX122" fmla="*/ 1287296 w 2332217"/>
              <a:gd name="connsiteY122" fmla="*/ 630560 h 662520"/>
              <a:gd name="connsiteX123" fmla="*/ 1254670 w 2332217"/>
              <a:gd name="connsiteY123" fmla="*/ 606062 h 662520"/>
              <a:gd name="connsiteX124" fmla="*/ 1225546 w 2332217"/>
              <a:gd name="connsiteY124" fmla="*/ 575802 h 662520"/>
              <a:gd name="connsiteX125" fmla="*/ 1200477 w 2332217"/>
              <a:gd name="connsiteY125" fmla="*/ 539722 h 662520"/>
              <a:gd name="connsiteX126" fmla="*/ 1180016 w 2332217"/>
              <a:gd name="connsiteY126" fmla="*/ 497766 h 662520"/>
              <a:gd name="connsiteX127" fmla="*/ 1164717 w 2332217"/>
              <a:gd name="connsiteY127" fmla="*/ 449876 h 662520"/>
              <a:gd name="connsiteX128" fmla="*/ 1155131 w 2332217"/>
              <a:gd name="connsiteY128" fmla="*/ 395995 h 662520"/>
              <a:gd name="connsiteX129" fmla="*/ 1151813 w 2332217"/>
              <a:gd name="connsiteY129" fmla="*/ 336067 h 662520"/>
              <a:gd name="connsiteX130" fmla="*/ 1155053 w 2332217"/>
              <a:gd name="connsiteY130" fmla="*/ 276826 h 662520"/>
              <a:gd name="connsiteX131" fmla="*/ 1164415 w 2332217"/>
              <a:gd name="connsiteY131" fmla="*/ 223488 h 662520"/>
              <a:gd name="connsiteX132" fmla="*/ 1179368 w 2332217"/>
              <a:gd name="connsiteY132" fmla="*/ 175997 h 662520"/>
              <a:gd name="connsiteX133" fmla="*/ 1199377 w 2332217"/>
              <a:gd name="connsiteY133" fmla="*/ 134299 h 662520"/>
              <a:gd name="connsiteX134" fmla="*/ 1223910 w 2332217"/>
              <a:gd name="connsiteY134" fmla="*/ 98339 h 662520"/>
              <a:gd name="connsiteX135" fmla="*/ 1252434 w 2332217"/>
              <a:gd name="connsiteY135" fmla="*/ 68062 h 662520"/>
              <a:gd name="connsiteX136" fmla="*/ 1284414 w 2332217"/>
              <a:gd name="connsiteY136" fmla="*/ 43413 h 662520"/>
              <a:gd name="connsiteX137" fmla="*/ 1319318 w 2332217"/>
              <a:gd name="connsiteY137" fmla="*/ 24337 h 662520"/>
              <a:gd name="connsiteX138" fmla="*/ 1356613 w 2332217"/>
              <a:gd name="connsiteY138" fmla="*/ 10780 h 662520"/>
              <a:gd name="connsiteX139" fmla="*/ 1395766 w 2332217"/>
              <a:gd name="connsiteY139" fmla="*/ 2685 h 662520"/>
              <a:gd name="connsiteX140" fmla="*/ 1436243 w 2332217"/>
              <a:gd name="connsiteY140" fmla="*/ 0 h 662520"/>
              <a:gd name="connsiteX141" fmla="*/ 1476722 w 2332217"/>
              <a:gd name="connsiteY141" fmla="*/ 2685 h 662520"/>
              <a:gd name="connsiteX142" fmla="*/ 1515876 w 2332217"/>
              <a:gd name="connsiteY142" fmla="*/ 10780 h 662520"/>
              <a:gd name="connsiteX143" fmla="*/ 1553172 w 2332217"/>
              <a:gd name="connsiteY143" fmla="*/ 24337 h 662520"/>
              <a:gd name="connsiteX144" fmla="*/ 1588076 w 2332217"/>
              <a:gd name="connsiteY144" fmla="*/ 43413 h 662520"/>
              <a:gd name="connsiteX145" fmla="*/ 1620056 w 2332217"/>
              <a:gd name="connsiteY145" fmla="*/ 68062 h 662520"/>
              <a:gd name="connsiteX146" fmla="*/ 1648579 w 2332217"/>
              <a:gd name="connsiteY146" fmla="*/ 98339 h 662520"/>
              <a:gd name="connsiteX147" fmla="*/ 1673111 w 2332217"/>
              <a:gd name="connsiteY147" fmla="*/ 134299 h 662520"/>
              <a:gd name="connsiteX148" fmla="*/ 1693119 w 2332217"/>
              <a:gd name="connsiteY148" fmla="*/ 175997 h 662520"/>
              <a:gd name="connsiteX149" fmla="*/ 1708071 w 2332217"/>
              <a:gd name="connsiteY149" fmla="*/ 223488 h 662520"/>
              <a:gd name="connsiteX150" fmla="*/ 1717433 w 2332217"/>
              <a:gd name="connsiteY150" fmla="*/ 276826 h 662520"/>
              <a:gd name="connsiteX151" fmla="*/ 1720672 w 2332217"/>
              <a:gd name="connsiteY151" fmla="*/ 336067 h 662520"/>
              <a:gd name="connsiteX152" fmla="*/ 1717354 w 2332217"/>
              <a:gd name="connsiteY152" fmla="*/ 395995 h 662520"/>
              <a:gd name="connsiteX153" fmla="*/ 1707768 w 2332217"/>
              <a:gd name="connsiteY153" fmla="*/ 449876 h 662520"/>
              <a:gd name="connsiteX154" fmla="*/ 1692469 w 2332217"/>
              <a:gd name="connsiteY154" fmla="*/ 497766 h 662520"/>
              <a:gd name="connsiteX155" fmla="*/ 1672008 w 2332217"/>
              <a:gd name="connsiteY155" fmla="*/ 539722 h 662520"/>
              <a:gd name="connsiteX156" fmla="*/ 1646939 w 2332217"/>
              <a:gd name="connsiteY156" fmla="*/ 575802 h 662520"/>
              <a:gd name="connsiteX157" fmla="*/ 1617815 w 2332217"/>
              <a:gd name="connsiteY157" fmla="*/ 606062 h 662520"/>
              <a:gd name="connsiteX158" fmla="*/ 1585189 w 2332217"/>
              <a:gd name="connsiteY158" fmla="*/ 630560 h 662520"/>
              <a:gd name="connsiteX159" fmla="*/ 1549614 w 2332217"/>
              <a:gd name="connsiteY159" fmla="*/ 649352 h 662520"/>
              <a:gd name="connsiteX160" fmla="*/ 1511642 w 2332217"/>
              <a:gd name="connsiteY160" fmla="*/ 662495 h 662520"/>
              <a:gd name="connsiteX161" fmla="*/ 1943430 w 2332217"/>
              <a:gd name="connsiteY161" fmla="*/ 662495 h 662520"/>
              <a:gd name="connsiteX162" fmla="*/ 1905459 w 2332217"/>
              <a:gd name="connsiteY162" fmla="*/ 649348 h 662520"/>
              <a:gd name="connsiteX163" fmla="*/ 1869885 w 2332217"/>
              <a:gd name="connsiteY163" fmla="*/ 630555 h 662520"/>
              <a:gd name="connsiteX164" fmla="*/ 1837261 w 2332217"/>
              <a:gd name="connsiteY164" fmla="*/ 606057 h 662520"/>
              <a:gd name="connsiteX165" fmla="*/ 1808138 w 2332217"/>
              <a:gd name="connsiteY165" fmla="*/ 575797 h 662520"/>
              <a:gd name="connsiteX166" fmla="*/ 1783072 w 2332217"/>
              <a:gd name="connsiteY166" fmla="*/ 539718 h 662520"/>
              <a:gd name="connsiteX167" fmla="*/ 1762613 w 2332217"/>
              <a:gd name="connsiteY167" fmla="*/ 497763 h 662520"/>
              <a:gd name="connsiteX168" fmla="*/ 1747315 w 2332217"/>
              <a:gd name="connsiteY168" fmla="*/ 449874 h 662520"/>
              <a:gd name="connsiteX169" fmla="*/ 1737731 w 2332217"/>
              <a:gd name="connsiteY169" fmla="*/ 395995 h 662520"/>
              <a:gd name="connsiteX170" fmla="*/ 1734413 w 2332217"/>
              <a:gd name="connsiteY170" fmla="*/ 336067 h 662520"/>
              <a:gd name="connsiteX171" fmla="*/ 1737652 w 2332217"/>
              <a:gd name="connsiteY171" fmla="*/ 276826 h 662520"/>
              <a:gd name="connsiteX172" fmla="*/ 1747014 w 2332217"/>
              <a:gd name="connsiteY172" fmla="*/ 223488 h 662520"/>
              <a:gd name="connsiteX173" fmla="*/ 1761965 w 2332217"/>
              <a:gd name="connsiteY173" fmla="*/ 175997 h 662520"/>
              <a:gd name="connsiteX174" fmla="*/ 1781973 w 2332217"/>
              <a:gd name="connsiteY174" fmla="*/ 134299 h 662520"/>
              <a:gd name="connsiteX175" fmla="*/ 1806505 w 2332217"/>
              <a:gd name="connsiteY175" fmla="*/ 98339 h 662520"/>
              <a:gd name="connsiteX176" fmla="*/ 1835026 w 2332217"/>
              <a:gd name="connsiteY176" fmla="*/ 68062 h 662520"/>
              <a:gd name="connsiteX177" fmla="*/ 1867005 w 2332217"/>
              <a:gd name="connsiteY177" fmla="*/ 43413 h 662520"/>
              <a:gd name="connsiteX178" fmla="*/ 1901908 w 2332217"/>
              <a:gd name="connsiteY178" fmla="*/ 24337 h 662520"/>
              <a:gd name="connsiteX179" fmla="*/ 1939202 w 2332217"/>
              <a:gd name="connsiteY179" fmla="*/ 10780 h 662520"/>
              <a:gd name="connsiteX180" fmla="*/ 1978353 w 2332217"/>
              <a:gd name="connsiteY180" fmla="*/ 2685 h 662520"/>
              <a:gd name="connsiteX181" fmla="*/ 2018830 w 2332217"/>
              <a:gd name="connsiteY181" fmla="*/ 0 h 662520"/>
              <a:gd name="connsiteX182" fmla="*/ 2059309 w 2332217"/>
              <a:gd name="connsiteY182" fmla="*/ 2685 h 662520"/>
              <a:gd name="connsiteX183" fmla="*/ 2098463 w 2332217"/>
              <a:gd name="connsiteY183" fmla="*/ 10780 h 662520"/>
              <a:gd name="connsiteX184" fmla="*/ 2135759 w 2332217"/>
              <a:gd name="connsiteY184" fmla="*/ 24337 h 662520"/>
              <a:gd name="connsiteX185" fmla="*/ 2170664 w 2332217"/>
              <a:gd name="connsiteY185" fmla="*/ 43413 h 662520"/>
              <a:gd name="connsiteX186" fmla="*/ 2202644 w 2332217"/>
              <a:gd name="connsiteY186" fmla="*/ 68062 h 662520"/>
              <a:gd name="connsiteX187" fmla="*/ 2231166 w 2332217"/>
              <a:gd name="connsiteY187" fmla="*/ 98339 h 662520"/>
              <a:gd name="connsiteX188" fmla="*/ 2255698 w 2332217"/>
              <a:gd name="connsiteY188" fmla="*/ 134299 h 662520"/>
              <a:gd name="connsiteX189" fmla="*/ 2275706 w 2332217"/>
              <a:gd name="connsiteY189" fmla="*/ 175997 h 662520"/>
              <a:gd name="connsiteX190" fmla="*/ 2290658 w 2332217"/>
              <a:gd name="connsiteY190" fmla="*/ 223488 h 662520"/>
              <a:gd name="connsiteX191" fmla="*/ 2300020 w 2332217"/>
              <a:gd name="connsiteY191" fmla="*/ 276826 h 662520"/>
              <a:gd name="connsiteX192" fmla="*/ 2303259 w 2332217"/>
              <a:gd name="connsiteY192" fmla="*/ 336067 h 662520"/>
              <a:gd name="connsiteX193" fmla="*/ 2299941 w 2332217"/>
              <a:gd name="connsiteY193" fmla="*/ 395991 h 662520"/>
              <a:gd name="connsiteX194" fmla="*/ 2290357 w 2332217"/>
              <a:gd name="connsiteY194" fmla="*/ 449869 h 662520"/>
              <a:gd name="connsiteX195" fmla="*/ 2275059 w 2332217"/>
              <a:gd name="connsiteY195" fmla="*/ 497757 h 662520"/>
              <a:gd name="connsiteX196" fmla="*/ 2254600 w 2332217"/>
              <a:gd name="connsiteY196" fmla="*/ 539713 h 662520"/>
              <a:gd name="connsiteX197" fmla="*/ 2229533 w 2332217"/>
              <a:gd name="connsiteY197" fmla="*/ 575793 h 662520"/>
              <a:gd name="connsiteX198" fmla="*/ 2200411 w 2332217"/>
              <a:gd name="connsiteY198" fmla="*/ 606054 h 662520"/>
              <a:gd name="connsiteX199" fmla="*/ 2167787 w 2332217"/>
              <a:gd name="connsiteY199" fmla="*/ 630553 h 662520"/>
              <a:gd name="connsiteX200" fmla="*/ 2132213 w 2332217"/>
              <a:gd name="connsiteY200" fmla="*/ 649348 h 662520"/>
              <a:gd name="connsiteX201" fmla="*/ 2094242 w 2332217"/>
              <a:gd name="connsiteY201" fmla="*/ 662495 h 662520"/>
              <a:gd name="connsiteX202" fmla="*/ 2322930 w 2332217"/>
              <a:gd name="connsiteY202" fmla="*/ 395984 h 662520"/>
              <a:gd name="connsiteX203" fmla="*/ 2319616 w 2332217"/>
              <a:gd name="connsiteY203" fmla="*/ 336067 h 662520"/>
              <a:gd name="connsiteX204" fmla="*/ 2322855 w 2332217"/>
              <a:gd name="connsiteY204" fmla="*/ 276826 h 662520"/>
              <a:gd name="connsiteX205" fmla="*/ 2332217 w 2332217"/>
              <a:gd name="connsiteY205" fmla="*/ 223488 h 662520"/>
              <a:gd name="connsiteX0" fmla="*/ 74231 w 2322930"/>
              <a:gd name="connsiteY0" fmla="*/ 662482 h 662520"/>
              <a:gd name="connsiteX1" fmla="*/ 60344 w 2322930"/>
              <a:gd name="connsiteY1" fmla="*/ 659582 h 662520"/>
              <a:gd name="connsiteX2" fmla="*/ 47517 w 2322930"/>
              <a:gd name="connsiteY2" fmla="*/ 656437 h 662520"/>
              <a:gd name="connsiteX3" fmla="*/ 35823 w 2322930"/>
              <a:gd name="connsiteY3" fmla="*/ 653092 h 662520"/>
              <a:gd name="connsiteX4" fmla="*/ 25336 w 2322930"/>
              <a:gd name="connsiteY4" fmla="*/ 649592 h 662520"/>
              <a:gd name="connsiteX5" fmla="*/ 25336 w 2322930"/>
              <a:gd name="connsiteY5" fmla="*/ 533196 h 662520"/>
              <a:gd name="connsiteX6" fmla="*/ 104190 w 2322930"/>
              <a:gd name="connsiteY6" fmla="*/ 533196 h 662520"/>
              <a:gd name="connsiteX7" fmla="*/ 116931 w 2322930"/>
              <a:gd name="connsiteY7" fmla="*/ 550133 h 662520"/>
              <a:gd name="connsiteX8" fmla="*/ 135043 w 2322930"/>
              <a:gd name="connsiteY8" fmla="*/ 564522 h 662520"/>
              <a:gd name="connsiteX9" fmla="*/ 160020 w 2322930"/>
              <a:gd name="connsiteY9" fmla="*/ 574514 h 662520"/>
              <a:gd name="connsiteX10" fmla="*/ 193357 w 2322930"/>
              <a:gd name="connsiteY10" fmla="*/ 578256 h 662520"/>
              <a:gd name="connsiteX11" fmla="*/ 233829 w 2322930"/>
              <a:gd name="connsiteY11" fmla="*/ 573672 h 662520"/>
              <a:gd name="connsiteX12" fmla="*/ 297105 w 2322930"/>
              <a:gd name="connsiteY12" fmla="*/ 537246 h 662520"/>
              <a:gd name="connsiteX13" fmla="*/ 320040 w 2322930"/>
              <a:gd name="connsiteY13" fmla="*/ 505568 h 662520"/>
              <a:gd name="connsiteX14" fmla="*/ 337261 w 2322930"/>
              <a:gd name="connsiteY14" fmla="*/ 465022 h 662520"/>
              <a:gd name="connsiteX15" fmla="*/ 348834 w 2322930"/>
              <a:gd name="connsiteY15" fmla="*/ 415691 h 662520"/>
              <a:gd name="connsiteX16" fmla="*/ 354825 w 2322930"/>
              <a:gd name="connsiteY16" fmla="*/ 357657 h 662520"/>
              <a:gd name="connsiteX17" fmla="*/ 325357 w 2322930"/>
              <a:gd name="connsiteY17" fmla="*/ 385098 h 662520"/>
              <a:gd name="connsiteX18" fmla="*/ 289466 w 2322930"/>
              <a:gd name="connsiteY18" fmla="*/ 406117 h 662520"/>
              <a:gd name="connsiteX19" fmla="*/ 247767 w 2322930"/>
              <a:gd name="connsiteY19" fmla="*/ 419568 h 662520"/>
              <a:gd name="connsiteX20" fmla="*/ 200875 w 2322930"/>
              <a:gd name="connsiteY20" fmla="*/ 424306 h 662520"/>
              <a:gd name="connsiteX21" fmla="*/ 153099 w 2322930"/>
              <a:gd name="connsiteY21" fmla="*/ 420031 h 662520"/>
              <a:gd name="connsiteX22" fmla="*/ 110150 w 2322930"/>
              <a:gd name="connsiteY22" fmla="*/ 407348 h 662520"/>
              <a:gd name="connsiteX23" fmla="*/ 72948 w 2322930"/>
              <a:gd name="connsiteY23" fmla="*/ 386472 h 662520"/>
              <a:gd name="connsiteX24" fmla="*/ 42412 w 2322930"/>
              <a:gd name="connsiteY24" fmla="*/ 357614 h 662520"/>
              <a:gd name="connsiteX25" fmla="*/ 19463 w 2322930"/>
              <a:gd name="connsiteY25" fmla="*/ 320990 h 662520"/>
              <a:gd name="connsiteX26" fmla="*/ 5019 w 2322930"/>
              <a:gd name="connsiteY26" fmla="*/ 276814 h 662520"/>
              <a:gd name="connsiteX27" fmla="*/ 0 w 2322930"/>
              <a:gd name="connsiteY27" fmla="*/ 225297 h 662520"/>
              <a:gd name="connsiteX28" fmla="*/ 4447 w 2322930"/>
              <a:gd name="connsiteY28" fmla="*/ 178425 h 662520"/>
              <a:gd name="connsiteX29" fmla="*/ 17453 w 2322930"/>
              <a:gd name="connsiteY29" fmla="*/ 135445 h 662520"/>
              <a:gd name="connsiteX30" fmla="*/ 38511 w 2322930"/>
              <a:gd name="connsiteY30" fmla="*/ 97085 h 662520"/>
              <a:gd name="connsiteX31" fmla="*/ 67116 w 2322930"/>
              <a:gd name="connsiteY31" fmla="*/ 64071 h 662520"/>
              <a:gd name="connsiteX32" fmla="*/ 102760 w 2322930"/>
              <a:gd name="connsiteY32" fmla="*/ 37129 h 662520"/>
              <a:gd name="connsiteX33" fmla="*/ 144939 w 2322930"/>
              <a:gd name="connsiteY33" fmla="*/ 16986 h 662520"/>
              <a:gd name="connsiteX34" fmla="*/ 193146 w 2322930"/>
              <a:gd name="connsiteY34" fmla="*/ 4367 h 662520"/>
              <a:gd name="connsiteX35" fmla="*/ 246875 w 2322930"/>
              <a:gd name="connsiteY35" fmla="*/ 0 h 662520"/>
              <a:gd name="connsiteX36" fmla="*/ 290625 w 2322930"/>
              <a:gd name="connsiteY36" fmla="*/ 2882 h 662520"/>
              <a:gd name="connsiteX37" fmla="*/ 331492 w 2322930"/>
              <a:gd name="connsiteY37" fmla="*/ 11678 h 662520"/>
              <a:gd name="connsiteX38" fmla="*/ 369070 w 2322930"/>
              <a:gd name="connsiteY38" fmla="*/ 26614 h 662520"/>
              <a:gd name="connsiteX39" fmla="*/ 402953 w 2322930"/>
              <a:gd name="connsiteY39" fmla="*/ 47914 h 662520"/>
              <a:gd name="connsiteX40" fmla="*/ 432736 w 2322930"/>
              <a:gd name="connsiteY40" fmla="*/ 75804 h 662520"/>
              <a:gd name="connsiteX41" fmla="*/ 458013 w 2322930"/>
              <a:gd name="connsiteY41" fmla="*/ 110509 h 662520"/>
              <a:gd name="connsiteX42" fmla="*/ 478379 w 2322930"/>
              <a:gd name="connsiteY42" fmla="*/ 152255 h 662520"/>
              <a:gd name="connsiteX43" fmla="*/ 493429 w 2322930"/>
              <a:gd name="connsiteY43" fmla="*/ 201265 h 662520"/>
              <a:gd name="connsiteX44" fmla="*/ 502756 w 2322930"/>
              <a:gd name="connsiteY44" fmla="*/ 257766 h 662520"/>
              <a:gd name="connsiteX45" fmla="*/ 505955 w 2322930"/>
              <a:gd name="connsiteY45" fmla="*/ 321983 h 662520"/>
              <a:gd name="connsiteX46" fmla="*/ 503406 w 2322930"/>
              <a:gd name="connsiteY46" fmla="*/ 376707 h 662520"/>
              <a:gd name="connsiteX47" fmla="*/ 495858 w 2322930"/>
              <a:gd name="connsiteY47" fmla="*/ 427041 h 662520"/>
              <a:gd name="connsiteX48" fmla="*/ 483456 w 2322930"/>
              <a:gd name="connsiteY48" fmla="*/ 472909 h 662520"/>
              <a:gd name="connsiteX49" fmla="*/ 466346 w 2322930"/>
              <a:gd name="connsiteY49" fmla="*/ 514232 h 662520"/>
              <a:gd name="connsiteX50" fmla="*/ 444674 w 2322930"/>
              <a:gd name="connsiteY50" fmla="*/ 550937 h 662520"/>
              <a:gd name="connsiteX51" fmla="*/ 418587 w 2322930"/>
              <a:gd name="connsiteY51" fmla="*/ 582945 h 662520"/>
              <a:gd name="connsiteX52" fmla="*/ 388229 w 2322930"/>
              <a:gd name="connsiteY52" fmla="*/ 610181 h 662520"/>
              <a:gd name="connsiteX53" fmla="*/ 353748 w 2322930"/>
              <a:gd name="connsiteY53" fmla="*/ 632569 h 662520"/>
              <a:gd name="connsiteX54" fmla="*/ 315289 w 2322930"/>
              <a:gd name="connsiteY54" fmla="*/ 650033 h 662520"/>
              <a:gd name="connsiteX55" fmla="*/ 272999 w 2322930"/>
              <a:gd name="connsiteY55" fmla="*/ 662495 h 662520"/>
              <a:gd name="connsiteX56" fmla="*/ 592162 w 2322930"/>
              <a:gd name="connsiteY56" fmla="*/ 662520 h 662520"/>
              <a:gd name="connsiteX57" fmla="*/ 571167 w 2322930"/>
              <a:gd name="connsiteY57" fmla="*/ 658030 h 662520"/>
              <a:gd name="connsiteX58" fmla="*/ 551373 w 2322930"/>
              <a:gd name="connsiteY58" fmla="*/ 652783 h 662520"/>
              <a:gd name="connsiteX59" fmla="*/ 532537 w 2322930"/>
              <a:gd name="connsiteY59" fmla="*/ 646826 h 662520"/>
              <a:gd name="connsiteX60" fmla="*/ 514413 w 2322930"/>
              <a:gd name="connsiteY60" fmla="*/ 640206 h 662520"/>
              <a:gd name="connsiteX61" fmla="*/ 514413 w 2322930"/>
              <a:gd name="connsiteY61" fmla="*/ 516293 h 662520"/>
              <a:gd name="connsiteX62" fmla="*/ 596087 w 2322930"/>
              <a:gd name="connsiteY62" fmla="*/ 516293 h 662520"/>
              <a:gd name="connsiteX63" fmla="*/ 612203 w 2322930"/>
              <a:gd name="connsiteY63" fmla="*/ 539439 h 662520"/>
              <a:gd name="connsiteX64" fmla="*/ 635627 w 2322930"/>
              <a:gd name="connsiteY64" fmla="*/ 559242 h 662520"/>
              <a:gd name="connsiteX65" fmla="*/ 666972 w 2322930"/>
              <a:gd name="connsiteY65" fmla="*/ 573062 h 662520"/>
              <a:gd name="connsiteX66" fmla="*/ 706856 w 2322930"/>
              <a:gd name="connsiteY66" fmla="*/ 578256 h 662520"/>
              <a:gd name="connsiteX67" fmla="*/ 749359 w 2322930"/>
              <a:gd name="connsiteY67" fmla="*/ 571758 h 662520"/>
              <a:gd name="connsiteX68" fmla="*/ 784298 w 2322930"/>
              <a:gd name="connsiteY68" fmla="*/ 552322 h 662520"/>
              <a:gd name="connsiteX69" fmla="*/ 807972 w 2322930"/>
              <a:gd name="connsiteY69" fmla="*/ 520038 h 662520"/>
              <a:gd name="connsiteX70" fmla="*/ 816686 w 2322930"/>
              <a:gd name="connsiteY70" fmla="*/ 474992 h 662520"/>
              <a:gd name="connsiteX71" fmla="*/ 809424 w 2322930"/>
              <a:gd name="connsiteY71" fmla="*/ 430240 h 662520"/>
              <a:gd name="connsiteX72" fmla="*/ 787466 w 2322930"/>
              <a:gd name="connsiteY72" fmla="*/ 398602 h 662520"/>
              <a:gd name="connsiteX73" fmla="*/ 750549 w 2322930"/>
              <a:gd name="connsiteY73" fmla="*/ 379812 h 662520"/>
              <a:gd name="connsiteX74" fmla="*/ 698411 w 2322930"/>
              <a:gd name="connsiteY74" fmla="*/ 373608 h 662520"/>
              <a:gd name="connsiteX75" fmla="*/ 649592 w 2322930"/>
              <a:gd name="connsiteY75" fmla="*/ 373608 h 662520"/>
              <a:gd name="connsiteX76" fmla="*/ 649592 w 2322930"/>
              <a:gd name="connsiteY76" fmla="*/ 286308 h 662520"/>
              <a:gd name="connsiteX77" fmla="*/ 690892 w 2322930"/>
              <a:gd name="connsiteY77" fmla="*/ 286308 h 662520"/>
              <a:gd name="connsiteX78" fmla="*/ 744563 w 2322930"/>
              <a:gd name="connsiteY78" fmla="*/ 280133 h 662520"/>
              <a:gd name="connsiteX79" fmla="*/ 783007 w 2322930"/>
              <a:gd name="connsiteY79" fmla="*/ 261550 h 662520"/>
              <a:gd name="connsiteX80" fmla="*/ 806137 w 2322930"/>
              <a:gd name="connsiteY80" fmla="*/ 230469 h 662520"/>
              <a:gd name="connsiteX81" fmla="*/ 813866 w 2322930"/>
              <a:gd name="connsiteY81" fmla="*/ 186804 h 662520"/>
              <a:gd name="connsiteX82" fmla="*/ 808513 w 2322930"/>
              <a:gd name="connsiteY82" fmla="*/ 149115 h 662520"/>
              <a:gd name="connsiteX83" fmla="*/ 792160 w 2322930"/>
              <a:gd name="connsiteY83" fmla="*/ 121104 h 662520"/>
              <a:gd name="connsiteX84" fmla="*/ 764365 w 2322930"/>
              <a:gd name="connsiteY84" fmla="*/ 103651 h 662520"/>
              <a:gd name="connsiteX85" fmla="*/ 724687 w 2322930"/>
              <a:gd name="connsiteY85" fmla="*/ 97637 h 662520"/>
              <a:gd name="connsiteX86" fmla="*/ 687243 w 2322930"/>
              <a:gd name="connsiteY86" fmla="*/ 102374 h 662520"/>
              <a:gd name="connsiteX87" fmla="*/ 657456 w 2322930"/>
              <a:gd name="connsiteY87" fmla="*/ 115117 h 662520"/>
              <a:gd name="connsiteX88" fmla="*/ 634533 w 2322930"/>
              <a:gd name="connsiteY88" fmla="*/ 133668 h 662520"/>
              <a:gd name="connsiteX89" fmla="*/ 617677 w 2322930"/>
              <a:gd name="connsiteY89" fmla="*/ 155828 h 662520"/>
              <a:gd name="connsiteX90" fmla="*/ 539775 w 2322930"/>
              <a:gd name="connsiteY90" fmla="*/ 155828 h 662520"/>
              <a:gd name="connsiteX91" fmla="*/ 539775 w 2322930"/>
              <a:gd name="connsiteY91" fmla="*/ 33807 h 662520"/>
              <a:gd name="connsiteX92" fmla="*/ 584006 w 2322930"/>
              <a:gd name="connsiteY92" fmla="*/ 19813 h 662520"/>
              <a:gd name="connsiteX93" fmla="*/ 631056 w 2322930"/>
              <a:gd name="connsiteY93" fmla="*/ 9159 h 662520"/>
              <a:gd name="connsiteX94" fmla="*/ 681278 w 2322930"/>
              <a:gd name="connsiteY94" fmla="*/ 2378 h 662520"/>
              <a:gd name="connsiteX95" fmla="*/ 735025 w 2322930"/>
              <a:gd name="connsiteY95" fmla="*/ 0 h 662520"/>
              <a:gd name="connsiteX96" fmla="*/ 790395 w 2322930"/>
              <a:gd name="connsiteY96" fmla="*/ 3158 h 662520"/>
              <a:gd name="connsiteX97" fmla="*/ 838689 w 2322930"/>
              <a:gd name="connsiteY97" fmla="*/ 12853 h 662520"/>
              <a:gd name="connsiteX98" fmla="*/ 879380 w 2322930"/>
              <a:gd name="connsiteY98" fmla="*/ 29412 h 662520"/>
              <a:gd name="connsiteX99" fmla="*/ 911943 w 2322930"/>
              <a:gd name="connsiteY99" fmla="*/ 53163 h 662520"/>
              <a:gd name="connsiteX100" fmla="*/ 935853 w 2322930"/>
              <a:gd name="connsiteY100" fmla="*/ 84435 h 662520"/>
              <a:gd name="connsiteX101" fmla="*/ 950584 w 2322930"/>
              <a:gd name="connsiteY101" fmla="*/ 123555 h 662520"/>
              <a:gd name="connsiteX102" fmla="*/ 955611 w 2322930"/>
              <a:gd name="connsiteY102" fmla="*/ 170853 h 662520"/>
              <a:gd name="connsiteX103" fmla="*/ 949453 w 2322930"/>
              <a:gd name="connsiteY103" fmla="*/ 219568 h 662520"/>
              <a:gd name="connsiteX104" fmla="*/ 931581 w 2322930"/>
              <a:gd name="connsiteY104" fmla="*/ 258234 h 662520"/>
              <a:gd name="connsiteX105" fmla="*/ 902895 w 2322930"/>
              <a:gd name="connsiteY105" fmla="*/ 287843 h 662520"/>
              <a:gd name="connsiteX106" fmla="*/ 864296 w 2322930"/>
              <a:gd name="connsiteY106" fmla="*/ 309388 h 662520"/>
              <a:gd name="connsiteX107" fmla="*/ 816686 w 2322930"/>
              <a:gd name="connsiteY107" fmla="*/ 323862 h 662520"/>
              <a:gd name="connsiteX108" fmla="*/ 816686 w 2322930"/>
              <a:gd name="connsiteY108" fmla="*/ 327609 h 662520"/>
              <a:gd name="connsiteX109" fmla="*/ 870681 w 2322930"/>
              <a:gd name="connsiteY109" fmla="*/ 340566 h 662520"/>
              <a:gd name="connsiteX110" fmla="*/ 912283 w 2322930"/>
              <a:gd name="connsiteY110" fmla="*/ 362534 h 662520"/>
              <a:gd name="connsiteX111" fmla="*/ 941719 w 2322930"/>
              <a:gd name="connsiteY111" fmla="*/ 393513 h 662520"/>
              <a:gd name="connsiteX112" fmla="*/ 959215 w 2322930"/>
              <a:gd name="connsiteY112" fmla="*/ 433502 h 662520"/>
              <a:gd name="connsiteX113" fmla="*/ 964996 w 2322930"/>
              <a:gd name="connsiteY113" fmla="*/ 482498 h 662520"/>
              <a:gd name="connsiteX114" fmla="*/ 959936 w 2322930"/>
              <a:gd name="connsiteY114" fmla="*/ 527743 h 662520"/>
              <a:gd name="connsiteX115" fmla="*/ 944659 w 2322930"/>
              <a:gd name="connsiteY115" fmla="*/ 567021 h 662520"/>
              <a:gd name="connsiteX116" fmla="*/ 920122 w 2322930"/>
              <a:gd name="connsiteY116" fmla="*/ 600232 h 662520"/>
              <a:gd name="connsiteX117" fmla="*/ 887285 w 2322930"/>
              <a:gd name="connsiteY117" fmla="*/ 627278 h 662520"/>
              <a:gd name="connsiteX118" fmla="*/ 847106 w 2322930"/>
              <a:gd name="connsiteY118" fmla="*/ 648061 h 662520"/>
              <a:gd name="connsiteX119" fmla="*/ 800544 w 2322930"/>
              <a:gd name="connsiteY119" fmla="*/ 662482 h 662520"/>
              <a:gd name="connsiteX120" fmla="*/ 1360843 w 2322930"/>
              <a:gd name="connsiteY120" fmla="*/ 662495 h 662520"/>
              <a:gd name="connsiteX121" fmla="*/ 1322871 w 2322930"/>
              <a:gd name="connsiteY121" fmla="*/ 649352 h 662520"/>
              <a:gd name="connsiteX122" fmla="*/ 1287296 w 2322930"/>
              <a:gd name="connsiteY122" fmla="*/ 630560 h 662520"/>
              <a:gd name="connsiteX123" fmla="*/ 1254670 w 2322930"/>
              <a:gd name="connsiteY123" fmla="*/ 606062 h 662520"/>
              <a:gd name="connsiteX124" fmla="*/ 1225546 w 2322930"/>
              <a:gd name="connsiteY124" fmla="*/ 575802 h 662520"/>
              <a:gd name="connsiteX125" fmla="*/ 1200477 w 2322930"/>
              <a:gd name="connsiteY125" fmla="*/ 539722 h 662520"/>
              <a:gd name="connsiteX126" fmla="*/ 1180016 w 2322930"/>
              <a:gd name="connsiteY126" fmla="*/ 497766 h 662520"/>
              <a:gd name="connsiteX127" fmla="*/ 1164717 w 2322930"/>
              <a:gd name="connsiteY127" fmla="*/ 449876 h 662520"/>
              <a:gd name="connsiteX128" fmla="*/ 1155131 w 2322930"/>
              <a:gd name="connsiteY128" fmla="*/ 395995 h 662520"/>
              <a:gd name="connsiteX129" fmla="*/ 1151813 w 2322930"/>
              <a:gd name="connsiteY129" fmla="*/ 336067 h 662520"/>
              <a:gd name="connsiteX130" fmla="*/ 1155053 w 2322930"/>
              <a:gd name="connsiteY130" fmla="*/ 276826 h 662520"/>
              <a:gd name="connsiteX131" fmla="*/ 1164415 w 2322930"/>
              <a:gd name="connsiteY131" fmla="*/ 223488 h 662520"/>
              <a:gd name="connsiteX132" fmla="*/ 1179368 w 2322930"/>
              <a:gd name="connsiteY132" fmla="*/ 175997 h 662520"/>
              <a:gd name="connsiteX133" fmla="*/ 1199377 w 2322930"/>
              <a:gd name="connsiteY133" fmla="*/ 134299 h 662520"/>
              <a:gd name="connsiteX134" fmla="*/ 1223910 w 2322930"/>
              <a:gd name="connsiteY134" fmla="*/ 98339 h 662520"/>
              <a:gd name="connsiteX135" fmla="*/ 1252434 w 2322930"/>
              <a:gd name="connsiteY135" fmla="*/ 68062 h 662520"/>
              <a:gd name="connsiteX136" fmla="*/ 1284414 w 2322930"/>
              <a:gd name="connsiteY136" fmla="*/ 43413 h 662520"/>
              <a:gd name="connsiteX137" fmla="*/ 1319318 w 2322930"/>
              <a:gd name="connsiteY137" fmla="*/ 24337 h 662520"/>
              <a:gd name="connsiteX138" fmla="*/ 1356613 w 2322930"/>
              <a:gd name="connsiteY138" fmla="*/ 10780 h 662520"/>
              <a:gd name="connsiteX139" fmla="*/ 1395766 w 2322930"/>
              <a:gd name="connsiteY139" fmla="*/ 2685 h 662520"/>
              <a:gd name="connsiteX140" fmla="*/ 1436243 w 2322930"/>
              <a:gd name="connsiteY140" fmla="*/ 0 h 662520"/>
              <a:gd name="connsiteX141" fmla="*/ 1476722 w 2322930"/>
              <a:gd name="connsiteY141" fmla="*/ 2685 h 662520"/>
              <a:gd name="connsiteX142" fmla="*/ 1515876 w 2322930"/>
              <a:gd name="connsiteY142" fmla="*/ 10780 h 662520"/>
              <a:gd name="connsiteX143" fmla="*/ 1553172 w 2322930"/>
              <a:gd name="connsiteY143" fmla="*/ 24337 h 662520"/>
              <a:gd name="connsiteX144" fmla="*/ 1588076 w 2322930"/>
              <a:gd name="connsiteY144" fmla="*/ 43413 h 662520"/>
              <a:gd name="connsiteX145" fmla="*/ 1620056 w 2322930"/>
              <a:gd name="connsiteY145" fmla="*/ 68062 h 662520"/>
              <a:gd name="connsiteX146" fmla="*/ 1648579 w 2322930"/>
              <a:gd name="connsiteY146" fmla="*/ 98339 h 662520"/>
              <a:gd name="connsiteX147" fmla="*/ 1673111 w 2322930"/>
              <a:gd name="connsiteY147" fmla="*/ 134299 h 662520"/>
              <a:gd name="connsiteX148" fmla="*/ 1693119 w 2322930"/>
              <a:gd name="connsiteY148" fmla="*/ 175997 h 662520"/>
              <a:gd name="connsiteX149" fmla="*/ 1708071 w 2322930"/>
              <a:gd name="connsiteY149" fmla="*/ 223488 h 662520"/>
              <a:gd name="connsiteX150" fmla="*/ 1717433 w 2322930"/>
              <a:gd name="connsiteY150" fmla="*/ 276826 h 662520"/>
              <a:gd name="connsiteX151" fmla="*/ 1720672 w 2322930"/>
              <a:gd name="connsiteY151" fmla="*/ 336067 h 662520"/>
              <a:gd name="connsiteX152" fmla="*/ 1717354 w 2322930"/>
              <a:gd name="connsiteY152" fmla="*/ 395995 h 662520"/>
              <a:gd name="connsiteX153" fmla="*/ 1707768 w 2322930"/>
              <a:gd name="connsiteY153" fmla="*/ 449876 h 662520"/>
              <a:gd name="connsiteX154" fmla="*/ 1692469 w 2322930"/>
              <a:gd name="connsiteY154" fmla="*/ 497766 h 662520"/>
              <a:gd name="connsiteX155" fmla="*/ 1672008 w 2322930"/>
              <a:gd name="connsiteY155" fmla="*/ 539722 h 662520"/>
              <a:gd name="connsiteX156" fmla="*/ 1646939 w 2322930"/>
              <a:gd name="connsiteY156" fmla="*/ 575802 h 662520"/>
              <a:gd name="connsiteX157" fmla="*/ 1617815 w 2322930"/>
              <a:gd name="connsiteY157" fmla="*/ 606062 h 662520"/>
              <a:gd name="connsiteX158" fmla="*/ 1585189 w 2322930"/>
              <a:gd name="connsiteY158" fmla="*/ 630560 h 662520"/>
              <a:gd name="connsiteX159" fmla="*/ 1549614 w 2322930"/>
              <a:gd name="connsiteY159" fmla="*/ 649352 h 662520"/>
              <a:gd name="connsiteX160" fmla="*/ 1511642 w 2322930"/>
              <a:gd name="connsiteY160" fmla="*/ 662495 h 662520"/>
              <a:gd name="connsiteX161" fmla="*/ 1943430 w 2322930"/>
              <a:gd name="connsiteY161" fmla="*/ 662495 h 662520"/>
              <a:gd name="connsiteX162" fmla="*/ 1905459 w 2322930"/>
              <a:gd name="connsiteY162" fmla="*/ 649348 h 662520"/>
              <a:gd name="connsiteX163" fmla="*/ 1869885 w 2322930"/>
              <a:gd name="connsiteY163" fmla="*/ 630555 h 662520"/>
              <a:gd name="connsiteX164" fmla="*/ 1837261 w 2322930"/>
              <a:gd name="connsiteY164" fmla="*/ 606057 h 662520"/>
              <a:gd name="connsiteX165" fmla="*/ 1808138 w 2322930"/>
              <a:gd name="connsiteY165" fmla="*/ 575797 h 662520"/>
              <a:gd name="connsiteX166" fmla="*/ 1783072 w 2322930"/>
              <a:gd name="connsiteY166" fmla="*/ 539718 h 662520"/>
              <a:gd name="connsiteX167" fmla="*/ 1762613 w 2322930"/>
              <a:gd name="connsiteY167" fmla="*/ 497763 h 662520"/>
              <a:gd name="connsiteX168" fmla="*/ 1747315 w 2322930"/>
              <a:gd name="connsiteY168" fmla="*/ 449874 h 662520"/>
              <a:gd name="connsiteX169" fmla="*/ 1737731 w 2322930"/>
              <a:gd name="connsiteY169" fmla="*/ 395995 h 662520"/>
              <a:gd name="connsiteX170" fmla="*/ 1734413 w 2322930"/>
              <a:gd name="connsiteY170" fmla="*/ 336067 h 662520"/>
              <a:gd name="connsiteX171" fmla="*/ 1737652 w 2322930"/>
              <a:gd name="connsiteY171" fmla="*/ 276826 h 662520"/>
              <a:gd name="connsiteX172" fmla="*/ 1747014 w 2322930"/>
              <a:gd name="connsiteY172" fmla="*/ 223488 h 662520"/>
              <a:gd name="connsiteX173" fmla="*/ 1761965 w 2322930"/>
              <a:gd name="connsiteY173" fmla="*/ 175997 h 662520"/>
              <a:gd name="connsiteX174" fmla="*/ 1781973 w 2322930"/>
              <a:gd name="connsiteY174" fmla="*/ 134299 h 662520"/>
              <a:gd name="connsiteX175" fmla="*/ 1806505 w 2322930"/>
              <a:gd name="connsiteY175" fmla="*/ 98339 h 662520"/>
              <a:gd name="connsiteX176" fmla="*/ 1835026 w 2322930"/>
              <a:gd name="connsiteY176" fmla="*/ 68062 h 662520"/>
              <a:gd name="connsiteX177" fmla="*/ 1867005 w 2322930"/>
              <a:gd name="connsiteY177" fmla="*/ 43413 h 662520"/>
              <a:gd name="connsiteX178" fmla="*/ 1901908 w 2322930"/>
              <a:gd name="connsiteY178" fmla="*/ 24337 h 662520"/>
              <a:gd name="connsiteX179" fmla="*/ 1939202 w 2322930"/>
              <a:gd name="connsiteY179" fmla="*/ 10780 h 662520"/>
              <a:gd name="connsiteX180" fmla="*/ 1978353 w 2322930"/>
              <a:gd name="connsiteY180" fmla="*/ 2685 h 662520"/>
              <a:gd name="connsiteX181" fmla="*/ 2018830 w 2322930"/>
              <a:gd name="connsiteY181" fmla="*/ 0 h 662520"/>
              <a:gd name="connsiteX182" fmla="*/ 2059309 w 2322930"/>
              <a:gd name="connsiteY182" fmla="*/ 2685 h 662520"/>
              <a:gd name="connsiteX183" fmla="*/ 2098463 w 2322930"/>
              <a:gd name="connsiteY183" fmla="*/ 10780 h 662520"/>
              <a:gd name="connsiteX184" fmla="*/ 2135759 w 2322930"/>
              <a:gd name="connsiteY184" fmla="*/ 24337 h 662520"/>
              <a:gd name="connsiteX185" fmla="*/ 2170664 w 2322930"/>
              <a:gd name="connsiteY185" fmla="*/ 43413 h 662520"/>
              <a:gd name="connsiteX186" fmla="*/ 2202644 w 2322930"/>
              <a:gd name="connsiteY186" fmla="*/ 68062 h 662520"/>
              <a:gd name="connsiteX187" fmla="*/ 2231166 w 2322930"/>
              <a:gd name="connsiteY187" fmla="*/ 98339 h 662520"/>
              <a:gd name="connsiteX188" fmla="*/ 2255698 w 2322930"/>
              <a:gd name="connsiteY188" fmla="*/ 134299 h 662520"/>
              <a:gd name="connsiteX189" fmla="*/ 2275706 w 2322930"/>
              <a:gd name="connsiteY189" fmla="*/ 175997 h 662520"/>
              <a:gd name="connsiteX190" fmla="*/ 2290658 w 2322930"/>
              <a:gd name="connsiteY190" fmla="*/ 223488 h 662520"/>
              <a:gd name="connsiteX191" fmla="*/ 2300020 w 2322930"/>
              <a:gd name="connsiteY191" fmla="*/ 276826 h 662520"/>
              <a:gd name="connsiteX192" fmla="*/ 2303259 w 2322930"/>
              <a:gd name="connsiteY192" fmla="*/ 336067 h 662520"/>
              <a:gd name="connsiteX193" fmla="*/ 2299941 w 2322930"/>
              <a:gd name="connsiteY193" fmla="*/ 395991 h 662520"/>
              <a:gd name="connsiteX194" fmla="*/ 2290357 w 2322930"/>
              <a:gd name="connsiteY194" fmla="*/ 449869 h 662520"/>
              <a:gd name="connsiteX195" fmla="*/ 2275059 w 2322930"/>
              <a:gd name="connsiteY195" fmla="*/ 497757 h 662520"/>
              <a:gd name="connsiteX196" fmla="*/ 2254600 w 2322930"/>
              <a:gd name="connsiteY196" fmla="*/ 539713 h 662520"/>
              <a:gd name="connsiteX197" fmla="*/ 2229533 w 2322930"/>
              <a:gd name="connsiteY197" fmla="*/ 575793 h 662520"/>
              <a:gd name="connsiteX198" fmla="*/ 2200411 w 2322930"/>
              <a:gd name="connsiteY198" fmla="*/ 606054 h 662520"/>
              <a:gd name="connsiteX199" fmla="*/ 2167787 w 2322930"/>
              <a:gd name="connsiteY199" fmla="*/ 630553 h 662520"/>
              <a:gd name="connsiteX200" fmla="*/ 2132213 w 2322930"/>
              <a:gd name="connsiteY200" fmla="*/ 649348 h 662520"/>
              <a:gd name="connsiteX201" fmla="*/ 2094242 w 2322930"/>
              <a:gd name="connsiteY201" fmla="*/ 662495 h 662520"/>
              <a:gd name="connsiteX202" fmla="*/ 2322930 w 2322930"/>
              <a:gd name="connsiteY202" fmla="*/ 395984 h 662520"/>
              <a:gd name="connsiteX203" fmla="*/ 2319616 w 2322930"/>
              <a:gd name="connsiteY203" fmla="*/ 336067 h 662520"/>
              <a:gd name="connsiteX204" fmla="*/ 2322855 w 2322930"/>
              <a:gd name="connsiteY204" fmla="*/ 276826 h 662520"/>
              <a:gd name="connsiteX0" fmla="*/ 74231 w 2322930"/>
              <a:gd name="connsiteY0" fmla="*/ 662482 h 662520"/>
              <a:gd name="connsiteX1" fmla="*/ 60344 w 2322930"/>
              <a:gd name="connsiteY1" fmla="*/ 659582 h 662520"/>
              <a:gd name="connsiteX2" fmla="*/ 47517 w 2322930"/>
              <a:gd name="connsiteY2" fmla="*/ 656437 h 662520"/>
              <a:gd name="connsiteX3" fmla="*/ 35823 w 2322930"/>
              <a:gd name="connsiteY3" fmla="*/ 653092 h 662520"/>
              <a:gd name="connsiteX4" fmla="*/ 25336 w 2322930"/>
              <a:gd name="connsiteY4" fmla="*/ 649592 h 662520"/>
              <a:gd name="connsiteX5" fmla="*/ 25336 w 2322930"/>
              <a:gd name="connsiteY5" fmla="*/ 533196 h 662520"/>
              <a:gd name="connsiteX6" fmla="*/ 104190 w 2322930"/>
              <a:gd name="connsiteY6" fmla="*/ 533196 h 662520"/>
              <a:gd name="connsiteX7" fmla="*/ 116931 w 2322930"/>
              <a:gd name="connsiteY7" fmla="*/ 550133 h 662520"/>
              <a:gd name="connsiteX8" fmla="*/ 135043 w 2322930"/>
              <a:gd name="connsiteY8" fmla="*/ 564522 h 662520"/>
              <a:gd name="connsiteX9" fmla="*/ 160020 w 2322930"/>
              <a:gd name="connsiteY9" fmla="*/ 574514 h 662520"/>
              <a:gd name="connsiteX10" fmla="*/ 193357 w 2322930"/>
              <a:gd name="connsiteY10" fmla="*/ 578256 h 662520"/>
              <a:gd name="connsiteX11" fmla="*/ 233829 w 2322930"/>
              <a:gd name="connsiteY11" fmla="*/ 573672 h 662520"/>
              <a:gd name="connsiteX12" fmla="*/ 297105 w 2322930"/>
              <a:gd name="connsiteY12" fmla="*/ 537246 h 662520"/>
              <a:gd name="connsiteX13" fmla="*/ 320040 w 2322930"/>
              <a:gd name="connsiteY13" fmla="*/ 505568 h 662520"/>
              <a:gd name="connsiteX14" fmla="*/ 337261 w 2322930"/>
              <a:gd name="connsiteY14" fmla="*/ 465022 h 662520"/>
              <a:gd name="connsiteX15" fmla="*/ 348834 w 2322930"/>
              <a:gd name="connsiteY15" fmla="*/ 415691 h 662520"/>
              <a:gd name="connsiteX16" fmla="*/ 354825 w 2322930"/>
              <a:gd name="connsiteY16" fmla="*/ 357657 h 662520"/>
              <a:gd name="connsiteX17" fmla="*/ 325357 w 2322930"/>
              <a:gd name="connsiteY17" fmla="*/ 385098 h 662520"/>
              <a:gd name="connsiteX18" fmla="*/ 289466 w 2322930"/>
              <a:gd name="connsiteY18" fmla="*/ 406117 h 662520"/>
              <a:gd name="connsiteX19" fmla="*/ 247767 w 2322930"/>
              <a:gd name="connsiteY19" fmla="*/ 419568 h 662520"/>
              <a:gd name="connsiteX20" fmla="*/ 200875 w 2322930"/>
              <a:gd name="connsiteY20" fmla="*/ 424306 h 662520"/>
              <a:gd name="connsiteX21" fmla="*/ 153099 w 2322930"/>
              <a:gd name="connsiteY21" fmla="*/ 420031 h 662520"/>
              <a:gd name="connsiteX22" fmla="*/ 110150 w 2322930"/>
              <a:gd name="connsiteY22" fmla="*/ 407348 h 662520"/>
              <a:gd name="connsiteX23" fmla="*/ 72948 w 2322930"/>
              <a:gd name="connsiteY23" fmla="*/ 386472 h 662520"/>
              <a:gd name="connsiteX24" fmla="*/ 42412 w 2322930"/>
              <a:gd name="connsiteY24" fmla="*/ 357614 h 662520"/>
              <a:gd name="connsiteX25" fmla="*/ 19463 w 2322930"/>
              <a:gd name="connsiteY25" fmla="*/ 320990 h 662520"/>
              <a:gd name="connsiteX26" fmla="*/ 5019 w 2322930"/>
              <a:gd name="connsiteY26" fmla="*/ 276814 h 662520"/>
              <a:gd name="connsiteX27" fmla="*/ 0 w 2322930"/>
              <a:gd name="connsiteY27" fmla="*/ 225297 h 662520"/>
              <a:gd name="connsiteX28" fmla="*/ 4447 w 2322930"/>
              <a:gd name="connsiteY28" fmla="*/ 178425 h 662520"/>
              <a:gd name="connsiteX29" fmla="*/ 17453 w 2322930"/>
              <a:gd name="connsiteY29" fmla="*/ 135445 h 662520"/>
              <a:gd name="connsiteX30" fmla="*/ 38511 w 2322930"/>
              <a:gd name="connsiteY30" fmla="*/ 97085 h 662520"/>
              <a:gd name="connsiteX31" fmla="*/ 67116 w 2322930"/>
              <a:gd name="connsiteY31" fmla="*/ 64071 h 662520"/>
              <a:gd name="connsiteX32" fmla="*/ 102760 w 2322930"/>
              <a:gd name="connsiteY32" fmla="*/ 37129 h 662520"/>
              <a:gd name="connsiteX33" fmla="*/ 144939 w 2322930"/>
              <a:gd name="connsiteY33" fmla="*/ 16986 h 662520"/>
              <a:gd name="connsiteX34" fmla="*/ 193146 w 2322930"/>
              <a:gd name="connsiteY34" fmla="*/ 4367 h 662520"/>
              <a:gd name="connsiteX35" fmla="*/ 246875 w 2322930"/>
              <a:gd name="connsiteY35" fmla="*/ 0 h 662520"/>
              <a:gd name="connsiteX36" fmla="*/ 290625 w 2322930"/>
              <a:gd name="connsiteY36" fmla="*/ 2882 h 662520"/>
              <a:gd name="connsiteX37" fmla="*/ 331492 w 2322930"/>
              <a:gd name="connsiteY37" fmla="*/ 11678 h 662520"/>
              <a:gd name="connsiteX38" fmla="*/ 369070 w 2322930"/>
              <a:gd name="connsiteY38" fmla="*/ 26614 h 662520"/>
              <a:gd name="connsiteX39" fmla="*/ 402953 w 2322930"/>
              <a:gd name="connsiteY39" fmla="*/ 47914 h 662520"/>
              <a:gd name="connsiteX40" fmla="*/ 432736 w 2322930"/>
              <a:gd name="connsiteY40" fmla="*/ 75804 h 662520"/>
              <a:gd name="connsiteX41" fmla="*/ 458013 w 2322930"/>
              <a:gd name="connsiteY41" fmla="*/ 110509 h 662520"/>
              <a:gd name="connsiteX42" fmla="*/ 478379 w 2322930"/>
              <a:gd name="connsiteY42" fmla="*/ 152255 h 662520"/>
              <a:gd name="connsiteX43" fmla="*/ 493429 w 2322930"/>
              <a:gd name="connsiteY43" fmla="*/ 201265 h 662520"/>
              <a:gd name="connsiteX44" fmla="*/ 502756 w 2322930"/>
              <a:gd name="connsiteY44" fmla="*/ 257766 h 662520"/>
              <a:gd name="connsiteX45" fmla="*/ 505955 w 2322930"/>
              <a:gd name="connsiteY45" fmla="*/ 321983 h 662520"/>
              <a:gd name="connsiteX46" fmla="*/ 503406 w 2322930"/>
              <a:gd name="connsiteY46" fmla="*/ 376707 h 662520"/>
              <a:gd name="connsiteX47" fmla="*/ 495858 w 2322930"/>
              <a:gd name="connsiteY47" fmla="*/ 427041 h 662520"/>
              <a:gd name="connsiteX48" fmla="*/ 483456 w 2322930"/>
              <a:gd name="connsiteY48" fmla="*/ 472909 h 662520"/>
              <a:gd name="connsiteX49" fmla="*/ 466346 w 2322930"/>
              <a:gd name="connsiteY49" fmla="*/ 514232 h 662520"/>
              <a:gd name="connsiteX50" fmla="*/ 444674 w 2322930"/>
              <a:gd name="connsiteY50" fmla="*/ 550937 h 662520"/>
              <a:gd name="connsiteX51" fmla="*/ 418587 w 2322930"/>
              <a:gd name="connsiteY51" fmla="*/ 582945 h 662520"/>
              <a:gd name="connsiteX52" fmla="*/ 388229 w 2322930"/>
              <a:gd name="connsiteY52" fmla="*/ 610181 h 662520"/>
              <a:gd name="connsiteX53" fmla="*/ 353748 w 2322930"/>
              <a:gd name="connsiteY53" fmla="*/ 632569 h 662520"/>
              <a:gd name="connsiteX54" fmla="*/ 315289 w 2322930"/>
              <a:gd name="connsiteY54" fmla="*/ 650033 h 662520"/>
              <a:gd name="connsiteX55" fmla="*/ 272999 w 2322930"/>
              <a:gd name="connsiteY55" fmla="*/ 662495 h 662520"/>
              <a:gd name="connsiteX56" fmla="*/ 592162 w 2322930"/>
              <a:gd name="connsiteY56" fmla="*/ 662520 h 662520"/>
              <a:gd name="connsiteX57" fmla="*/ 571167 w 2322930"/>
              <a:gd name="connsiteY57" fmla="*/ 658030 h 662520"/>
              <a:gd name="connsiteX58" fmla="*/ 551373 w 2322930"/>
              <a:gd name="connsiteY58" fmla="*/ 652783 h 662520"/>
              <a:gd name="connsiteX59" fmla="*/ 532537 w 2322930"/>
              <a:gd name="connsiteY59" fmla="*/ 646826 h 662520"/>
              <a:gd name="connsiteX60" fmla="*/ 514413 w 2322930"/>
              <a:gd name="connsiteY60" fmla="*/ 640206 h 662520"/>
              <a:gd name="connsiteX61" fmla="*/ 514413 w 2322930"/>
              <a:gd name="connsiteY61" fmla="*/ 516293 h 662520"/>
              <a:gd name="connsiteX62" fmla="*/ 596087 w 2322930"/>
              <a:gd name="connsiteY62" fmla="*/ 516293 h 662520"/>
              <a:gd name="connsiteX63" fmla="*/ 612203 w 2322930"/>
              <a:gd name="connsiteY63" fmla="*/ 539439 h 662520"/>
              <a:gd name="connsiteX64" fmla="*/ 635627 w 2322930"/>
              <a:gd name="connsiteY64" fmla="*/ 559242 h 662520"/>
              <a:gd name="connsiteX65" fmla="*/ 666972 w 2322930"/>
              <a:gd name="connsiteY65" fmla="*/ 573062 h 662520"/>
              <a:gd name="connsiteX66" fmla="*/ 706856 w 2322930"/>
              <a:gd name="connsiteY66" fmla="*/ 578256 h 662520"/>
              <a:gd name="connsiteX67" fmla="*/ 749359 w 2322930"/>
              <a:gd name="connsiteY67" fmla="*/ 571758 h 662520"/>
              <a:gd name="connsiteX68" fmla="*/ 784298 w 2322930"/>
              <a:gd name="connsiteY68" fmla="*/ 552322 h 662520"/>
              <a:gd name="connsiteX69" fmla="*/ 807972 w 2322930"/>
              <a:gd name="connsiteY69" fmla="*/ 520038 h 662520"/>
              <a:gd name="connsiteX70" fmla="*/ 816686 w 2322930"/>
              <a:gd name="connsiteY70" fmla="*/ 474992 h 662520"/>
              <a:gd name="connsiteX71" fmla="*/ 809424 w 2322930"/>
              <a:gd name="connsiteY71" fmla="*/ 430240 h 662520"/>
              <a:gd name="connsiteX72" fmla="*/ 787466 w 2322930"/>
              <a:gd name="connsiteY72" fmla="*/ 398602 h 662520"/>
              <a:gd name="connsiteX73" fmla="*/ 750549 w 2322930"/>
              <a:gd name="connsiteY73" fmla="*/ 379812 h 662520"/>
              <a:gd name="connsiteX74" fmla="*/ 698411 w 2322930"/>
              <a:gd name="connsiteY74" fmla="*/ 373608 h 662520"/>
              <a:gd name="connsiteX75" fmla="*/ 649592 w 2322930"/>
              <a:gd name="connsiteY75" fmla="*/ 373608 h 662520"/>
              <a:gd name="connsiteX76" fmla="*/ 649592 w 2322930"/>
              <a:gd name="connsiteY76" fmla="*/ 286308 h 662520"/>
              <a:gd name="connsiteX77" fmla="*/ 690892 w 2322930"/>
              <a:gd name="connsiteY77" fmla="*/ 286308 h 662520"/>
              <a:gd name="connsiteX78" fmla="*/ 744563 w 2322930"/>
              <a:gd name="connsiteY78" fmla="*/ 280133 h 662520"/>
              <a:gd name="connsiteX79" fmla="*/ 783007 w 2322930"/>
              <a:gd name="connsiteY79" fmla="*/ 261550 h 662520"/>
              <a:gd name="connsiteX80" fmla="*/ 806137 w 2322930"/>
              <a:gd name="connsiteY80" fmla="*/ 230469 h 662520"/>
              <a:gd name="connsiteX81" fmla="*/ 813866 w 2322930"/>
              <a:gd name="connsiteY81" fmla="*/ 186804 h 662520"/>
              <a:gd name="connsiteX82" fmla="*/ 808513 w 2322930"/>
              <a:gd name="connsiteY82" fmla="*/ 149115 h 662520"/>
              <a:gd name="connsiteX83" fmla="*/ 792160 w 2322930"/>
              <a:gd name="connsiteY83" fmla="*/ 121104 h 662520"/>
              <a:gd name="connsiteX84" fmla="*/ 764365 w 2322930"/>
              <a:gd name="connsiteY84" fmla="*/ 103651 h 662520"/>
              <a:gd name="connsiteX85" fmla="*/ 724687 w 2322930"/>
              <a:gd name="connsiteY85" fmla="*/ 97637 h 662520"/>
              <a:gd name="connsiteX86" fmla="*/ 687243 w 2322930"/>
              <a:gd name="connsiteY86" fmla="*/ 102374 h 662520"/>
              <a:gd name="connsiteX87" fmla="*/ 657456 w 2322930"/>
              <a:gd name="connsiteY87" fmla="*/ 115117 h 662520"/>
              <a:gd name="connsiteX88" fmla="*/ 634533 w 2322930"/>
              <a:gd name="connsiteY88" fmla="*/ 133668 h 662520"/>
              <a:gd name="connsiteX89" fmla="*/ 617677 w 2322930"/>
              <a:gd name="connsiteY89" fmla="*/ 155828 h 662520"/>
              <a:gd name="connsiteX90" fmla="*/ 539775 w 2322930"/>
              <a:gd name="connsiteY90" fmla="*/ 155828 h 662520"/>
              <a:gd name="connsiteX91" fmla="*/ 539775 w 2322930"/>
              <a:gd name="connsiteY91" fmla="*/ 33807 h 662520"/>
              <a:gd name="connsiteX92" fmla="*/ 584006 w 2322930"/>
              <a:gd name="connsiteY92" fmla="*/ 19813 h 662520"/>
              <a:gd name="connsiteX93" fmla="*/ 631056 w 2322930"/>
              <a:gd name="connsiteY93" fmla="*/ 9159 h 662520"/>
              <a:gd name="connsiteX94" fmla="*/ 681278 w 2322930"/>
              <a:gd name="connsiteY94" fmla="*/ 2378 h 662520"/>
              <a:gd name="connsiteX95" fmla="*/ 735025 w 2322930"/>
              <a:gd name="connsiteY95" fmla="*/ 0 h 662520"/>
              <a:gd name="connsiteX96" fmla="*/ 790395 w 2322930"/>
              <a:gd name="connsiteY96" fmla="*/ 3158 h 662520"/>
              <a:gd name="connsiteX97" fmla="*/ 838689 w 2322930"/>
              <a:gd name="connsiteY97" fmla="*/ 12853 h 662520"/>
              <a:gd name="connsiteX98" fmla="*/ 879380 w 2322930"/>
              <a:gd name="connsiteY98" fmla="*/ 29412 h 662520"/>
              <a:gd name="connsiteX99" fmla="*/ 911943 w 2322930"/>
              <a:gd name="connsiteY99" fmla="*/ 53163 h 662520"/>
              <a:gd name="connsiteX100" fmla="*/ 935853 w 2322930"/>
              <a:gd name="connsiteY100" fmla="*/ 84435 h 662520"/>
              <a:gd name="connsiteX101" fmla="*/ 950584 w 2322930"/>
              <a:gd name="connsiteY101" fmla="*/ 123555 h 662520"/>
              <a:gd name="connsiteX102" fmla="*/ 955611 w 2322930"/>
              <a:gd name="connsiteY102" fmla="*/ 170853 h 662520"/>
              <a:gd name="connsiteX103" fmla="*/ 949453 w 2322930"/>
              <a:gd name="connsiteY103" fmla="*/ 219568 h 662520"/>
              <a:gd name="connsiteX104" fmla="*/ 931581 w 2322930"/>
              <a:gd name="connsiteY104" fmla="*/ 258234 h 662520"/>
              <a:gd name="connsiteX105" fmla="*/ 902895 w 2322930"/>
              <a:gd name="connsiteY105" fmla="*/ 287843 h 662520"/>
              <a:gd name="connsiteX106" fmla="*/ 864296 w 2322930"/>
              <a:gd name="connsiteY106" fmla="*/ 309388 h 662520"/>
              <a:gd name="connsiteX107" fmla="*/ 816686 w 2322930"/>
              <a:gd name="connsiteY107" fmla="*/ 323862 h 662520"/>
              <a:gd name="connsiteX108" fmla="*/ 816686 w 2322930"/>
              <a:gd name="connsiteY108" fmla="*/ 327609 h 662520"/>
              <a:gd name="connsiteX109" fmla="*/ 870681 w 2322930"/>
              <a:gd name="connsiteY109" fmla="*/ 340566 h 662520"/>
              <a:gd name="connsiteX110" fmla="*/ 912283 w 2322930"/>
              <a:gd name="connsiteY110" fmla="*/ 362534 h 662520"/>
              <a:gd name="connsiteX111" fmla="*/ 941719 w 2322930"/>
              <a:gd name="connsiteY111" fmla="*/ 393513 h 662520"/>
              <a:gd name="connsiteX112" fmla="*/ 959215 w 2322930"/>
              <a:gd name="connsiteY112" fmla="*/ 433502 h 662520"/>
              <a:gd name="connsiteX113" fmla="*/ 964996 w 2322930"/>
              <a:gd name="connsiteY113" fmla="*/ 482498 h 662520"/>
              <a:gd name="connsiteX114" fmla="*/ 959936 w 2322930"/>
              <a:gd name="connsiteY114" fmla="*/ 527743 h 662520"/>
              <a:gd name="connsiteX115" fmla="*/ 944659 w 2322930"/>
              <a:gd name="connsiteY115" fmla="*/ 567021 h 662520"/>
              <a:gd name="connsiteX116" fmla="*/ 920122 w 2322930"/>
              <a:gd name="connsiteY116" fmla="*/ 600232 h 662520"/>
              <a:gd name="connsiteX117" fmla="*/ 887285 w 2322930"/>
              <a:gd name="connsiteY117" fmla="*/ 627278 h 662520"/>
              <a:gd name="connsiteX118" fmla="*/ 847106 w 2322930"/>
              <a:gd name="connsiteY118" fmla="*/ 648061 h 662520"/>
              <a:gd name="connsiteX119" fmla="*/ 800544 w 2322930"/>
              <a:gd name="connsiteY119" fmla="*/ 662482 h 662520"/>
              <a:gd name="connsiteX120" fmla="*/ 1360843 w 2322930"/>
              <a:gd name="connsiteY120" fmla="*/ 662495 h 662520"/>
              <a:gd name="connsiteX121" fmla="*/ 1322871 w 2322930"/>
              <a:gd name="connsiteY121" fmla="*/ 649352 h 662520"/>
              <a:gd name="connsiteX122" fmla="*/ 1287296 w 2322930"/>
              <a:gd name="connsiteY122" fmla="*/ 630560 h 662520"/>
              <a:gd name="connsiteX123" fmla="*/ 1254670 w 2322930"/>
              <a:gd name="connsiteY123" fmla="*/ 606062 h 662520"/>
              <a:gd name="connsiteX124" fmla="*/ 1225546 w 2322930"/>
              <a:gd name="connsiteY124" fmla="*/ 575802 h 662520"/>
              <a:gd name="connsiteX125" fmla="*/ 1200477 w 2322930"/>
              <a:gd name="connsiteY125" fmla="*/ 539722 h 662520"/>
              <a:gd name="connsiteX126" fmla="*/ 1180016 w 2322930"/>
              <a:gd name="connsiteY126" fmla="*/ 497766 h 662520"/>
              <a:gd name="connsiteX127" fmla="*/ 1164717 w 2322930"/>
              <a:gd name="connsiteY127" fmla="*/ 449876 h 662520"/>
              <a:gd name="connsiteX128" fmla="*/ 1155131 w 2322930"/>
              <a:gd name="connsiteY128" fmla="*/ 395995 h 662520"/>
              <a:gd name="connsiteX129" fmla="*/ 1151813 w 2322930"/>
              <a:gd name="connsiteY129" fmla="*/ 336067 h 662520"/>
              <a:gd name="connsiteX130" fmla="*/ 1155053 w 2322930"/>
              <a:gd name="connsiteY130" fmla="*/ 276826 h 662520"/>
              <a:gd name="connsiteX131" fmla="*/ 1164415 w 2322930"/>
              <a:gd name="connsiteY131" fmla="*/ 223488 h 662520"/>
              <a:gd name="connsiteX132" fmla="*/ 1179368 w 2322930"/>
              <a:gd name="connsiteY132" fmla="*/ 175997 h 662520"/>
              <a:gd name="connsiteX133" fmla="*/ 1199377 w 2322930"/>
              <a:gd name="connsiteY133" fmla="*/ 134299 h 662520"/>
              <a:gd name="connsiteX134" fmla="*/ 1223910 w 2322930"/>
              <a:gd name="connsiteY134" fmla="*/ 98339 h 662520"/>
              <a:gd name="connsiteX135" fmla="*/ 1252434 w 2322930"/>
              <a:gd name="connsiteY135" fmla="*/ 68062 h 662520"/>
              <a:gd name="connsiteX136" fmla="*/ 1284414 w 2322930"/>
              <a:gd name="connsiteY136" fmla="*/ 43413 h 662520"/>
              <a:gd name="connsiteX137" fmla="*/ 1319318 w 2322930"/>
              <a:gd name="connsiteY137" fmla="*/ 24337 h 662520"/>
              <a:gd name="connsiteX138" fmla="*/ 1356613 w 2322930"/>
              <a:gd name="connsiteY138" fmla="*/ 10780 h 662520"/>
              <a:gd name="connsiteX139" fmla="*/ 1395766 w 2322930"/>
              <a:gd name="connsiteY139" fmla="*/ 2685 h 662520"/>
              <a:gd name="connsiteX140" fmla="*/ 1436243 w 2322930"/>
              <a:gd name="connsiteY140" fmla="*/ 0 h 662520"/>
              <a:gd name="connsiteX141" fmla="*/ 1476722 w 2322930"/>
              <a:gd name="connsiteY141" fmla="*/ 2685 h 662520"/>
              <a:gd name="connsiteX142" fmla="*/ 1515876 w 2322930"/>
              <a:gd name="connsiteY142" fmla="*/ 10780 h 662520"/>
              <a:gd name="connsiteX143" fmla="*/ 1553172 w 2322930"/>
              <a:gd name="connsiteY143" fmla="*/ 24337 h 662520"/>
              <a:gd name="connsiteX144" fmla="*/ 1588076 w 2322930"/>
              <a:gd name="connsiteY144" fmla="*/ 43413 h 662520"/>
              <a:gd name="connsiteX145" fmla="*/ 1620056 w 2322930"/>
              <a:gd name="connsiteY145" fmla="*/ 68062 h 662520"/>
              <a:gd name="connsiteX146" fmla="*/ 1648579 w 2322930"/>
              <a:gd name="connsiteY146" fmla="*/ 98339 h 662520"/>
              <a:gd name="connsiteX147" fmla="*/ 1673111 w 2322930"/>
              <a:gd name="connsiteY147" fmla="*/ 134299 h 662520"/>
              <a:gd name="connsiteX148" fmla="*/ 1693119 w 2322930"/>
              <a:gd name="connsiteY148" fmla="*/ 175997 h 662520"/>
              <a:gd name="connsiteX149" fmla="*/ 1708071 w 2322930"/>
              <a:gd name="connsiteY149" fmla="*/ 223488 h 662520"/>
              <a:gd name="connsiteX150" fmla="*/ 1717433 w 2322930"/>
              <a:gd name="connsiteY150" fmla="*/ 276826 h 662520"/>
              <a:gd name="connsiteX151" fmla="*/ 1720672 w 2322930"/>
              <a:gd name="connsiteY151" fmla="*/ 336067 h 662520"/>
              <a:gd name="connsiteX152" fmla="*/ 1717354 w 2322930"/>
              <a:gd name="connsiteY152" fmla="*/ 395995 h 662520"/>
              <a:gd name="connsiteX153" fmla="*/ 1707768 w 2322930"/>
              <a:gd name="connsiteY153" fmla="*/ 449876 h 662520"/>
              <a:gd name="connsiteX154" fmla="*/ 1692469 w 2322930"/>
              <a:gd name="connsiteY154" fmla="*/ 497766 h 662520"/>
              <a:gd name="connsiteX155" fmla="*/ 1672008 w 2322930"/>
              <a:gd name="connsiteY155" fmla="*/ 539722 h 662520"/>
              <a:gd name="connsiteX156" fmla="*/ 1646939 w 2322930"/>
              <a:gd name="connsiteY156" fmla="*/ 575802 h 662520"/>
              <a:gd name="connsiteX157" fmla="*/ 1617815 w 2322930"/>
              <a:gd name="connsiteY157" fmla="*/ 606062 h 662520"/>
              <a:gd name="connsiteX158" fmla="*/ 1585189 w 2322930"/>
              <a:gd name="connsiteY158" fmla="*/ 630560 h 662520"/>
              <a:gd name="connsiteX159" fmla="*/ 1549614 w 2322930"/>
              <a:gd name="connsiteY159" fmla="*/ 649352 h 662520"/>
              <a:gd name="connsiteX160" fmla="*/ 1511642 w 2322930"/>
              <a:gd name="connsiteY160" fmla="*/ 662495 h 662520"/>
              <a:gd name="connsiteX161" fmla="*/ 1943430 w 2322930"/>
              <a:gd name="connsiteY161" fmla="*/ 662495 h 662520"/>
              <a:gd name="connsiteX162" fmla="*/ 1905459 w 2322930"/>
              <a:gd name="connsiteY162" fmla="*/ 649348 h 662520"/>
              <a:gd name="connsiteX163" fmla="*/ 1869885 w 2322930"/>
              <a:gd name="connsiteY163" fmla="*/ 630555 h 662520"/>
              <a:gd name="connsiteX164" fmla="*/ 1837261 w 2322930"/>
              <a:gd name="connsiteY164" fmla="*/ 606057 h 662520"/>
              <a:gd name="connsiteX165" fmla="*/ 1808138 w 2322930"/>
              <a:gd name="connsiteY165" fmla="*/ 575797 h 662520"/>
              <a:gd name="connsiteX166" fmla="*/ 1783072 w 2322930"/>
              <a:gd name="connsiteY166" fmla="*/ 539718 h 662520"/>
              <a:gd name="connsiteX167" fmla="*/ 1762613 w 2322930"/>
              <a:gd name="connsiteY167" fmla="*/ 497763 h 662520"/>
              <a:gd name="connsiteX168" fmla="*/ 1747315 w 2322930"/>
              <a:gd name="connsiteY168" fmla="*/ 449874 h 662520"/>
              <a:gd name="connsiteX169" fmla="*/ 1737731 w 2322930"/>
              <a:gd name="connsiteY169" fmla="*/ 395995 h 662520"/>
              <a:gd name="connsiteX170" fmla="*/ 1734413 w 2322930"/>
              <a:gd name="connsiteY170" fmla="*/ 336067 h 662520"/>
              <a:gd name="connsiteX171" fmla="*/ 1737652 w 2322930"/>
              <a:gd name="connsiteY171" fmla="*/ 276826 h 662520"/>
              <a:gd name="connsiteX172" fmla="*/ 1747014 w 2322930"/>
              <a:gd name="connsiteY172" fmla="*/ 223488 h 662520"/>
              <a:gd name="connsiteX173" fmla="*/ 1761965 w 2322930"/>
              <a:gd name="connsiteY173" fmla="*/ 175997 h 662520"/>
              <a:gd name="connsiteX174" fmla="*/ 1781973 w 2322930"/>
              <a:gd name="connsiteY174" fmla="*/ 134299 h 662520"/>
              <a:gd name="connsiteX175" fmla="*/ 1806505 w 2322930"/>
              <a:gd name="connsiteY175" fmla="*/ 98339 h 662520"/>
              <a:gd name="connsiteX176" fmla="*/ 1835026 w 2322930"/>
              <a:gd name="connsiteY176" fmla="*/ 68062 h 662520"/>
              <a:gd name="connsiteX177" fmla="*/ 1867005 w 2322930"/>
              <a:gd name="connsiteY177" fmla="*/ 43413 h 662520"/>
              <a:gd name="connsiteX178" fmla="*/ 1901908 w 2322930"/>
              <a:gd name="connsiteY178" fmla="*/ 24337 h 662520"/>
              <a:gd name="connsiteX179" fmla="*/ 1939202 w 2322930"/>
              <a:gd name="connsiteY179" fmla="*/ 10780 h 662520"/>
              <a:gd name="connsiteX180" fmla="*/ 1978353 w 2322930"/>
              <a:gd name="connsiteY180" fmla="*/ 2685 h 662520"/>
              <a:gd name="connsiteX181" fmla="*/ 2018830 w 2322930"/>
              <a:gd name="connsiteY181" fmla="*/ 0 h 662520"/>
              <a:gd name="connsiteX182" fmla="*/ 2059309 w 2322930"/>
              <a:gd name="connsiteY182" fmla="*/ 2685 h 662520"/>
              <a:gd name="connsiteX183" fmla="*/ 2098463 w 2322930"/>
              <a:gd name="connsiteY183" fmla="*/ 10780 h 662520"/>
              <a:gd name="connsiteX184" fmla="*/ 2135759 w 2322930"/>
              <a:gd name="connsiteY184" fmla="*/ 24337 h 662520"/>
              <a:gd name="connsiteX185" fmla="*/ 2170664 w 2322930"/>
              <a:gd name="connsiteY185" fmla="*/ 43413 h 662520"/>
              <a:gd name="connsiteX186" fmla="*/ 2202644 w 2322930"/>
              <a:gd name="connsiteY186" fmla="*/ 68062 h 662520"/>
              <a:gd name="connsiteX187" fmla="*/ 2231166 w 2322930"/>
              <a:gd name="connsiteY187" fmla="*/ 98339 h 662520"/>
              <a:gd name="connsiteX188" fmla="*/ 2255698 w 2322930"/>
              <a:gd name="connsiteY188" fmla="*/ 134299 h 662520"/>
              <a:gd name="connsiteX189" fmla="*/ 2275706 w 2322930"/>
              <a:gd name="connsiteY189" fmla="*/ 175997 h 662520"/>
              <a:gd name="connsiteX190" fmla="*/ 2290658 w 2322930"/>
              <a:gd name="connsiteY190" fmla="*/ 223488 h 662520"/>
              <a:gd name="connsiteX191" fmla="*/ 2300020 w 2322930"/>
              <a:gd name="connsiteY191" fmla="*/ 276826 h 662520"/>
              <a:gd name="connsiteX192" fmla="*/ 2303259 w 2322930"/>
              <a:gd name="connsiteY192" fmla="*/ 336067 h 662520"/>
              <a:gd name="connsiteX193" fmla="*/ 2299941 w 2322930"/>
              <a:gd name="connsiteY193" fmla="*/ 395991 h 662520"/>
              <a:gd name="connsiteX194" fmla="*/ 2290357 w 2322930"/>
              <a:gd name="connsiteY194" fmla="*/ 449869 h 662520"/>
              <a:gd name="connsiteX195" fmla="*/ 2275059 w 2322930"/>
              <a:gd name="connsiteY195" fmla="*/ 497757 h 662520"/>
              <a:gd name="connsiteX196" fmla="*/ 2254600 w 2322930"/>
              <a:gd name="connsiteY196" fmla="*/ 539713 h 662520"/>
              <a:gd name="connsiteX197" fmla="*/ 2229533 w 2322930"/>
              <a:gd name="connsiteY197" fmla="*/ 575793 h 662520"/>
              <a:gd name="connsiteX198" fmla="*/ 2200411 w 2322930"/>
              <a:gd name="connsiteY198" fmla="*/ 606054 h 662520"/>
              <a:gd name="connsiteX199" fmla="*/ 2167787 w 2322930"/>
              <a:gd name="connsiteY199" fmla="*/ 630553 h 662520"/>
              <a:gd name="connsiteX200" fmla="*/ 2132213 w 2322930"/>
              <a:gd name="connsiteY200" fmla="*/ 649348 h 662520"/>
              <a:gd name="connsiteX201" fmla="*/ 2094242 w 2322930"/>
              <a:gd name="connsiteY201" fmla="*/ 662495 h 662520"/>
              <a:gd name="connsiteX202" fmla="*/ 2322930 w 2322930"/>
              <a:gd name="connsiteY202" fmla="*/ 395984 h 662520"/>
              <a:gd name="connsiteX203" fmla="*/ 2319616 w 2322930"/>
              <a:gd name="connsiteY203" fmla="*/ 336067 h 662520"/>
              <a:gd name="connsiteX0" fmla="*/ 74231 w 2322930"/>
              <a:gd name="connsiteY0" fmla="*/ 662482 h 662520"/>
              <a:gd name="connsiteX1" fmla="*/ 60344 w 2322930"/>
              <a:gd name="connsiteY1" fmla="*/ 659582 h 662520"/>
              <a:gd name="connsiteX2" fmla="*/ 47517 w 2322930"/>
              <a:gd name="connsiteY2" fmla="*/ 656437 h 662520"/>
              <a:gd name="connsiteX3" fmla="*/ 35823 w 2322930"/>
              <a:gd name="connsiteY3" fmla="*/ 653092 h 662520"/>
              <a:gd name="connsiteX4" fmla="*/ 25336 w 2322930"/>
              <a:gd name="connsiteY4" fmla="*/ 649592 h 662520"/>
              <a:gd name="connsiteX5" fmla="*/ 25336 w 2322930"/>
              <a:gd name="connsiteY5" fmla="*/ 533196 h 662520"/>
              <a:gd name="connsiteX6" fmla="*/ 104190 w 2322930"/>
              <a:gd name="connsiteY6" fmla="*/ 533196 h 662520"/>
              <a:gd name="connsiteX7" fmla="*/ 116931 w 2322930"/>
              <a:gd name="connsiteY7" fmla="*/ 550133 h 662520"/>
              <a:gd name="connsiteX8" fmla="*/ 135043 w 2322930"/>
              <a:gd name="connsiteY8" fmla="*/ 564522 h 662520"/>
              <a:gd name="connsiteX9" fmla="*/ 160020 w 2322930"/>
              <a:gd name="connsiteY9" fmla="*/ 574514 h 662520"/>
              <a:gd name="connsiteX10" fmla="*/ 193357 w 2322930"/>
              <a:gd name="connsiteY10" fmla="*/ 578256 h 662520"/>
              <a:gd name="connsiteX11" fmla="*/ 233829 w 2322930"/>
              <a:gd name="connsiteY11" fmla="*/ 573672 h 662520"/>
              <a:gd name="connsiteX12" fmla="*/ 297105 w 2322930"/>
              <a:gd name="connsiteY12" fmla="*/ 537246 h 662520"/>
              <a:gd name="connsiteX13" fmla="*/ 320040 w 2322930"/>
              <a:gd name="connsiteY13" fmla="*/ 505568 h 662520"/>
              <a:gd name="connsiteX14" fmla="*/ 337261 w 2322930"/>
              <a:gd name="connsiteY14" fmla="*/ 465022 h 662520"/>
              <a:gd name="connsiteX15" fmla="*/ 348834 w 2322930"/>
              <a:gd name="connsiteY15" fmla="*/ 415691 h 662520"/>
              <a:gd name="connsiteX16" fmla="*/ 354825 w 2322930"/>
              <a:gd name="connsiteY16" fmla="*/ 357657 h 662520"/>
              <a:gd name="connsiteX17" fmla="*/ 325357 w 2322930"/>
              <a:gd name="connsiteY17" fmla="*/ 385098 h 662520"/>
              <a:gd name="connsiteX18" fmla="*/ 289466 w 2322930"/>
              <a:gd name="connsiteY18" fmla="*/ 406117 h 662520"/>
              <a:gd name="connsiteX19" fmla="*/ 247767 w 2322930"/>
              <a:gd name="connsiteY19" fmla="*/ 419568 h 662520"/>
              <a:gd name="connsiteX20" fmla="*/ 200875 w 2322930"/>
              <a:gd name="connsiteY20" fmla="*/ 424306 h 662520"/>
              <a:gd name="connsiteX21" fmla="*/ 153099 w 2322930"/>
              <a:gd name="connsiteY21" fmla="*/ 420031 h 662520"/>
              <a:gd name="connsiteX22" fmla="*/ 110150 w 2322930"/>
              <a:gd name="connsiteY22" fmla="*/ 407348 h 662520"/>
              <a:gd name="connsiteX23" fmla="*/ 72948 w 2322930"/>
              <a:gd name="connsiteY23" fmla="*/ 386472 h 662520"/>
              <a:gd name="connsiteX24" fmla="*/ 42412 w 2322930"/>
              <a:gd name="connsiteY24" fmla="*/ 357614 h 662520"/>
              <a:gd name="connsiteX25" fmla="*/ 19463 w 2322930"/>
              <a:gd name="connsiteY25" fmla="*/ 320990 h 662520"/>
              <a:gd name="connsiteX26" fmla="*/ 5019 w 2322930"/>
              <a:gd name="connsiteY26" fmla="*/ 276814 h 662520"/>
              <a:gd name="connsiteX27" fmla="*/ 0 w 2322930"/>
              <a:gd name="connsiteY27" fmla="*/ 225297 h 662520"/>
              <a:gd name="connsiteX28" fmla="*/ 4447 w 2322930"/>
              <a:gd name="connsiteY28" fmla="*/ 178425 h 662520"/>
              <a:gd name="connsiteX29" fmla="*/ 17453 w 2322930"/>
              <a:gd name="connsiteY29" fmla="*/ 135445 h 662520"/>
              <a:gd name="connsiteX30" fmla="*/ 38511 w 2322930"/>
              <a:gd name="connsiteY30" fmla="*/ 97085 h 662520"/>
              <a:gd name="connsiteX31" fmla="*/ 67116 w 2322930"/>
              <a:gd name="connsiteY31" fmla="*/ 64071 h 662520"/>
              <a:gd name="connsiteX32" fmla="*/ 102760 w 2322930"/>
              <a:gd name="connsiteY32" fmla="*/ 37129 h 662520"/>
              <a:gd name="connsiteX33" fmla="*/ 144939 w 2322930"/>
              <a:gd name="connsiteY33" fmla="*/ 16986 h 662520"/>
              <a:gd name="connsiteX34" fmla="*/ 193146 w 2322930"/>
              <a:gd name="connsiteY34" fmla="*/ 4367 h 662520"/>
              <a:gd name="connsiteX35" fmla="*/ 246875 w 2322930"/>
              <a:gd name="connsiteY35" fmla="*/ 0 h 662520"/>
              <a:gd name="connsiteX36" fmla="*/ 290625 w 2322930"/>
              <a:gd name="connsiteY36" fmla="*/ 2882 h 662520"/>
              <a:gd name="connsiteX37" fmla="*/ 331492 w 2322930"/>
              <a:gd name="connsiteY37" fmla="*/ 11678 h 662520"/>
              <a:gd name="connsiteX38" fmla="*/ 369070 w 2322930"/>
              <a:gd name="connsiteY38" fmla="*/ 26614 h 662520"/>
              <a:gd name="connsiteX39" fmla="*/ 402953 w 2322930"/>
              <a:gd name="connsiteY39" fmla="*/ 47914 h 662520"/>
              <a:gd name="connsiteX40" fmla="*/ 432736 w 2322930"/>
              <a:gd name="connsiteY40" fmla="*/ 75804 h 662520"/>
              <a:gd name="connsiteX41" fmla="*/ 458013 w 2322930"/>
              <a:gd name="connsiteY41" fmla="*/ 110509 h 662520"/>
              <a:gd name="connsiteX42" fmla="*/ 478379 w 2322930"/>
              <a:gd name="connsiteY42" fmla="*/ 152255 h 662520"/>
              <a:gd name="connsiteX43" fmla="*/ 493429 w 2322930"/>
              <a:gd name="connsiteY43" fmla="*/ 201265 h 662520"/>
              <a:gd name="connsiteX44" fmla="*/ 502756 w 2322930"/>
              <a:gd name="connsiteY44" fmla="*/ 257766 h 662520"/>
              <a:gd name="connsiteX45" fmla="*/ 505955 w 2322930"/>
              <a:gd name="connsiteY45" fmla="*/ 321983 h 662520"/>
              <a:gd name="connsiteX46" fmla="*/ 503406 w 2322930"/>
              <a:gd name="connsiteY46" fmla="*/ 376707 h 662520"/>
              <a:gd name="connsiteX47" fmla="*/ 495858 w 2322930"/>
              <a:gd name="connsiteY47" fmla="*/ 427041 h 662520"/>
              <a:gd name="connsiteX48" fmla="*/ 483456 w 2322930"/>
              <a:gd name="connsiteY48" fmla="*/ 472909 h 662520"/>
              <a:gd name="connsiteX49" fmla="*/ 466346 w 2322930"/>
              <a:gd name="connsiteY49" fmla="*/ 514232 h 662520"/>
              <a:gd name="connsiteX50" fmla="*/ 444674 w 2322930"/>
              <a:gd name="connsiteY50" fmla="*/ 550937 h 662520"/>
              <a:gd name="connsiteX51" fmla="*/ 418587 w 2322930"/>
              <a:gd name="connsiteY51" fmla="*/ 582945 h 662520"/>
              <a:gd name="connsiteX52" fmla="*/ 388229 w 2322930"/>
              <a:gd name="connsiteY52" fmla="*/ 610181 h 662520"/>
              <a:gd name="connsiteX53" fmla="*/ 353748 w 2322930"/>
              <a:gd name="connsiteY53" fmla="*/ 632569 h 662520"/>
              <a:gd name="connsiteX54" fmla="*/ 315289 w 2322930"/>
              <a:gd name="connsiteY54" fmla="*/ 650033 h 662520"/>
              <a:gd name="connsiteX55" fmla="*/ 272999 w 2322930"/>
              <a:gd name="connsiteY55" fmla="*/ 662495 h 662520"/>
              <a:gd name="connsiteX56" fmla="*/ 592162 w 2322930"/>
              <a:gd name="connsiteY56" fmla="*/ 662520 h 662520"/>
              <a:gd name="connsiteX57" fmla="*/ 571167 w 2322930"/>
              <a:gd name="connsiteY57" fmla="*/ 658030 h 662520"/>
              <a:gd name="connsiteX58" fmla="*/ 551373 w 2322930"/>
              <a:gd name="connsiteY58" fmla="*/ 652783 h 662520"/>
              <a:gd name="connsiteX59" fmla="*/ 532537 w 2322930"/>
              <a:gd name="connsiteY59" fmla="*/ 646826 h 662520"/>
              <a:gd name="connsiteX60" fmla="*/ 514413 w 2322930"/>
              <a:gd name="connsiteY60" fmla="*/ 640206 h 662520"/>
              <a:gd name="connsiteX61" fmla="*/ 514413 w 2322930"/>
              <a:gd name="connsiteY61" fmla="*/ 516293 h 662520"/>
              <a:gd name="connsiteX62" fmla="*/ 596087 w 2322930"/>
              <a:gd name="connsiteY62" fmla="*/ 516293 h 662520"/>
              <a:gd name="connsiteX63" fmla="*/ 612203 w 2322930"/>
              <a:gd name="connsiteY63" fmla="*/ 539439 h 662520"/>
              <a:gd name="connsiteX64" fmla="*/ 635627 w 2322930"/>
              <a:gd name="connsiteY64" fmla="*/ 559242 h 662520"/>
              <a:gd name="connsiteX65" fmla="*/ 666972 w 2322930"/>
              <a:gd name="connsiteY65" fmla="*/ 573062 h 662520"/>
              <a:gd name="connsiteX66" fmla="*/ 706856 w 2322930"/>
              <a:gd name="connsiteY66" fmla="*/ 578256 h 662520"/>
              <a:gd name="connsiteX67" fmla="*/ 749359 w 2322930"/>
              <a:gd name="connsiteY67" fmla="*/ 571758 h 662520"/>
              <a:gd name="connsiteX68" fmla="*/ 784298 w 2322930"/>
              <a:gd name="connsiteY68" fmla="*/ 552322 h 662520"/>
              <a:gd name="connsiteX69" fmla="*/ 807972 w 2322930"/>
              <a:gd name="connsiteY69" fmla="*/ 520038 h 662520"/>
              <a:gd name="connsiteX70" fmla="*/ 816686 w 2322930"/>
              <a:gd name="connsiteY70" fmla="*/ 474992 h 662520"/>
              <a:gd name="connsiteX71" fmla="*/ 809424 w 2322930"/>
              <a:gd name="connsiteY71" fmla="*/ 430240 h 662520"/>
              <a:gd name="connsiteX72" fmla="*/ 787466 w 2322930"/>
              <a:gd name="connsiteY72" fmla="*/ 398602 h 662520"/>
              <a:gd name="connsiteX73" fmla="*/ 750549 w 2322930"/>
              <a:gd name="connsiteY73" fmla="*/ 379812 h 662520"/>
              <a:gd name="connsiteX74" fmla="*/ 698411 w 2322930"/>
              <a:gd name="connsiteY74" fmla="*/ 373608 h 662520"/>
              <a:gd name="connsiteX75" fmla="*/ 649592 w 2322930"/>
              <a:gd name="connsiteY75" fmla="*/ 373608 h 662520"/>
              <a:gd name="connsiteX76" fmla="*/ 649592 w 2322930"/>
              <a:gd name="connsiteY76" fmla="*/ 286308 h 662520"/>
              <a:gd name="connsiteX77" fmla="*/ 690892 w 2322930"/>
              <a:gd name="connsiteY77" fmla="*/ 286308 h 662520"/>
              <a:gd name="connsiteX78" fmla="*/ 744563 w 2322930"/>
              <a:gd name="connsiteY78" fmla="*/ 280133 h 662520"/>
              <a:gd name="connsiteX79" fmla="*/ 783007 w 2322930"/>
              <a:gd name="connsiteY79" fmla="*/ 261550 h 662520"/>
              <a:gd name="connsiteX80" fmla="*/ 806137 w 2322930"/>
              <a:gd name="connsiteY80" fmla="*/ 230469 h 662520"/>
              <a:gd name="connsiteX81" fmla="*/ 813866 w 2322930"/>
              <a:gd name="connsiteY81" fmla="*/ 186804 h 662520"/>
              <a:gd name="connsiteX82" fmla="*/ 808513 w 2322930"/>
              <a:gd name="connsiteY82" fmla="*/ 149115 h 662520"/>
              <a:gd name="connsiteX83" fmla="*/ 792160 w 2322930"/>
              <a:gd name="connsiteY83" fmla="*/ 121104 h 662520"/>
              <a:gd name="connsiteX84" fmla="*/ 764365 w 2322930"/>
              <a:gd name="connsiteY84" fmla="*/ 103651 h 662520"/>
              <a:gd name="connsiteX85" fmla="*/ 724687 w 2322930"/>
              <a:gd name="connsiteY85" fmla="*/ 97637 h 662520"/>
              <a:gd name="connsiteX86" fmla="*/ 687243 w 2322930"/>
              <a:gd name="connsiteY86" fmla="*/ 102374 h 662520"/>
              <a:gd name="connsiteX87" fmla="*/ 657456 w 2322930"/>
              <a:gd name="connsiteY87" fmla="*/ 115117 h 662520"/>
              <a:gd name="connsiteX88" fmla="*/ 634533 w 2322930"/>
              <a:gd name="connsiteY88" fmla="*/ 133668 h 662520"/>
              <a:gd name="connsiteX89" fmla="*/ 617677 w 2322930"/>
              <a:gd name="connsiteY89" fmla="*/ 155828 h 662520"/>
              <a:gd name="connsiteX90" fmla="*/ 539775 w 2322930"/>
              <a:gd name="connsiteY90" fmla="*/ 155828 h 662520"/>
              <a:gd name="connsiteX91" fmla="*/ 539775 w 2322930"/>
              <a:gd name="connsiteY91" fmla="*/ 33807 h 662520"/>
              <a:gd name="connsiteX92" fmla="*/ 584006 w 2322930"/>
              <a:gd name="connsiteY92" fmla="*/ 19813 h 662520"/>
              <a:gd name="connsiteX93" fmla="*/ 631056 w 2322930"/>
              <a:gd name="connsiteY93" fmla="*/ 9159 h 662520"/>
              <a:gd name="connsiteX94" fmla="*/ 681278 w 2322930"/>
              <a:gd name="connsiteY94" fmla="*/ 2378 h 662520"/>
              <a:gd name="connsiteX95" fmla="*/ 735025 w 2322930"/>
              <a:gd name="connsiteY95" fmla="*/ 0 h 662520"/>
              <a:gd name="connsiteX96" fmla="*/ 790395 w 2322930"/>
              <a:gd name="connsiteY96" fmla="*/ 3158 h 662520"/>
              <a:gd name="connsiteX97" fmla="*/ 838689 w 2322930"/>
              <a:gd name="connsiteY97" fmla="*/ 12853 h 662520"/>
              <a:gd name="connsiteX98" fmla="*/ 879380 w 2322930"/>
              <a:gd name="connsiteY98" fmla="*/ 29412 h 662520"/>
              <a:gd name="connsiteX99" fmla="*/ 911943 w 2322930"/>
              <a:gd name="connsiteY99" fmla="*/ 53163 h 662520"/>
              <a:gd name="connsiteX100" fmla="*/ 935853 w 2322930"/>
              <a:gd name="connsiteY100" fmla="*/ 84435 h 662520"/>
              <a:gd name="connsiteX101" fmla="*/ 950584 w 2322930"/>
              <a:gd name="connsiteY101" fmla="*/ 123555 h 662520"/>
              <a:gd name="connsiteX102" fmla="*/ 955611 w 2322930"/>
              <a:gd name="connsiteY102" fmla="*/ 170853 h 662520"/>
              <a:gd name="connsiteX103" fmla="*/ 949453 w 2322930"/>
              <a:gd name="connsiteY103" fmla="*/ 219568 h 662520"/>
              <a:gd name="connsiteX104" fmla="*/ 931581 w 2322930"/>
              <a:gd name="connsiteY104" fmla="*/ 258234 h 662520"/>
              <a:gd name="connsiteX105" fmla="*/ 902895 w 2322930"/>
              <a:gd name="connsiteY105" fmla="*/ 287843 h 662520"/>
              <a:gd name="connsiteX106" fmla="*/ 864296 w 2322930"/>
              <a:gd name="connsiteY106" fmla="*/ 309388 h 662520"/>
              <a:gd name="connsiteX107" fmla="*/ 816686 w 2322930"/>
              <a:gd name="connsiteY107" fmla="*/ 323862 h 662520"/>
              <a:gd name="connsiteX108" fmla="*/ 816686 w 2322930"/>
              <a:gd name="connsiteY108" fmla="*/ 327609 h 662520"/>
              <a:gd name="connsiteX109" fmla="*/ 870681 w 2322930"/>
              <a:gd name="connsiteY109" fmla="*/ 340566 h 662520"/>
              <a:gd name="connsiteX110" fmla="*/ 912283 w 2322930"/>
              <a:gd name="connsiteY110" fmla="*/ 362534 h 662520"/>
              <a:gd name="connsiteX111" fmla="*/ 941719 w 2322930"/>
              <a:gd name="connsiteY111" fmla="*/ 393513 h 662520"/>
              <a:gd name="connsiteX112" fmla="*/ 959215 w 2322930"/>
              <a:gd name="connsiteY112" fmla="*/ 433502 h 662520"/>
              <a:gd name="connsiteX113" fmla="*/ 964996 w 2322930"/>
              <a:gd name="connsiteY113" fmla="*/ 482498 h 662520"/>
              <a:gd name="connsiteX114" fmla="*/ 959936 w 2322930"/>
              <a:gd name="connsiteY114" fmla="*/ 527743 h 662520"/>
              <a:gd name="connsiteX115" fmla="*/ 944659 w 2322930"/>
              <a:gd name="connsiteY115" fmla="*/ 567021 h 662520"/>
              <a:gd name="connsiteX116" fmla="*/ 920122 w 2322930"/>
              <a:gd name="connsiteY116" fmla="*/ 600232 h 662520"/>
              <a:gd name="connsiteX117" fmla="*/ 887285 w 2322930"/>
              <a:gd name="connsiteY117" fmla="*/ 627278 h 662520"/>
              <a:gd name="connsiteX118" fmla="*/ 847106 w 2322930"/>
              <a:gd name="connsiteY118" fmla="*/ 648061 h 662520"/>
              <a:gd name="connsiteX119" fmla="*/ 800544 w 2322930"/>
              <a:gd name="connsiteY119" fmla="*/ 662482 h 662520"/>
              <a:gd name="connsiteX120" fmla="*/ 1360843 w 2322930"/>
              <a:gd name="connsiteY120" fmla="*/ 662495 h 662520"/>
              <a:gd name="connsiteX121" fmla="*/ 1322871 w 2322930"/>
              <a:gd name="connsiteY121" fmla="*/ 649352 h 662520"/>
              <a:gd name="connsiteX122" fmla="*/ 1287296 w 2322930"/>
              <a:gd name="connsiteY122" fmla="*/ 630560 h 662520"/>
              <a:gd name="connsiteX123" fmla="*/ 1254670 w 2322930"/>
              <a:gd name="connsiteY123" fmla="*/ 606062 h 662520"/>
              <a:gd name="connsiteX124" fmla="*/ 1225546 w 2322930"/>
              <a:gd name="connsiteY124" fmla="*/ 575802 h 662520"/>
              <a:gd name="connsiteX125" fmla="*/ 1200477 w 2322930"/>
              <a:gd name="connsiteY125" fmla="*/ 539722 h 662520"/>
              <a:gd name="connsiteX126" fmla="*/ 1180016 w 2322930"/>
              <a:gd name="connsiteY126" fmla="*/ 497766 h 662520"/>
              <a:gd name="connsiteX127" fmla="*/ 1164717 w 2322930"/>
              <a:gd name="connsiteY127" fmla="*/ 449876 h 662520"/>
              <a:gd name="connsiteX128" fmla="*/ 1155131 w 2322930"/>
              <a:gd name="connsiteY128" fmla="*/ 395995 h 662520"/>
              <a:gd name="connsiteX129" fmla="*/ 1151813 w 2322930"/>
              <a:gd name="connsiteY129" fmla="*/ 336067 h 662520"/>
              <a:gd name="connsiteX130" fmla="*/ 1155053 w 2322930"/>
              <a:gd name="connsiteY130" fmla="*/ 276826 h 662520"/>
              <a:gd name="connsiteX131" fmla="*/ 1164415 w 2322930"/>
              <a:gd name="connsiteY131" fmla="*/ 223488 h 662520"/>
              <a:gd name="connsiteX132" fmla="*/ 1179368 w 2322930"/>
              <a:gd name="connsiteY132" fmla="*/ 175997 h 662520"/>
              <a:gd name="connsiteX133" fmla="*/ 1199377 w 2322930"/>
              <a:gd name="connsiteY133" fmla="*/ 134299 h 662520"/>
              <a:gd name="connsiteX134" fmla="*/ 1223910 w 2322930"/>
              <a:gd name="connsiteY134" fmla="*/ 98339 h 662520"/>
              <a:gd name="connsiteX135" fmla="*/ 1252434 w 2322930"/>
              <a:gd name="connsiteY135" fmla="*/ 68062 h 662520"/>
              <a:gd name="connsiteX136" fmla="*/ 1284414 w 2322930"/>
              <a:gd name="connsiteY136" fmla="*/ 43413 h 662520"/>
              <a:gd name="connsiteX137" fmla="*/ 1319318 w 2322930"/>
              <a:gd name="connsiteY137" fmla="*/ 24337 h 662520"/>
              <a:gd name="connsiteX138" fmla="*/ 1356613 w 2322930"/>
              <a:gd name="connsiteY138" fmla="*/ 10780 h 662520"/>
              <a:gd name="connsiteX139" fmla="*/ 1395766 w 2322930"/>
              <a:gd name="connsiteY139" fmla="*/ 2685 h 662520"/>
              <a:gd name="connsiteX140" fmla="*/ 1436243 w 2322930"/>
              <a:gd name="connsiteY140" fmla="*/ 0 h 662520"/>
              <a:gd name="connsiteX141" fmla="*/ 1476722 w 2322930"/>
              <a:gd name="connsiteY141" fmla="*/ 2685 h 662520"/>
              <a:gd name="connsiteX142" fmla="*/ 1515876 w 2322930"/>
              <a:gd name="connsiteY142" fmla="*/ 10780 h 662520"/>
              <a:gd name="connsiteX143" fmla="*/ 1553172 w 2322930"/>
              <a:gd name="connsiteY143" fmla="*/ 24337 h 662520"/>
              <a:gd name="connsiteX144" fmla="*/ 1588076 w 2322930"/>
              <a:gd name="connsiteY144" fmla="*/ 43413 h 662520"/>
              <a:gd name="connsiteX145" fmla="*/ 1620056 w 2322930"/>
              <a:gd name="connsiteY145" fmla="*/ 68062 h 662520"/>
              <a:gd name="connsiteX146" fmla="*/ 1648579 w 2322930"/>
              <a:gd name="connsiteY146" fmla="*/ 98339 h 662520"/>
              <a:gd name="connsiteX147" fmla="*/ 1673111 w 2322930"/>
              <a:gd name="connsiteY147" fmla="*/ 134299 h 662520"/>
              <a:gd name="connsiteX148" fmla="*/ 1693119 w 2322930"/>
              <a:gd name="connsiteY148" fmla="*/ 175997 h 662520"/>
              <a:gd name="connsiteX149" fmla="*/ 1708071 w 2322930"/>
              <a:gd name="connsiteY149" fmla="*/ 223488 h 662520"/>
              <a:gd name="connsiteX150" fmla="*/ 1717433 w 2322930"/>
              <a:gd name="connsiteY150" fmla="*/ 276826 h 662520"/>
              <a:gd name="connsiteX151" fmla="*/ 1720672 w 2322930"/>
              <a:gd name="connsiteY151" fmla="*/ 336067 h 662520"/>
              <a:gd name="connsiteX152" fmla="*/ 1717354 w 2322930"/>
              <a:gd name="connsiteY152" fmla="*/ 395995 h 662520"/>
              <a:gd name="connsiteX153" fmla="*/ 1707768 w 2322930"/>
              <a:gd name="connsiteY153" fmla="*/ 449876 h 662520"/>
              <a:gd name="connsiteX154" fmla="*/ 1692469 w 2322930"/>
              <a:gd name="connsiteY154" fmla="*/ 497766 h 662520"/>
              <a:gd name="connsiteX155" fmla="*/ 1672008 w 2322930"/>
              <a:gd name="connsiteY155" fmla="*/ 539722 h 662520"/>
              <a:gd name="connsiteX156" fmla="*/ 1646939 w 2322930"/>
              <a:gd name="connsiteY156" fmla="*/ 575802 h 662520"/>
              <a:gd name="connsiteX157" fmla="*/ 1617815 w 2322930"/>
              <a:gd name="connsiteY157" fmla="*/ 606062 h 662520"/>
              <a:gd name="connsiteX158" fmla="*/ 1585189 w 2322930"/>
              <a:gd name="connsiteY158" fmla="*/ 630560 h 662520"/>
              <a:gd name="connsiteX159" fmla="*/ 1549614 w 2322930"/>
              <a:gd name="connsiteY159" fmla="*/ 649352 h 662520"/>
              <a:gd name="connsiteX160" fmla="*/ 1511642 w 2322930"/>
              <a:gd name="connsiteY160" fmla="*/ 662495 h 662520"/>
              <a:gd name="connsiteX161" fmla="*/ 1943430 w 2322930"/>
              <a:gd name="connsiteY161" fmla="*/ 662495 h 662520"/>
              <a:gd name="connsiteX162" fmla="*/ 1905459 w 2322930"/>
              <a:gd name="connsiteY162" fmla="*/ 649348 h 662520"/>
              <a:gd name="connsiteX163" fmla="*/ 1869885 w 2322930"/>
              <a:gd name="connsiteY163" fmla="*/ 630555 h 662520"/>
              <a:gd name="connsiteX164" fmla="*/ 1837261 w 2322930"/>
              <a:gd name="connsiteY164" fmla="*/ 606057 h 662520"/>
              <a:gd name="connsiteX165" fmla="*/ 1808138 w 2322930"/>
              <a:gd name="connsiteY165" fmla="*/ 575797 h 662520"/>
              <a:gd name="connsiteX166" fmla="*/ 1783072 w 2322930"/>
              <a:gd name="connsiteY166" fmla="*/ 539718 h 662520"/>
              <a:gd name="connsiteX167" fmla="*/ 1762613 w 2322930"/>
              <a:gd name="connsiteY167" fmla="*/ 497763 h 662520"/>
              <a:gd name="connsiteX168" fmla="*/ 1747315 w 2322930"/>
              <a:gd name="connsiteY168" fmla="*/ 449874 h 662520"/>
              <a:gd name="connsiteX169" fmla="*/ 1737731 w 2322930"/>
              <a:gd name="connsiteY169" fmla="*/ 395995 h 662520"/>
              <a:gd name="connsiteX170" fmla="*/ 1734413 w 2322930"/>
              <a:gd name="connsiteY170" fmla="*/ 336067 h 662520"/>
              <a:gd name="connsiteX171" fmla="*/ 1737652 w 2322930"/>
              <a:gd name="connsiteY171" fmla="*/ 276826 h 662520"/>
              <a:gd name="connsiteX172" fmla="*/ 1747014 w 2322930"/>
              <a:gd name="connsiteY172" fmla="*/ 223488 h 662520"/>
              <a:gd name="connsiteX173" fmla="*/ 1761965 w 2322930"/>
              <a:gd name="connsiteY173" fmla="*/ 175997 h 662520"/>
              <a:gd name="connsiteX174" fmla="*/ 1781973 w 2322930"/>
              <a:gd name="connsiteY174" fmla="*/ 134299 h 662520"/>
              <a:gd name="connsiteX175" fmla="*/ 1806505 w 2322930"/>
              <a:gd name="connsiteY175" fmla="*/ 98339 h 662520"/>
              <a:gd name="connsiteX176" fmla="*/ 1835026 w 2322930"/>
              <a:gd name="connsiteY176" fmla="*/ 68062 h 662520"/>
              <a:gd name="connsiteX177" fmla="*/ 1867005 w 2322930"/>
              <a:gd name="connsiteY177" fmla="*/ 43413 h 662520"/>
              <a:gd name="connsiteX178" fmla="*/ 1901908 w 2322930"/>
              <a:gd name="connsiteY178" fmla="*/ 24337 h 662520"/>
              <a:gd name="connsiteX179" fmla="*/ 1939202 w 2322930"/>
              <a:gd name="connsiteY179" fmla="*/ 10780 h 662520"/>
              <a:gd name="connsiteX180" fmla="*/ 1978353 w 2322930"/>
              <a:gd name="connsiteY180" fmla="*/ 2685 h 662520"/>
              <a:gd name="connsiteX181" fmla="*/ 2018830 w 2322930"/>
              <a:gd name="connsiteY181" fmla="*/ 0 h 662520"/>
              <a:gd name="connsiteX182" fmla="*/ 2059309 w 2322930"/>
              <a:gd name="connsiteY182" fmla="*/ 2685 h 662520"/>
              <a:gd name="connsiteX183" fmla="*/ 2098463 w 2322930"/>
              <a:gd name="connsiteY183" fmla="*/ 10780 h 662520"/>
              <a:gd name="connsiteX184" fmla="*/ 2135759 w 2322930"/>
              <a:gd name="connsiteY184" fmla="*/ 24337 h 662520"/>
              <a:gd name="connsiteX185" fmla="*/ 2170664 w 2322930"/>
              <a:gd name="connsiteY185" fmla="*/ 43413 h 662520"/>
              <a:gd name="connsiteX186" fmla="*/ 2202644 w 2322930"/>
              <a:gd name="connsiteY186" fmla="*/ 68062 h 662520"/>
              <a:gd name="connsiteX187" fmla="*/ 2231166 w 2322930"/>
              <a:gd name="connsiteY187" fmla="*/ 98339 h 662520"/>
              <a:gd name="connsiteX188" fmla="*/ 2255698 w 2322930"/>
              <a:gd name="connsiteY188" fmla="*/ 134299 h 662520"/>
              <a:gd name="connsiteX189" fmla="*/ 2275706 w 2322930"/>
              <a:gd name="connsiteY189" fmla="*/ 175997 h 662520"/>
              <a:gd name="connsiteX190" fmla="*/ 2290658 w 2322930"/>
              <a:gd name="connsiteY190" fmla="*/ 223488 h 662520"/>
              <a:gd name="connsiteX191" fmla="*/ 2300020 w 2322930"/>
              <a:gd name="connsiteY191" fmla="*/ 276826 h 662520"/>
              <a:gd name="connsiteX192" fmla="*/ 2303259 w 2322930"/>
              <a:gd name="connsiteY192" fmla="*/ 336067 h 662520"/>
              <a:gd name="connsiteX193" fmla="*/ 2299941 w 2322930"/>
              <a:gd name="connsiteY193" fmla="*/ 395991 h 662520"/>
              <a:gd name="connsiteX194" fmla="*/ 2290357 w 2322930"/>
              <a:gd name="connsiteY194" fmla="*/ 449869 h 662520"/>
              <a:gd name="connsiteX195" fmla="*/ 2275059 w 2322930"/>
              <a:gd name="connsiteY195" fmla="*/ 497757 h 662520"/>
              <a:gd name="connsiteX196" fmla="*/ 2254600 w 2322930"/>
              <a:gd name="connsiteY196" fmla="*/ 539713 h 662520"/>
              <a:gd name="connsiteX197" fmla="*/ 2229533 w 2322930"/>
              <a:gd name="connsiteY197" fmla="*/ 575793 h 662520"/>
              <a:gd name="connsiteX198" fmla="*/ 2200411 w 2322930"/>
              <a:gd name="connsiteY198" fmla="*/ 606054 h 662520"/>
              <a:gd name="connsiteX199" fmla="*/ 2167787 w 2322930"/>
              <a:gd name="connsiteY199" fmla="*/ 630553 h 662520"/>
              <a:gd name="connsiteX200" fmla="*/ 2132213 w 2322930"/>
              <a:gd name="connsiteY200" fmla="*/ 649348 h 662520"/>
              <a:gd name="connsiteX201" fmla="*/ 2094242 w 2322930"/>
              <a:gd name="connsiteY201" fmla="*/ 662495 h 662520"/>
              <a:gd name="connsiteX202" fmla="*/ 2322930 w 2322930"/>
              <a:gd name="connsiteY202" fmla="*/ 395984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193" fmla="*/ 2299941 w 2303259"/>
              <a:gd name="connsiteY193" fmla="*/ 395991 h 662520"/>
              <a:gd name="connsiteX194" fmla="*/ 2290357 w 2303259"/>
              <a:gd name="connsiteY194" fmla="*/ 449869 h 662520"/>
              <a:gd name="connsiteX195" fmla="*/ 2275059 w 2303259"/>
              <a:gd name="connsiteY195" fmla="*/ 497757 h 662520"/>
              <a:gd name="connsiteX196" fmla="*/ 2254600 w 2303259"/>
              <a:gd name="connsiteY196" fmla="*/ 539713 h 662520"/>
              <a:gd name="connsiteX197" fmla="*/ 2229533 w 2303259"/>
              <a:gd name="connsiteY197" fmla="*/ 575793 h 662520"/>
              <a:gd name="connsiteX198" fmla="*/ 2200411 w 2303259"/>
              <a:gd name="connsiteY198" fmla="*/ 606054 h 662520"/>
              <a:gd name="connsiteX199" fmla="*/ 2167787 w 2303259"/>
              <a:gd name="connsiteY199" fmla="*/ 630553 h 662520"/>
              <a:gd name="connsiteX200" fmla="*/ 2132213 w 2303259"/>
              <a:gd name="connsiteY200" fmla="*/ 649348 h 662520"/>
              <a:gd name="connsiteX201" fmla="*/ 2094242 w 2303259"/>
              <a:gd name="connsiteY201" fmla="*/ 662495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193" fmla="*/ 2299941 w 2303259"/>
              <a:gd name="connsiteY193" fmla="*/ 395991 h 662520"/>
              <a:gd name="connsiteX194" fmla="*/ 2290357 w 2303259"/>
              <a:gd name="connsiteY194" fmla="*/ 449869 h 662520"/>
              <a:gd name="connsiteX195" fmla="*/ 2275059 w 2303259"/>
              <a:gd name="connsiteY195" fmla="*/ 497757 h 662520"/>
              <a:gd name="connsiteX196" fmla="*/ 2254600 w 2303259"/>
              <a:gd name="connsiteY196" fmla="*/ 539713 h 662520"/>
              <a:gd name="connsiteX197" fmla="*/ 2229533 w 2303259"/>
              <a:gd name="connsiteY197" fmla="*/ 575793 h 662520"/>
              <a:gd name="connsiteX198" fmla="*/ 2200411 w 2303259"/>
              <a:gd name="connsiteY198" fmla="*/ 606054 h 662520"/>
              <a:gd name="connsiteX199" fmla="*/ 2167787 w 2303259"/>
              <a:gd name="connsiteY199" fmla="*/ 630553 h 662520"/>
              <a:gd name="connsiteX200" fmla="*/ 2132213 w 2303259"/>
              <a:gd name="connsiteY200" fmla="*/ 649348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193" fmla="*/ 2299941 w 2303259"/>
              <a:gd name="connsiteY193" fmla="*/ 395991 h 662520"/>
              <a:gd name="connsiteX194" fmla="*/ 2290357 w 2303259"/>
              <a:gd name="connsiteY194" fmla="*/ 449869 h 662520"/>
              <a:gd name="connsiteX195" fmla="*/ 2275059 w 2303259"/>
              <a:gd name="connsiteY195" fmla="*/ 497757 h 662520"/>
              <a:gd name="connsiteX196" fmla="*/ 2254600 w 2303259"/>
              <a:gd name="connsiteY196" fmla="*/ 539713 h 662520"/>
              <a:gd name="connsiteX197" fmla="*/ 2229533 w 2303259"/>
              <a:gd name="connsiteY197" fmla="*/ 575793 h 662520"/>
              <a:gd name="connsiteX198" fmla="*/ 2200411 w 2303259"/>
              <a:gd name="connsiteY198" fmla="*/ 606054 h 662520"/>
              <a:gd name="connsiteX199" fmla="*/ 2167787 w 2303259"/>
              <a:gd name="connsiteY199" fmla="*/ 630553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193" fmla="*/ 2299941 w 2303259"/>
              <a:gd name="connsiteY193" fmla="*/ 395991 h 662520"/>
              <a:gd name="connsiteX194" fmla="*/ 2290357 w 2303259"/>
              <a:gd name="connsiteY194" fmla="*/ 449869 h 662520"/>
              <a:gd name="connsiteX195" fmla="*/ 2275059 w 2303259"/>
              <a:gd name="connsiteY195" fmla="*/ 497757 h 662520"/>
              <a:gd name="connsiteX196" fmla="*/ 2254600 w 2303259"/>
              <a:gd name="connsiteY196" fmla="*/ 539713 h 662520"/>
              <a:gd name="connsiteX197" fmla="*/ 2229533 w 2303259"/>
              <a:gd name="connsiteY197" fmla="*/ 575793 h 662520"/>
              <a:gd name="connsiteX198" fmla="*/ 2200411 w 2303259"/>
              <a:gd name="connsiteY198" fmla="*/ 606054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193" fmla="*/ 2299941 w 2303259"/>
              <a:gd name="connsiteY193" fmla="*/ 395991 h 662520"/>
              <a:gd name="connsiteX194" fmla="*/ 2290357 w 2303259"/>
              <a:gd name="connsiteY194" fmla="*/ 449869 h 662520"/>
              <a:gd name="connsiteX195" fmla="*/ 2275059 w 2303259"/>
              <a:gd name="connsiteY195" fmla="*/ 497757 h 662520"/>
              <a:gd name="connsiteX196" fmla="*/ 2254600 w 2303259"/>
              <a:gd name="connsiteY196" fmla="*/ 539713 h 662520"/>
              <a:gd name="connsiteX197" fmla="*/ 2229533 w 2303259"/>
              <a:gd name="connsiteY197" fmla="*/ 575793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193" fmla="*/ 2299941 w 2303259"/>
              <a:gd name="connsiteY193" fmla="*/ 395991 h 662520"/>
              <a:gd name="connsiteX194" fmla="*/ 2290357 w 2303259"/>
              <a:gd name="connsiteY194" fmla="*/ 449869 h 662520"/>
              <a:gd name="connsiteX195" fmla="*/ 2275059 w 2303259"/>
              <a:gd name="connsiteY195" fmla="*/ 497757 h 662520"/>
              <a:gd name="connsiteX196" fmla="*/ 2254600 w 2303259"/>
              <a:gd name="connsiteY196" fmla="*/ 539713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193" fmla="*/ 2299941 w 2303259"/>
              <a:gd name="connsiteY193" fmla="*/ 395991 h 662520"/>
              <a:gd name="connsiteX194" fmla="*/ 2290357 w 2303259"/>
              <a:gd name="connsiteY194" fmla="*/ 449869 h 662520"/>
              <a:gd name="connsiteX195" fmla="*/ 2275059 w 2303259"/>
              <a:gd name="connsiteY195" fmla="*/ 497757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193" fmla="*/ 2299941 w 2303259"/>
              <a:gd name="connsiteY193" fmla="*/ 395991 h 662520"/>
              <a:gd name="connsiteX194" fmla="*/ 2290357 w 2303259"/>
              <a:gd name="connsiteY194" fmla="*/ 449869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193" fmla="*/ 2299941 w 2303259"/>
              <a:gd name="connsiteY193" fmla="*/ 395991 h 662520"/>
              <a:gd name="connsiteX0" fmla="*/ 74231 w 2303259"/>
              <a:gd name="connsiteY0" fmla="*/ 662482 h 662520"/>
              <a:gd name="connsiteX1" fmla="*/ 60344 w 2303259"/>
              <a:gd name="connsiteY1" fmla="*/ 659582 h 662520"/>
              <a:gd name="connsiteX2" fmla="*/ 47517 w 2303259"/>
              <a:gd name="connsiteY2" fmla="*/ 656437 h 662520"/>
              <a:gd name="connsiteX3" fmla="*/ 35823 w 2303259"/>
              <a:gd name="connsiteY3" fmla="*/ 653092 h 662520"/>
              <a:gd name="connsiteX4" fmla="*/ 25336 w 2303259"/>
              <a:gd name="connsiteY4" fmla="*/ 649592 h 662520"/>
              <a:gd name="connsiteX5" fmla="*/ 25336 w 2303259"/>
              <a:gd name="connsiteY5" fmla="*/ 533196 h 662520"/>
              <a:gd name="connsiteX6" fmla="*/ 104190 w 2303259"/>
              <a:gd name="connsiteY6" fmla="*/ 533196 h 662520"/>
              <a:gd name="connsiteX7" fmla="*/ 116931 w 2303259"/>
              <a:gd name="connsiteY7" fmla="*/ 550133 h 662520"/>
              <a:gd name="connsiteX8" fmla="*/ 135043 w 2303259"/>
              <a:gd name="connsiteY8" fmla="*/ 564522 h 662520"/>
              <a:gd name="connsiteX9" fmla="*/ 160020 w 2303259"/>
              <a:gd name="connsiteY9" fmla="*/ 574514 h 662520"/>
              <a:gd name="connsiteX10" fmla="*/ 193357 w 2303259"/>
              <a:gd name="connsiteY10" fmla="*/ 578256 h 662520"/>
              <a:gd name="connsiteX11" fmla="*/ 233829 w 2303259"/>
              <a:gd name="connsiteY11" fmla="*/ 573672 h 662520"/>
              <a:gd name="connsiteX12" fmla="*/ 297105 w 2303259"/>
              <a:gd name="connsiteY12" fmla="*/ 537246 h 662520"/>
              <a:gd name="connsiteX13" fmla="*/ 320040 w 2303259"/>
              <a:gd name="connsiteY13" fmla="*/ 505568 h 662520"/>
              <a:gd name="connsiteX14" fmla="*/ 337261 w 2303259"/>
              <a:gd name="connsiteY14" fmla="*/ 465022 h 662520"/>
              <a:gd name="connsiteX15" fmla="*/ 348834 w 2303259"/>
              <a:gd name="connsiteY15" fmla="*/ 415691 h 662520"/>
              <a:gd name="connsiteX16" fmla="*/ 354825 w 2303259"/>
              <a:gd name="connsiteY16" fmla="*/ 357657 h 662520"/>
              <a:gd name="connsiteX17" fmla="*/ 325357 w 2303259"/>
              <a:gd name="connsiteY17" fmla="*/ 385098 h 662520"/>
              <a:gd name="connsiteX18" fmla="*/ 289466 w 2303259"/>
              <a:gd name="connsiteY18" fmla="*/ 406117 h 662520"/>
              <a:gd name="connsiteX19" fmla="*/ 247767 w 2303259"/>
              <a:gd name="connsiteY19" fmla="*/ 419568 h 662520"/>
              <a:gd name="connsiteX20" fmla="*/ 200875 w 2303259"/>
              <a:gd name="connsiteY20" fmla="*/ 424306 h 662520"/>
              <a:gd name="connsiteX21" fmla="*/ 153099 w 2303259"/>
              <a:gd name="connsiteY21" fmla="*/ 420031 h 662520"/>
              <a:gd name="connsiteX22" fmla="*/ 110150 w 2303259"/>
              <a:gd name="connsiteY22" fmla="*/ 407348 h 662520"/>
              <a:gd name="connsiteX23" fmla="*/ 72948 w 2303259"/>
              <a:gd name="connsiteY23" fmla="*/ 386472 h 662520"/>
              <a:gd name="connsiteX24" fmla="*/ 42412 w 2303259"/>
              <a:gd name="connsiteY24" fmla="*/ 357614 h 662520"/>
              <a:gd name="connsiteX25" fmla="*/ 19463 w 2303259"/>
              <a:gd name="connsiteY25" fmla="*/ 320990 h 662520"/>
              <a:gd name="connsiteX26" fmla="*/ 5019 w 2303259"/>
              <a:gd name="connsiteY26" fmla="*/ 276814 h 662520"/>
              <a:gd name="connsiteX27" fmla="*/ 0 w 2303259"/>
              <a:gd name="connsiteY27" fmla="*/ 225297 h 662520"/>
              <a:gd name="connsiteX28" fmla="*/ 4447 w 2303259"/>
              <a:gd name="connsiteY28" fmla="*/ 178425 h 662520"/>
              <a:gd name="connsiteX29" fmla="*/ 17453 w 2303259"/>
              <a:gd name="connsiteY29" fmla="*/ 135445 h 662520"/>
              <a:gd name="connsiteX30" fmla="*/ 38511 w 2303259"/>
              <a:gd name="connsiteY30" fmla="*/ 97085 h 662520"/>
              <a:gd name="connsiteX31" fmla="*/ 67116 w 2303259"/>
              <a:gd name="connsiteY31" fmla="*/ 64071 h 662520"/>
              <a:gd name="connsiteX32" fmla="*/ 102760 w 2303259"/>
              <a:gd name="connsiteY32" fmla="*/ 37129 h 662520"/>
              <a:gd name="connsiteX33" fmla="*/ 144939 w 2303259"/>
              <a:gd name="connsiteY33" fmla="*/ 16986 h 662520"/>
              <a:gd name="connsiteX34" fmla="*/ 193146 w 2303259"/>
              <a:gd name="connsiteY34" fmla="*/ 4367 h 662520"/>
              <a:gd name="connsiteX35" fmla="*/ 246875 w 2303259"/>
              <a:gd name="connsiteY35" fmla="*/ 0 h 662520"/>
              <a:gd name="connsiteX36" fmla="*/ 290625 w 2303259"/>
              <a:gd name="connsiteY36" fmla="*/ 2882 h 662520"/>
              <a:gd name="connsiteX37" fmla="*/ 331492 w 2303259"/>
              <a:gd name="connsiteY37" fmla="*/ 11678 h 662520"/>
              <a:gd name="connsiteX38" fmla="*/ 369070 w 2303259"/>
              <a:gd name="connsiteY38" fmla="*/ 26614 h 662520"/>
              <a:gd name="connsiteX39" fmla="*/ 402953 w 2303259"/>
              <a:gd name="connsiteY39" fmla="*/ 47914 h 662520"/>
              <a:gd name="connsiteX40" fmla="*/ 432736 w 2303259"/>
              <a:gd name="connsiteY40" fmla="*/ 75804 h 662520"/>
              <a:gd name="connsiteX41" fmla="*/ 458013 w 2303259"/>
              <a:gd name="connsiteY41" fmla="*/ 110509 h 662520"/>
              <a:gd name="connsiteX42" fmla="*/ 478379 w 2303259"/>
              <a:gd name="connsiteY42" fmla="*/ 152255 h 662520"/>
              <a:gd name="connsiteX43" fmla="*/ 493429 w 2303259"/>
              <a:gd name="connsiteY43" fmla="*/ 201265 h 662520"/>
              <a:gd name="connsiteX44" fmla="*/ 502756 w 2303259"/>
              <a:gd name="connsiteY44" fmla="*/ 257766 h 662520"/>
              <a:gd name="connsiteX45" fmla="*/ 505955 w 2303259"/>
              <a:gd name="connsiteY45" fmla="*/ 321983 h 662520"/>
              <a:gd name="connsiteX46" fmla="*/ 503406 w 2303259"/>
              <a:gd name="connsiteY46" fmla="*/ 376707 h 662520"/>
              <a:gd name="connsiteX47" fmla="*/ 495858 w 2303259"/>
              <a:gd name="connsiteY47" fmla="*/ 427041 h 662520"/>
              <a:gd name="connsiteX48" fmla="*/ 483456 w 2303259"/>
              <a:gd name="connsiteY48" fmla="*/ 472909 h 662520"/>
              <a:gd name="connsiteX49" fmla="*/ 466346 w 2303259"/>
              <a:gd name="connsiteY49" fmla="*/ 514232 h 662520"/>
              <a:gd name="connsiteX50" fmla="*/ 444674 w 2303259"/>
              <a:gd name="connsiteY50" fmla="*/ 550937 h 662520"/>
              <a:gd name="connsiteX51" fmla="*/ 418587 w 2303259"/>
              <a:gd name="connsiteY51" fmla="*/ 582945 h 662520"/>
              <a:gd name="connsiteX52" fmla="*/ 388229 w 2303259"/>
              <a:gd name="connsiteY52" fmla="*/ 610181 h 662520"/>
              <a:gd name="connsiteX53" fmla="*/ 353748 w 2303259"/>
              <a:gd name="connsiteY53" fmla="*/ 632569 h 662520"/>
              <a:gd name="connsiteX54" fmla="*/ 315289 w 2303259"/>
              <a:gd name="connsiteY54" fmla="*/ 650033 h 662520"/>
              <a:gd name="connsiteX55" fmla="*/ 272999 w 2303259"/>
              <a:gd name="connsiteY55" fmla="*/ 662495 h 662520"/>
              <a:gd name="connsiteX56" fmla="*/ 592162 w 2303259"/>
              <a:gd name="connsiteY56" fmla="*/ 662520 h 662520"/>
              <a:gd name="connsiteX57" fmla="*/ 571167 w 2303259"/>
              <a:gd name="connsiteY57" fmla="*/ 658030 h 662520"/>
              <a:gd name="connsiteX58" fmla="*/ 551373 w 2303259"/>
              <a:gd name="connsiteY58" fmla="*/ 652783 h 662520"/>
              <a:gd name="connsiteX59" fmla="*/ 532537 w 2303259"/>
              <a:gd name="connsiteY59" fmla="*/ 646826 h 662520"/>
              <a:gd name="connsiteX60" fmla="*/ 514413 w 2303259"/>
              <a:gd name="connsiteY60" fmla="*/ 640206 h 662520"/>
              <a:gd name="connsiteX61" fmla="*/ 514413 w 2303259"/>
              <a:gd name="connsiteY61" fmla="*/ 516293 h 662520"/>
              <a:gd name="connsiteX62" fmla="*/ 596087 w 2303259"/>
              <a:gd name="connsiteY62" fmla="*/ 516293 h 662520"/>
              <a:gd name="connsiteX63" fmla="*/ 612203 w 2303259"/>
              <a:gd name="connsiteY63" fmla="*/ 539439 h 662520"/>
              <a:gd name="connsiteX64" fmla="*/ 635627 w 2303259"/>
              <a:gd name="connsiteY64" fmla="*/ 559242 h 662520"/>
              <a:gd name="connsiteX65" fmla="*/ 666972 w 2303259"/>
              <a:gd name="connsiteY65" fmla="*/ 573062 h 662520"/>
              <a:gd name="connsiteX66" fmla="*/ 706856 w 2303259"/>
              <a:gd name="connsiteY66" fmla="*/ 578256 h 662520"/>
              <a:gd name="connsiteX67" fmla="*/ 749359 w 2303259"/>
              <a:gd name="connsiteY67" fmla="*/ 571758 h 662520"/>
              <a:gd name="connsiteX68" fmla="*/ 784298 w 2303259"/>
              <a:gd name="connsiteY68" fmla="*/ 552322 h 662520"/>
              <a:gd name="connsiteX69" fmla="*/ 807972 w 2303259"/>
              <a:gd name="connsiteY69" fmla="*/ 520038 h 662520"/>
              <a:gd name="connsiteX70" fmla="*/ 816686 w 2303259"/>
              <a:gd name="connsiteY70" fmla="*/ 474992 h 662520"/>
              <a:gd name="connsiteX71" fmla="*/ 809424 w 2303259"/>
              <a:gd name="connsiteY71" fmla="*/ 430240 h 662520"/>
              <a:gd name="connsiteX72" fmla="*/ 787466 w 2303259"/>
              <a:gd name="connsiteY72" fmla="*/ 398602 h 662520"/>
              <a:gd name="connsiteX73" fmla="*/ 750549 w 2303259"/>
              <a:gd name="connsiteY73" fmla="*/ 379812 h 662520"/>
              <a:gd name="connsiteX74" fmla="*/ 698411 w 2303259"/>
              <a:gd name="connsiteY74" fmla="*/ 373608 h 662520"/>
              <a:gd name="connsiteX75" fmla="*/ 649592 w 2303259"/>
              <a:gd name="connsiteY75" fmla="*/ 373608 h 662520"/>
              <a:gd name="connsiteX76" fmla="*/ 649592 w 2303259"/>
              <a:gd name="connsiteY76" fmla="*/ 286308 h 662520"/>
              <a:gd name="connsiteX77" fmla="*/ 690892 w 2303259"/>
              <a:gd name="connsiteY77" fmla="*/ 286308 h 662520"/>
              <a:gd name="connsiteX78" fmla="*/ 744563 w 2303259"/>
              <a:gd name="connsiteY78" fmla="*/ 280133 h 662520"/>
              <a:gd name="connsiteX79" fmla="*/ 783007 w 2303259"/>
              <a:gd name="connsiteY79" fmla="*/ 261550 h 662520"/>
              <a:gd name="connsiteX80" fmla="*/ 806137 w 2303259"/>
              <a:gd name="connsiteY80" fmla="*/ 230469 h 662520"/>
              <a:gd name="connsiteX81" fmla="*/ 813866 w 2303259"/>
              <a:gd name="connsiteY81" fmla="*/ 186804 h 662520"/>
              <a:gd name="connsiteX82" fmla="*/ 808513 w 2303259"/>
              <a:gd name="connsiteY82" fmla="*/ 149115 h 662520"/>
              <a:gd name="connsiteX83" fmla="*/ 792160 w 2303259"/>
              <a:gd name="connsiteY83" fmla="*/ 121104 h 662520"/>
              <a:gd name="connsiteX84" fmla="*/ 764365 w 2303259"/>
              <a:gd name="connsiteY84" fmla="*/ 103651 h 662520"/>
              <a:gd name="connsiteX85" fmla="*/ 724687 w 2303259"/>
              <a:gd name="connsiteY85" fmla="*/ 97637 h 662520"/>
              <a:gd name="connsiteX86" fmla="*/ 687243 w 2303259"/>
              <a:gd name="connsiteY86" fmla="*/ 102374 h 662520"/>
              <a:gd name="connsiteX87" fmla="*/ 657456 w 2303259"/>
              <a:gd name="connsiteY87" fmla="*/ 115117 h 662520"/>
              <a:gd name="connsiteX88" fmla="*/ 634533 w 2303259"/>
              <a:gd name="connsiteY88" fmla="*/ 133668 h 662520"/>
              <a:gd name="connsiteX89" fmla="*/ 617677 w 2303259"/>
              <a:gd name="connsiteY89" fmla="*/ 155828 h 662520"/>
              <a:gd name="connsiteX90" fmla="*/ 539775 w 2303259"/>
              <a:gd name="connsiteY90" fmla="*/ 155828 h 662520"/>
              <a:gd name="connsiteX91" fmla="*/ 539775 w 2303259"/>
              <a:gd name="connsiteY91" fmla="*/ 33807 h 662520"/>
              <a:gd name="connsiteX92" fmla="*/ 584006 w 2303259"/>
              <a:gd name="connsiteY92" fmla="*/ 19813 h 662520"/>
              <a:gd name="connsiteX93" fmla="*/ 631056 w 2303259"/>
              <a:gd name="connsiteY93" fmla="*/ 9159 h 662520"/>
              <a:gd name="connsiteX94" fmla="*/ 681278 w 2303259"/>
              <a:gd name="connsiteY94" fmla="*/ 2378 h 662520"/>
              <a:gd name="connsiteX95" fmla="*/ 735025 w 2303259"/>
              <a:gd name="connsiteY95" fmla="*/ 0 h 662520"/>
              <a:gd name="connsiteX96" fmla="*/ 790395 w 2303259"/>
              <a:gd name="connsiteY96" fmla="*/ 3158 h 662520"/>
              <a:gd name="connsiteX97" fmla="*/ 838689 w 2303259"/>
              <a:gd name="connsiteY97" fmla="*/ 12853 h 662520"/>
              <a:gd name="connsiteX98" fmla="*/ 879380 w 2303259"/>
              <a:gd name="connsiteY98" fmla="*/ 29412 h 662520"/>
              <a:gd name="connsiteX99" fmla="*/ 911943 w 2303259"/>
              <a:gd name="connsiteY99" fmla="*/ 53163 h 662520"/>
              <a:gd name="connsiteX100" fmla="*/ 935853 w 2303259"/>
              <a:gd name="connsiteY100" fmla="*/ 84435 h 662520"/>
              <a:gd name="connsiteX101" fmla="*/ 950584 w 2303259"/>
              <a:gd name="connsiteY101" fmla="*/ 123555 h 662520"/>
              <a:gd name="connsiteX102" fmla="*/ 955611 w 2303259"/>
              <a:gd name="connsiteY102" fmla="*/ 170853 h 662520"/>
              <a:gd name="connsiteX103" fmla="*/ 949453 w 2303259"/>
              <a:gd name="connsiteY103" fmla="*/ 219568 h 662520"/>
              <a:gd name="connsiteX104" fmla="*/ 931581 w 2303259"/>
              <a:gd name="connsiteY104" fmla="*/ 258234 h 662520"/>
              <a:gd name="connsiteX105" fmla="*/ 902895 w 2303259"/>
              <a:gd name="connsiteY105" fmla="*/ 287843 h 662520"/>
              <a:gd name="connsiteX106" fmla="*/ 864296 w 2303259"/>
              <a:gd name="connsiteY106" fmla="*/ 309388 h 662520"/>
              <a:gd name="connsiteX107" fmla="*/ 816686 w 2303259"/>
              <a:gd name="connsiteY107" fmla="*/ 323862 h 662520"/>
              <a:gd name="connsiteX108" fmla="*/ 816686 w 2303259"/>
              <a:gd name="connsiteY108" fmla="*/ 327609 h 662520"/>
              <a:gd name="connsiteX109" fmla="*/ 870681 w 2303259"/>
              <a:gd name="connsiteY109" fmla="*/ 340566 h 662520"/>
              <a:gd name="connsiteX110" fmla="*/ 912283 w 2303259"/>
              <a:gd name="connsiteY110" fmla="*/ 362534 h 662520"/>
              <a:gd name="connsiteX111" fmla="*/ 941719 w 2303259"/>
              <a:gd name="connsiteY111" fmla="*/ 393513 h 662520"/>
              <a:gd name="connsiteX112" fmla="*/ 959215 w 2303259"/>
              <a:gd name="connsiteY112" fmla="*/ 433502 h 662520"/>
              <a:gd name="connsiteX113" fmla="*/ 964996 w 2303259"/>
              <a:gd name="connsiteY113" fmla="*/ 482498 h 662520"/>
              <a:gd name="connsiteX114" fmla="*/ 959936 w 2303259"/>
              <a:gd name="connsiteY114" fmla="*/ 527743 h 662520"/>
              <a:gd name="connsiteX115" fmla="*/ 944659 w 2303259"/>
              <a:gd name="connsiteY115" fmla="*/ 567021 h 662520"/>
              <a:gd name="connsiteX116" fmla="*/ 920122 w 2303259"/>
              <a:gd name="connsiteY116" fmla="*/ 600232 h 662520"/>
              <a:gd name="connsiteX117" fmla="*/ 887285 w 2303259"/>
              <a:gd name="connsiteY117" fmla="*/ 627278 h 662520"/>
              <a:gd name="connsiteX118" fmla="*/ 847106 w 2303259"/>
              <a:gd name="connsiteY118" fmla="*/ 648061 h 662520"/>
              <a:gd name="connsiteX119" fmla="*/ 800544 w 2303259"/>
              <a:gd name="connsiteY119" fmla="*/ 662482 h 662520"/>
              <a:gd name="connsiteX120" fmla="*/ 1360843 w 2303259"/>
              <a:gd name="connsiteY120" fmla="*/ 662495 h 662520"/>
              <a:gd name="connsiteX121" fmla="*/ 1322871 w 2303259"/>
              <a:gd name="connsiteY121" fmla="*/ 649352 h 662520"/>
              <a:gd name="connsiteX122" fmla="*/ 1287296 w 2303259"/>
              <a:gd name="connsiteY122" fmla="*/ 630560 h 662520"/>
              <a:gd name="connsiteX123" fmla="*/ 1254670 w 2303259"/>
              <a:gd name="connsiteY123" fmla="*/ 606062 h 662520"/>
              <a:gd name="connsiteX124" fmla="*/ 1225546 w 2303259"/>
              <a:gd name="connsiteY124" fmla="*/ 575802 h 662520"/>
              <a:gd name="connsiteX125" fmla="*/ 1200477 w 2303259"/>
              <a:gd name="connsiteY125" fmla="*/ 539722 h 662520"/>
              <a:gd name="connsiteX126" fmla="*/ 1180016 w 2303259"/>
              <a:gd name="connsiteY126" fmla="*/ 497766 h 662520"/>
              <a:gd name="connsiteX127" fmla="*/ 1164717 w 2303259"/>
              <a:gd name="connsiteY127" fmla="*/ 449876 h 662520"/>
              <a:gd name="connsiteX128" fmla="*/ 1155131 w 2303259"/>
              <a:gd name="connsiteY128" fmla="*/ 395995 h 662520"/>
              <a:gd name="connsiteX129" fmla="*/ 1151813 w 2303259"/>
              <a:gd name="connsiteY129" fmla="*/ 336067 h 662520"/>
              <a:gd name="connsiteX130" fmla="*/ 1155053 w 2303259"/>
              <a:gd name="connsiteY130" fmla="*/ 276826 h 662520"/>
              <a:gd name="connsiteX131" fmla="*/ 1164415 w 2303259"/>
              <a:gd name="connsiteY131" fmla="*/ 223488 h 662520"/>
              <a:gd name="connsiteX132" fmla="*/ 1179368 w 2303259"/>
              <a:gd name="connsiteY132" fmla="*/ 175997 h 662520"/>
              <a:gd name="connsiteX133" fmla="*/ 1199377 w 2303259"/>
              <a:gd name="connsiteY133" fmla="*/ 134299 h 662520"/>
              <a:gd name="connsiteX134" fmla="*/ 1223910 w 2303259"/>
              <a:gd name="connsiteY134" fmla="*/ 98339 h 662520"/>
              <a:gd name="connsiteX135" fmla="*/ 1252434 w 2303259"/>
              <a:gd name="connsiteY135" fmla="*/ 68062 h 662520"/>
              <a:gd name="connsiteX136" fmla="*/ 1284414 w 2303259"/>
              <a:gd name="connsiteY136" fmla="*/ 43413 h 662520"/>
              <a:gd name="connsiteX137" fmla="*/ 1319318 w 2303259"/>
              <a:gd name="connsiteY137" fmla="*/ 24337 h 662520"/>
              <a:gd name="connsiteX138" fmla="*/ 1356613 w 2303259"/>
              <a:gd name="connsiteY138" fmla="*/ 10780 h 662520"/>
              <a:gd name="connsiteX139" fmla="*/ 1395766 w 2303259"/>
              <a:gd name="connsiteY139" fmla="*/ 2685 h 662520"/>
              <a:gd name="connsiteX140" fmla="*/ 1436243 w 2303259"/>
              <a:gd name="connsiteY140" fmla="*/ 0 h 662520"/>
              <a:gd name="connsiteX141" fmla="*/ 1476722 w 2303259"/>
              <a:gd name="connsiteY141" fmla="*/ 2685 h 662520"/>
              <a:gd name="connsiteX142" fmla="*/ 1515876 w 2303259"/>
              <a:gd name="connsiteY142" fmla="*/ 10780 h 662520"/>
              <a:gd name="connsiteX143" fmla="*/ 1553172 w 2303259"/>
              <a:gd name="connsiteY143" fmla="*/ 24337 h 662520"/>
              <a:gd name="connsiteX144" fmla="*/ 1588076 w 2303259"/>
              <a:gd name="connsiteY144" fmla="*/ 43413 h 662520"/>
              <a:gd name="connsiteX145" fmla="*/ 1620056 w 2303259"/>
              <a:gd name="connsiteY145" fmla="*/ 68062 h 662520"/>
              <a:gd name="connsiteX146" fmla="*/ 1648579 w 2303259"/>
              <a:gd name="connsiteY146" fmla="*/ 98339 h 662520"/>
              <a:gd name="connsiteX147" fmla="*/ 1673111 w 2303259"/>
              <a:gd name="connsiteY147" fmla="*/ 134299 h 662520"/>
              <a:gd name="connsiteX148" fmla="*/ 1693119 w 2303259"/>
              <a:gd name="connsiteY148" fmla="*/ 175997 h 662520"/>
              <a:gd name="connsiteX149" fmla="*/ 1708071 w 2303259"/>
              <a:gd name="connsiteY149" fmla="*/ 223488 h 662520"/>
              <a:gd name="connsiteX150" fmla="*/ 1717433 w 2303259"/>
              <a:gd name="connsiteY150" fmla="*/ 276826 h 662520"/>
              <a:gd name="connsiteX151" fmla="*/ 1720672 w 2303259"/>
              <a:gd name="connsiteY151" fmla="*/ 336067 h 662520"/>
              <a:gd name="connsiteX152" fmla="*/ 1717354 w 2303259"/>
              <a:gd name="connsiteY152" fmla="*/ 395995 h 662520"/>
              <a:gd name="connsiteX153" fmla="*/ 1707768 w 2303259"/>
              <a:gd name="connsiteY153" fmla="*/ 449876 h 662520"/>
              <a:gd name="connsiteX154" fmla="*/ 1692469 w 2303259"/>
              <a:gd name="connsiteY154" fmla="*/ 497766 h 662520"/>
              <a:gd name="connsiteX155" fmla="*/ 1672008 w 2303259"/>
              <a:gd name="connsiteY155" fmla="*/ 539722 h 662520"/>
              <a:gd name="connsiteX156" fmla="*/ 1646939 w 2303259"/>
              <a:gd name="connsiteY156" fmla="*/ 575802 h 662520"/>
              <a:gd name="connsiteX157" fmla="*/ 1617815 w 2303259"/>
              <a:gd name="connsiteY157" fmla="*/ 606062 h 662520"/>
              <a:gd name="connsiteX158" fmla="*/ 1585189 w 2303259"/>
              <a:gd name="connsiteY158" fmla="*/ 630560 h 662520"/>
              <a:gd name="connsiteX159" fmla="*/ 1549614 w 2303259"/>
              <a:gd name="connsiteY159" fmla="*/ 649352 h 662520"/>
              <a:gd name="connsiteX160" fmla="*/ 1511642 w 2303259"/>
              <a:gd name="connsiteY160" fmla="*/ 662495 h 662520"/>
              <a:gd name="connsiteX161" fmla="*/ 1943430 w 2303259"/>
              <a:gd name="connsiteY161" fmla="*/ 662495 h 662520"/>
              <a:gd name="connsiteX162" fmla="*/ 1905459 w 2303259"/>
              <a:gd name="connsiteY162" fmla="*/ 649348 h 662520"/>
              <a:gd name="connsiteX163" fmla="*/ 1869885 w 2303259"/>
              <a:gd name="connsiteY163" fmla="*/ 630555 h 662520"/>
              <a:gd name="connsiteX164" fmla="*/ 1837261 w 2303259"/>
              <a:gd name="connsiteY164" fmla="*/ 606057 h 662520"/>
              <a:gd name="connsiteX165" fmla="*/ 1808138 w 2303259"/>
              <a:gd name="connsiteY165" fmla="*/ 575797 h 662520"/>
              <a:gd name="connsiteX166" fmla="*/ 1783072 w 2303259"/>
              <a:gd name="connsiteY166" fmla="*/ 539718 h 662520"/>
              <a:gd name="connsiteX167" fmla="*/ 1762613 w 2303259"/>
              <a:gd name="connsiteY167" fmla="*/ 497763 h 662520"/>
              <a:gd name="connsiteX168" fmla="*/ 1747315 w 2303259"/>
              <a:gd name="connsiteY168" fmla="*/ 449874 h 662520"/>
              <a:gd name="connsiteX169" fmla="*/ 1737731 w 2303259"/>
              <a:gd name="connsiteY169" fmla="*/ 395995 h 662520"/>
              <a:gd name="connsiteX170" fmla="*/ 1734413 w 2303259"/>
              <a:gd name="connsiteY170" fmla="*/ 336067 h 662520"/>
              <a:gd name="connsiteX171" fmla="*/ 1737652 w 2303259"/>
              <a:gd name="connsiteY171" fmla="*/ 276826 h 662520"/>
              <a:gd name="connsiteX172" fmla="*/ 1747014 w 2303259"/>
              <a:gd name="connsiteY172" fmla="*/ 223488 h 662520"/>
              <a:gd name="connsiteX173" fmla="*/ 1761965 w 2303259"/>
              <a:gd name="connsiteY173" fmla="*/ 175997 h 662520"/>
              <a:gd name="connsiteX174" fmla="*/ 1781973 w 2303259"/>
              <a:gd name="connsiteY174" fmla="*/ 134299 h 662520"/>
              <a:gd name="connsiteX175" fmla="*/ 1806505 w 2303259"/>
              <a:gd name="connsiteY175" fmla="*/ 98339 h 662520"/>
              <a:gd name="connsiteX176" fmla="*/ 1835026 w 2303259"/>
              <a:gd name="connsiteY176" fmla="*/ 68062 h 662520"/>
              <a:gd name="connsiteX177" fmla="*/ 1867005 w 2303259"/>
              <a:gd name="connsiteY177" fmla="*/ 43413 h 662520"/>
              <a:gd name="connsiteX178" fmla="*/ 1901908 w 2303259"/>
              <a:gd name="connsiteY178" fmla="*/ 24337 h 662520"/>
              <a:gd name="connsiteX179" fmla="*/ 1939202 w 2303259"/>
              <a:gd name="connsiteY179" fmla="*/ 10780 h 662520"/>
              <a:gd name="connsiteX180" fmla="*/ 1978353 w 2303259"/>
              <a:gd name="connsiteY180" fmla="*/ 2685 h 662520"/>
              <a:gd name="connsiteX181" fmla="*/ 2018830 w 2303259"/>
              <a:gd name="connsiteY181" fmla="*/ 0 h 662520"/>
              <a:gd name="connsiteX182" fmla="*/ 2059309 w 2303259"/>
              <a:gd name="connsiteY182" fmla="*/ 2685 h 662520"/>
              <a:gd name="connsiteX183" fmla="*/ 2098463 w 2303259"/>
              <a:gd name="connsiteY183" fmla="*/ 10780 h 662520"/>
              <a:gd name="connsiteX184" fmla="*/ 2135759 w 2303259"/>
              <a:gd name="connsiteY184" fmla="*/ 24337 h 662520"/>
              <a:gd name="connsiteX185" fmla="*/ 2170664 w 2303259"/>
              <a:gd name="connsiteY185" fmla="*/ 43413 h 662520"/>
              <a:gd name="connsiteX186" fmla="*/ 2202644 w 2303259"/>
              <a:gd name="connsiteY186" fmla="*/ 68062 h 662520"/>
              <a:gd name="connsiteX187" fmla="*/ 2231166 w 2303259"/>
              <a:gd name="connsiteY187" fmla="*/ 98339 h 662520"/>
              <a:gd name="connsiteX188" fmla="*/ 2255698 w 2303259"/>
              <a:gd name="connsiteY188" fmla="*/ 134299 h 662520"/>
              <a:gd name="connsiteX189" fmla="*/ 2275706 w 2303259"/>
              <a:gd name="connsiteY189" fmla="*/ 175997 h 662520"/>
              <a:gd name="connsiteX190" fmla="*/ 2290658 w 2303259"/>
              <a:gd name="connsiteY190" fmla="*/ 223488 h 662520"/>
              <a:gd name="connsiteX191" fmla="*/ 2300020 w 2303259"/>
              <a:gd name="connsiteY191" fmla="*/ 276826 h 662520"/>
              <a:gd name="connsiteX192" fmla="*/ 2303259 w 2303259"/>
              <a:gd name="connsiteY192" fmla="*/ 336067 h 662520"/>
              <a:gd name="connsiteX0" fmla="*/ 74231 w 2300020"/>
              <a:gd name="connsiteY0" fmla="*/ 662482 h 662520"/>
              <a:gd name="connsiteX1" fmla="*/ 60344 w 2300020"/>
              <a:gd name="connsiteY1" fmla="*/ 659582 h 662520"/>
              <a:gd name="connsiteX2" fmla="*/ 47517 w 2300020"/>
              <a:gd name="connsiteY2" fmla="*/ 656437 h 662520"/>
              <a:gd name="connsiteX3" fmla="*/ 35823 w 2300020"/>
              <a:gd name="connsiteY3" fmla="*/ 653092 h 662520"/>
              <a:gd name="connsiteX4" fmla="*/ 25336 w 2300020"/>
              <a:gd name="connsiteY4" fmla="*/ 649592 h 662520"/>
              <a:gd name="connsiteX5" fmla="*/ 25336 w 2300020"/>
              <a:gd name="connsiteY5" fmla="*/ 533196 h 662520"/>
              <a:gd name="connsiteX6" fmla="*/ 104190 w 2300020"/>
              <a:gd name="connsiteY6" fmla="*/ 533196 h 662520"/>
              <a:gd name="connsiteX7" fmla="*/ 116931 w 2300020"/>
              <a:gd name="connsiteY7" fmla="*/ 550133 h 662520"/>
              <a:gd name="connsiteX8" fmla="*/ 135043 w 2300020"/>
              <a:gd name="connsiteY8" fmla="*/ 564522 h 662520"/>
              <a:gd name="connsiteX9" fmla="*/ 160020 w 2300020"/>
              <a:gd name="connsiteY9" fmla="*/ 574514 h 662520"/>
              <a:gd name="connsiteX10" fmla="*/ 193357 w 2300020"/>
              <a:gd name="connsiteY10" fmla="*/ 578256 h 662520"/>
              <a:gd name="connsiteX11" fmla="*/ 233829 w 2300020"/>
              <a:gd name="connsiteY11" fmla="*/ 573672 h 662520"/>
              <a:gd name="connsiteX12" fmla="*/ 297105 w 2300020"/>
              <a:gd name="connsiteY12" fmla="*/ 537246 h 662520"/>
              <a:gd name="connsiteX13" fmla="*/ 320040 w 2300020"/>
              <a:gd name="connsiteY13" fmla="*/ 505568 h 662520"/>
              <a:gd name="connsiteX14" fmla="*/ 337261 w 2300020"/>
              <a:gd name="connsiteY14" fmla="*/ 465022 h 662520"/>
              <a:gd name="connsiteX15" fmla="*/ 348834 w 2300020"/>
              <a:gd name="connsiteY15" fmla="*/ 415691 h 662520"/>
              <a:gd name="connsiteX16" fmla="*/ 354825 w 2300020"/>
              <a:gd name="connsiteY16" fmla="*/ 357657 h 662520"/>
              <a:gd name="connsiteX17" fmla="*/ 325357 w 2300020"/>
              <a:gd name="connsiteY17" fmla="*/ 385098 h 662520"/>
              <a:gd name="connsiteX18" fmla="*/ 289466 w 2300020"/>
              <a:gd name="connsiteY18" fmla="*/ 406117 h 662520"/>
              <a:gd name="connsiteX19" fmla="*/ 247767 w 2300020"/>
              <a:gd name="connsiteY19" fmla="*/ 419568 h 662520"/>
              <a:gd name="connsiteX20" fmla="*/ 200875 w 2300020"/>
              <a:gd name="connsiteY20" fmla="*/ 424306 h 662520"/>
              <a:gd name="connsiteX21" fmla="*/ 153099 w 2300020"/>
              <a:gd name="connsiteY21" fmla="*/ 420031 h 662520"/>
              <a:gd name="connsiteX22" fmla="*/ 110150 w 2300020"/>
              <a:gd name="connsiteY22" fmla="*/ 407348 h 662520"/>
              <a:gd name="connsiteX23" fmla="*/ 72948 w 2300020"/>
              <a:gd name="connsiteY23" fmla="*/ 386472 h 662520"/>
              <a:gd name="connsiteX24" fmla="*/ 42412 w 2300020"/>
              <a:gd name="connsiteY24" fmla="*/ 357614 h 662520"/>
              <a:gd name="connsiteX25" fmla="*/ 19463 w 2300020"/>
              <a:gd name="connsiteY25" fmla="*/ 320990 h 662520"/>
              <a:gd name="connsiteX26" fmla="*/ 5019 w 2300020"/>
              <a:gd name="connsiteY26" fmla="*/ 276814 h 662520"/>
              <a:gd name="connsiteX27" fmla="*/ 0 w 2300020"/>
              <a:gd name="connsiteY27" fmla="*/ 225297 h 662520"/>
              <a:gd name="connsiteX28" fmla="*/ 4447 w 2300020"/>
              <a:gd name="connsiteY28" fmla="*/ 178425 h 662520"/>
              <a:gd name="connsiteX29" fmla="*/ 17453 w 2300020"/>
              <a:gd name="connsiteY29" fmla="*/ 135445 h 662520"/>
              <a:gd name="connsiteX30" fmla="*/ 38511 w 2300020"/>
              <a:gd name="connsiteY30" fmla="*/ 97085 h 662520"/>
              <a:gd name="connsiteX31" fmla="*/ 67116 w 2300020"/>
              <a:gd name="connsiteY31" fmla="*/ 64071 h 662520"/>
              <a:gd name="connsiteX32" fmla="*/ 102760 w 2300020"/>
              <a:gd name="connsiteY32" fmla="*/ 37129 h 662520"/>
              <a:gd name="connsiteX33" fmla="*/ 144939 w 2300020"/>
              <a:gd name="connsiteY33" fmla="*/ 16986 h 662520"/>
              <a:gd name="connsiteX34" fmla="*/ 193146 w 2300020"/>
              <a:gd name="connsiteY34" fmla="*/ 4367 h 662520"/>
              <a:gd name="connsiteX35" fmla="*/ 246875 w 2300020"/>
              <a:gd name="connsiteY35" fmla="*/ 0 h 662520"/>
              <a:gd name="connsiteX36" fmla="*/ 290625 w 2300020"/>
              <a:gd name="connsiteY36" fmla="*/ 2882 h 662520"/>
              <a:gd name="connsiteX37" fmla="*/ 331492 w 2300020"/>
              <a:gd name="connsiteY37" fmla="*/ 11678 h 662520"/>
              <a:gd name="connsiteX38" fmla="*/ 369070 w 2300020"/>
              <a:gd name="connsiteY38" fmla="*/ 26614 h 662520"/>
              <a:gd name="connsiteX39" fmla="*/ 402953 w 2300020"/>
              <a:gd name="connsiteY39" fmla="*/ 47914 h 662520"/>
              <a:gd name="connsiteX40" fmla="*/ 432736 w 2300020"/>
              <a:gd name="connsiteY40" fmla="*/ 75804 h 662520"/>
              <a:gd name="connsiteX41" fmla="*/ 458013 w 2300020"/>
              <a:gd name="connsiteY41" fmla="*/ 110509 h 662520"/>
              <a:gd name="connsiteX42" fmla="*/ 478379 w 2300020"/>
              <a:gd name="connsiteY42" fmla="*/ 152255 h 662520"/>
              <a:gd name="connsiteX43" fmla="*/ 493429 w 2300020"/>
              <a:gd name="connsiteY43" fmla="*/ 201265 h 662520"/>
              <a:gd name="connsiteX44" fmla="*/ 502756 w 2300020"/>
              <a:gd name="connsiteY44" fmla="*/ 257766 h 662520"/>
              <a:gd name="connsiteX45" fmla="*/ 505955 w 2300020"/>
              <a:gd name="connsiteY45" fmla="*/ 321983 h 662520"/>
              <a:gd name="connsiteX46" fmla="*/ 503406 w 2300020"/>
              <a:gd name="connsiteY46" fmla="*/ 376707 h 662520"/>
              <a:gd name="connsiteX47" fmla="*/ 495858 w 2300020"/>
              <a:gd name="connsiteY47" fmla="*/ 427041 h 662520"/>
              <a:gd name="connsiteX48" fmla="*/ 483456 w 2300020"/>
              <a:gd name="connsiteY48" fmla="*/ 472909 h 662520"/>
              <a:gd name="connsiteX49" fmla="*/ 466346 w 2300020"/>
              <a:gd name="connsiteY49" fmla="*/ 514232 h 662520"/>
              <a:gd name="connsiteX50" fmla="*/ 444674 w 2300020"/>
              <a:gd name="connsiteY50" fmla="*/ 550937 h 662520"/>
              <a:gd name="connsiteX51" fmla="*/ 418587 w 2300020"/>
              <a:gd name="connsiteY51" fmla="*/ 582945 h 662520"/>
              <a:gd name="connsiteX52" fmla="*/ 388229 w 2300020"/>
              <a:gd name="connsiteY52" fmla="*/ 610181 h 662520"/>
              <a:gd name="connsiteX53" fmla="*/ 353748 w 2300020"/>
              <a:gd name="connsiteY53" fmla="*/ 632569 h 662520"/>
              <a:gd name="connsiteX54" fmla="*/ 315289 w 2300020"/>
              <a:gd name="connsiteY54" fmla="*/ 650033 h 662520"/>
              <a:gd name="connsiteX55" fmla="*/ 272999 w 2300020"/>
              <a:gd name="connsiteY55" fmla="*/ 662495 h 662520"/>
              <a:gd name="connsiteX56" fmla="*/ 592162 w 2300020"/>
              <a:gd name="connsiteY56" fmla="*/ 662520 h 662520"/>
              <a:gd name="connsiteX57" fmla="*/ 571167 w 2300020"/>
              <a:gd name="connsiteY57" fmla="*/ 658030 h 662520"/>
              <a:gd name="connsiteX58" fmla="*/ 551373 w 2300020"/>
              <a:gd name="connsiteY58" fmla="*/ 652783 h 662520"/>
              <a:gd name="connsiteX59" fmla="*/ 532537 w 2300020"/>
              <a:gd name="connsiteY59" fmla="*/ 646826 h 662520"/>
              <a:gd name="connsiteX60" fmla="*/ 514413 w 2300020"/>
              <a:gd name="connsiteY60" fmla="*/ 640206 h 662520"/>
              <a:gd name="connsiteX61" fmla="*/ 514413 w 2300020"/>
              <a:gd name="connsiteY61" fmla="*/ 516293 h 662520"/>
              <a:gd name="connsiteX62" fmla="*/ 596087 w 2300020"/>
              <a:gd name="connsiteY62" fmla="*/ 516293 h 662520"/>
              <a:gd name="connsiteX63" fmla="*/ 612203 w 2300020"/>
              <a:gd name="connsiteY63" fmla="*/ 539439 h 662520"/>
              <a:gd name="connsiteX64" fmla="*/ 635627 w 2300020"/>
              <a:gd name="connsiteY64" fmla="*/ 559242 h 662520"/>
              <a:gd name="connsiteX65" fmla="*/ 666972 w 2300020"/>
              <a:gd name="connsiteY65" fmla="*/ 573062 h 662520"/>
              <a:gd name="connsiteX66" fmla="*/ 706856 w 2300020"/>
              <a:gd name="connsiteY66" fmla="*/ 578256 h 662520"/>
              <a:gd name="connsiteX67" fmla="*/ 749359 w 2300020"/>
              <a:gd name="connsiteY67" fmla="*/ 571758 h 662520"/>
              <a:gd name="connsiteX68" fmla="*/ 784298 w 2300020"/>
              <a:gd name="connsiteY68" fmla="*/ 552322 h 662520"/>
              <a:gd name="connsiteX69" fmla="*/ 807972 w 2300020"/>
              <a:gd name="connsiteY69" fmla="*/ 520038 h 662520"/>
              <a:gd name="connsiteX70" fmla="*/ 816686 w 2300020"/>
              <a:gd name="connsiteY70" fmla="*/ 474992 h 662520"/>
              <a:gd name="connsiteX71" fmla="*/ 809424 w 2300020"/>
              <a:gd name="connsiteY71" fmla="*/ 430240 h 662520"/>
              <a:gd name="connsiteX72" fmla="*/ 787466 w 2300020"/>
              <a:gd name="connsiteY72" fmla="*/ 398602 h 662520"/>
              <a:gd name="connsiteX73" fmla="*/ 750549 w 2300020"/>
              <a:gd name="connsiteY73" fmla="*/ 379812 h 662520"/>
              <a:gd name="connsiteX74" fmla="*/ 698411 w 2300020"/>
              <a:gd name="connsiteY74" fmla="*/ 373608 h 662520"/>
              <a:gd name="connsiteX75" fmla="*/ 649592 w 2300020"/>
              <a:gd name="connsiteY75" fmla="*/ 373608 h 662520"/>
              <a:gd name="connsiteX76" fmla="*/ 649592 w 2300020"/>
              <a:gd name="connsiteY76" fmla="*/ 286308 h 662520"/>
              <a:gd name="connsiteX77" fmla="*/ 690892 w 2300020"/>
              <a:gd name="connsiteY77" fmla="*/ 286308 h 662520"/>
              <a:gd name="connsiteX78" fmla="*/ 744563 w 2300020"/>
              <a:gd name="connsiteY78" fmla="*/ 280133 h 662520"/>
              <a:gd name="connsiteX79" fmla="*/ 783007 w 2300020"/>
              <a:gd name="connsiteY79" fmla="*/ 261550 h 662520"/>
              <a:gd name="connsiteX80" fmla="*/ 806137 w 2300020"/>
              <a:gd name="connsiteY80" fmla="*/ 230469 h 662520"/>
              <a:gd name="connsiteX81" fmla="*/ 813866 w 2300020"/>
              <a:gd name="connsiteY81" fmla="*/ 186804 h 662520"/>
              <a:gd name="connsiteX82" fmla="*/ 808513 w 2300020"/>
              <a:gd name="connsiteY82" fmla="*/ 149115 h 662520"/>
              <a:gd name="connsiteX83" fmla="*/ 792160 w 2300020"/>
              <a:gd name="connsiteY83" fmla="*/ 121104 h 662520"/>
              <a:gd name="connsiteX84" fmla="*/ 764365 w 2300020"/>
              <a:gd name="connsiteY84" fmla="*/ 103651 h 662520"/>
              <a:gd name="connsiteX85" fmla="*/ 724687 w 2300020"/>
              <a:gd name="connsiteY85" fmla="*/ 97637 h 662520"/>
              <a:gd name="connsiteX86" fmla="*/ 687243 w 2300020"/>
              <a:gd name="connsiteY86" fmla="*/ 102374 h 662520"/>
              <a:gd name="connsiteX87" fmla="*/ 657456 w 2300020"/>
              <a:gd name="connsiteY87" fmla="*/ 115117 h 662520"/>
              <a:gd name="connsiteX88" fmla="*/ 634533 w 2300020"/>
              <a:gd name="connsiteY88" fmla="*/ 133668 h 662520"/>
              <a:gd name="connsiteX89" fmla="*/ 617677 w 2300020"/>
              <a:gd name="connsiteY89" fmla="*/ 155828 h 662520"/>
              <a:gd name="connsiteX90" fmla="*/ 539775 w 2300020"/>
              <a:gd name="connsiteY90" fmla="*/ 155828 h 662520"/>
              <a:gd name="connsiteX91" fmla="*/ 539775 w 2300020"/>
              <a:gd name="connsiteY91" fmla="*/ 33807 h 662520"/>
              <a:gd name="connsiteX92" fmla="*/ 584006 w 2300020"/>
              <a:gd name="connsiteY92" fmla="*/ 19813 h 662520"/>
              <a:gd name="connsiteX93" fmla="*/ 631056 w 2300020"/>
              <a:gd name="connsiteY93" fmla="*/ 9159 h 662520"/>
              <a:gd name="connsiteX94" fmla="*/ 681278 w 2300020"/>
              <a:gd name="connsiteY94" fmla="*/ 2378 h 662520"/>
              <a:gd name="connsiteX95" fmla="*/ 735025 w 2300020"/>
              <a:gd name="connsiteY95" fmla="*/ 0 h 662520"/>
              <a:gd name="connsiteX96" fmla="*/ 790395 w 2300020"/>
              <a:gd name="connsiteY96" fmla="*/ 3158 h 662520"/>
              <a:gd name="connsiteX97" fmla="*/ 838689 w 2300020"/>
              <a:gd name="connsiteY97" fmla="*/ 12853 h 662520"/>
              <a:gd name="connsiteX98" fmla="*/ 879380 w 2300020"/>
              <a:gd name="connsiteY98" fmla="*/ 29412 h 662520"/>
              <a:gd name="connsiteX99" fmla="*/ 911943 w 2300020"/>
              <a:gd name="connsiteY99" fmla="*/ 53163 h 662520"/>
              <a:gd name="connsiteX100" fmla="*/ 935853 w 2300020"/>
              <a:gd name="connsiteY100" fmla="*/ 84435 h 662520"/>
              <a:gd name="connsiteX101" fmla="*/ 950584 w 2300020"/>
              <a:gd name="connsiteY101" fmla="*/ 123555 h 662520"/>
              <a:gd name="connsiteX102" fmla="*/ 955611 w 2300020"/>
              <a:gd name="connsiteY102" fmla="*/ 170853 h 662520"/>
              <a:gd name="connsiteX103" fmla="*/ 949453 w 2300020"/>
              <a:gd name="connsiteY103" fmla="*/ 219568 h 662520"/>
              <a:gd name="connsiteX104" fmla="*/ 931581 w 2300020"/>
              <a:gd name="connsiteY104" fmla="*/ 258234 h 662520"/>
              <a:gd name="connsiteX105" fmla="*/ 902895 w 2300020"/>
              <a:gd name="connsiteY105" fmla="*/ 287843 h 662520"/>
              <a:gd name="connsiteX106" fmla="*/ 864296 w 2300020"/>
              <a:gd name="connsiteY106" fmla="*/ 309388 h 662520"/>
              <a:gd name="connsiteX107" fmla="*/ 816686 w 2300020"/>
              <a:gd name="connsiteY107" fmla="*/ 323862 h 662520"/>
              <a:gd name="connsiteX108" fmla="*/ 816686 w 2300020"/>
              <a:gd name="connsiteY108" fmla="*/ 327609 h 662520"/>
              <a:gd name="connsiteX109" fmla="*/ 870681 w 2300020"/>
              <a:gd name="connsiteY109" fmla="*/ 340566 h 662520"/>
              <a:gd name="connsiteX110" fmla="*/ 912283 w 2300020"/>
              <a:gd name="connsiteY110" fmla="*/ 362534 h 662520"/>
              <a:gd name="connsiteX111" fmla="*/ 941719 w 2300020"/>
              <a:gd name="connsiteY111" fmla="*/ 393513 h 662520"/>
              <a:gd name="connsiteX112" fmla="*/ 959215 w 2300020"/>
              <a:gd name="connsiteY112" fmla="*/ 433502 h 662520"/>
              <a:gd name="connsiteX113" fmla="*/ 964996 w 2300020"/>
              <a:gd name="connsiteY113" fmla="*/ 482498 h 662520"/>
              <a:gd name="connsiteX114" fmla="*/ 959936 w 2300020"/>
              <a:gd name="connsiteY114" fmla="*/ 527743 h 662520"/>
              <a:gd name="connsiteX115" fmla="*/ 944659 w 2300020"/>
              <a:gd name="connsiteY115" fmla="*/ 567021 h 662520"/>
              <a:gd name="connsiteX116" fmla="*/ 920122 w 2300020"/>
              <a:gd name="connsiteY116" fmla="*/ 600232 h 662520"/>
              <a:gd name="connsiteX117" fmla="*/ 887285 w 2300020"/>
              <a:gd name="connsiteY117" fmla="*/ 627278 h 662520"/>
              <a:gd name="connsiteX118" fmla="*/ 847106 w 2300020"/>
              <a:gd name="connsiteY118" fmla="*/ 648061 h 662520"/>
              <a:gd name="connsiteX119" fmla="*/ 800544 w 2300020"/>
              <a:gd name="connsiteY119" fmla="*/ 662482 h 662520"/>
              <a:gd name="connsiteX120" fmla="*/ 1360843 w 2300020"/>
              <a:gd name="connsiteY120" fmla="*/ 662495 h 662520"/>
              <a:gd name="connsiteX121" fmla="*/ 1322871 w 2300020"/>
              <a:gd name="connsiteY121" fmla="*/ 649352 h 662520"/>
              <a:gd name="connsiteX122" fmla="*/ 1287296 w 2300020"/>
              <a:gd name="connsiteY122" fmla="*/ 630560 h 662520"/>
              <a:gd name="connsiteX123" fmla="*/ 1254670 w 2300020"/>
              <a:gd name="connsiteY123" fmla="*/ 606062 h 662520"/>
              <a:gd name="connsiteX124" fmla="*/ 1225546 w 2300020"/>
              <a:gd name="connsiteY124" fmla="*/ 575802 h 662520"/>
              <a:gd name="connsiteX125" fmla="*/ 1200477 w 2300020"/>
              <a:gd name="connsiteY125" fmla="*/ 539722 h 662520"/>
              <a:gd name="connsiteX126" fmla="*/ 1180016 w 2300020"/>
              <a:gd name="connsiteY126" fmla="*/ 497766 h 662520"/>
              <a:gd name="connsiteX127" fmla="*/ 1164717 w 2300020"/>
              <a:gd name="connsiteY127" fmla="*/ 449876 h 662520"/>
              <a:gd name="connsiteX128" fmla="*/ 1155131 w 2300020"/>
              <a:gd name="connsiteY128" fmla="*/ 395995 h 662520"/>
              <a:gd name="connsiteX129" fmla="*/ 1151813 w 2300020"/>
              <a:gd name="connsiteY129" fmla="*/ 336067 h 662520"/>
              <a:gd name="connsiteX130" fmla="*/ 1155053 w 2300020"/>
              <a:gd name="connsiteY130" fmla="*/ 276826 h 662520"/>
              <a:gd name="connsiteX131" fmla="*/ 1164415 w 2300020"/>
              <a:gd name="connsiteY131" fmla="*/ 223488 h 662520"/>
              <a:gd name="connsiteX132" fmla="*/ 1179368 w 2300020"/>
              <a:gd name="connsiteY132" fmla="*/ 175997 h 662520"/>
              <a:gd name="connsiteX133" fmla="*/ 1199377 w 2300020"/>
              <a:gd name="connsiteY133" fmla="*/ 134299 h 662520"/>
              <a:gd name="connsiteX134" fmla="*/ 1223910 w 2300020"/>
              <a:gd name="connsiteY134" fmla="*/ 98339 h 662520"/>
              <a:gd name="connsiteX135" fmla="*/ 1252434 w 2300020"/>
              <a:gd name="connsiteY135" fmla="*/ 68062 h 662520"/>
              <a:gd name="connsiteX136" fmla="*/ 1284414 w 2300020"/>
              <a:gd name="connsiteY136" fmla="*/ 43413 h 662520"/>
              <a:gd name="connsiteX137" fmla="*/ 1319318 w 2300020"/>
              <a:gd name="connsiteY137" fmla="*/ 24337 h 662520"/>
              <a:gd name="connsiteX138" fmla="*/ 1356613 w 2300020"/>
              <a:gd name="connsiteY138" fmla="*/ 10780 h 662520"/>
              <a:gd name="connsiteX139" fmla="*/ 1395766 w 2300020"/>
              <a:gd name="connsiteY139" fmla="*/ 2685 h 662520"/>
              <a:gd name="connsiteX140" fmla="*/ 1436243 w 2300020"/>
              <a:gd name="connsiteY140" fmla="*/ 0 h 662520"/>
              <a:gd name="connsiteX141" fmla="*/ 1476722 w 2300020"/>
              <a:gd name="connsiteY141" fmla="*/ 2685 h 662520"/>
              <a:gd name="connsiteX142" fmla="*/ 1515876 w 2300020"/>
              <a:gd name="connsiteY142" fmla="*/ 10780 h 662520"/>
              <a:gd name="connsiteX143" fmla="*/ 1553172 w 2300020"/>
              <a:gd name="connsiteY143" fmla="*/ 24337 h 662520"/>
              <a:gd name="connsiteX144" fmla="*/ 1588076 w 2300020"/>
              <a:gd name="connsiteY144" fmla="*/ 43413 h 662520"/>
              <a:gd name="connsiteX145" fmla="*/ 1620056 w 2300020"/>
              <a:gd name="connsiteY145" fmla="*/ 68062 h 662520"/>
              <a:gd name="connsiteX146" fmla="*/ 1648579 w 2300020"/>
              <a:gd name="connsiteY146" fmla="*/ 98339 h 662520"/>
              <a:gd name="connsiteX147" fmla="*/ 1673111 w 2300020"/>
              <a:gd name="connsiteY147" fmla="*/ 134299 h 662520"/>
              <a:gd name="connsiteX148" fmla="*/ 1693119 w 2300020"/>
              <a:gd name="connsiteY148" fmla="*/ 175997 h 662520"/>
              <a:gd name="connsiteX149" fmla="*/ 1708071 w 2300020"/>
              <a:gd name="connsiteY149" fmla="*/ 223488 h 662520"/>
              <a:gd name="connsiteX150" fmla="*/ 1717433 w 2300020"/>
              <a:gd name="connsiteY150" fmla="*/ 276826 h 662520"/>
              <a:gd name="connsiteX151" fmla="*/ 1720672 w 2300020"/>
              <a:gd name="connsiteY151" fmla="*/ 336067 h 662520"/>
              <a:gd name="connsiteX152" fmla="*/ 1717354 w 2300020"/>
              <a:gd name="connsiteY152" fmla="*/ 395995 h 662520"/>
              <a:gd name="connsiteX153" fmla="*/ 1707768 w 2300020"/>
              <a:gd name="connsiteY153" fmla="*/ 449876 h 662520"/>
              <a:gd name="connsiteX154" fmla="*/ 1692469 w 2300020"/>
              <a:gd name="connsiteY154" fmla="*/ 497766 h 662520"/>
              <a:gd name="connsiteX155" fmla="*/ 1672008 w 2300020"/>
              <a:gd name="connsiteY155" fmla="*/ 539722 h 662520"/>
              <a:gd name="connsiteX156" fmla="*/ 1646939 w 2300020"/>
              <a:gd name="connsiteY156" fmla="*/ 575802 h 662520"/>
              <a:gd name="connsiteX157" fmla="*/ 1617815 w 2300020"/>
              <a:gd name="connsiteY157" fmla="*/ 606062 h 662520"/>
              <a:gd name="connsiteX158" fmla="*/ 1585189 w 2300020"/>
              <a:gd name="connsiteY158" fmla="*/ 630560 h 662520"/>
              <a:gd name="connsiteX159" fmla="*/ 1549614 w 2300020"/>
              <a:gd name="connsiteY159" fmla="*/ 649352 h 662520"/>
              <a:gd name="connsiteX160" fmla="*/ 1511642 w 2300020"/>
              <a:gd name="connsiteY160" fmla="*/ 662495 h 662520"/>
              <a:gd name="connsiteX161" fmla="*/ 1943430 w 2300020"/>
              <a:gd name="connsiteY161" fmla="*/ 662495 h 662520"/>
              <a:gd name="connsiteX162" fmla="*/ 1905459 w 2300020"/>
              <a:gd name="connsiteY162" fmla="*/ 649348 h 662520"/>
              <a:gd name="connsiteX163" fmla="*/ 1869885 w 2300020"/>
              <a:gd name="connsiteY163" fmla="*/ 630555 h 662520"/>
              <a:gd name="connsiteX164" fmla="*/ 1837261 w 2300020"/>
              <a:gd name="connsiteY164" fmla="*/ 606057 h 662520"/>
              <a:gd name="connsiteX165" fmla="*/ 1808138 w 2300020"/>
              <a:gd name="connsiteY165" fmla="*/ 575797 h 662520"/>
              <a:gd name="connsiteX166" fmla="*/ 1783072 w 2300020"/>
              <a:gd name="connsiteY166" fmla="*/ 539718 h 662520"/>
              <a:gd name="connsiteX167" fmla="*/ 1762613 w 2300020"/>
              <a:gd name="connsiteY167" fmla="*/ 497763 h 662520"/>
              <a:gd name="connsiteX168" fmla="*/ 1747315 w 2300020"/>
              <a:gd name="connsiteY168" fmla="*/ 449874 h 662520"/>
              <a:gd name="connsiteX169" fmla="*/ 1737731 w 2300020"/>
              <a:gd name="connsiteY169" fmla="*/ 395995 h 662520"/>
              <a:gd name="connsiteX170" fmla="*/ 1734413 w 2300020"/>
              <a:gd name="connsiteY170" fmla="*/ 336067 h 662520"/>
              <a:gd name="connsiteX171" fmla="*/ 1737652 w 2300020"/>
              <a:gd name="connsiteY171" fmla="*/ 276826 h 662520"/>
              <a:gd name="connsiteX172" fmla="*/ 1747014 w 2300020"/>
              <a:gd name="connsiteY172" fmla="*/ 223488 h 662520"/>
              <a:gd name="connsiteX173" fmla="*/ 1761965 w 2300020"/>
              <a:gd name="connsiteY173" fmla="*/ 175997 h 662520"/>
              <a:gd name="connsiteX174" fmla="*/ 1781973 w 2300020"/>
              <a:gd name="connsiteY174" fmla="*/ 134299 h 662520"/>
              <a:gd name="connsiteX175" fmla="*/ 1806505 w 2300020"/>
              <a:gd name="connsiteY175" fmla="*/ 98339 h 662520"/>
              <a:gd name="connsiteX176" fmla="*/ 1835026 w 2300020"/>
              <a:gd name="connsiteY176" fmla="*/ 68062 h 662520"/>
              <a:gd name="connsiteX177" fmla="*/ 1867005 w 2300020"/>
              <a:gd name="connsiteY177" fmla="*/ 43413 h 662520"/>
              <a:gd name="connsiteX178" fmla="*/ 1901908 w 2300020"/>
              <a:gd name="connsiteY178" fmla="*/ 24337 h 662520"/>
              <a:gd name="connsiteX179" fmla="*/ 1939202 w 2300020"/>
              <a:gd name="connsiteY179" fmla="*/ 10780 h 662520"/>
              <a:gd name="connsiteX180" fmla="*/ 1978353 w 2300020"/>
              <a:gd name="connsiteY180" fmla="*/ 2685 h 662520"/>
              <a:gd name="connsiteX181" fmla="*/ 2018830 w 2300020"/>
              <a:gd name="connsiteY181" fmla="*/ 0 h 662520"/>
              <a:gd name="connsiteX182" fmla="*/ 2059309 w 2300020"/>
              <a:gd name="connsiteY182" fmla="*/ 2685 h 662520"/>
              <a:gd name="connsiteX183" fmla="*/ 2098463 w 2300020"/>
              <a:gd name="connsiteY183" fmla="*/ 10780 h 662520"/>
              <a:gd name="connsiteX184" fmla="*/ 2135759 w 2300020"/>
              <a:gd name="connsiteY184" fmla="*/ 24337 h 662520"/>
              <a:gd name="connsiteX185" fmla="*/ 2170664 w 2300020"/>
              <a:gd name="connsiteY185" fmla="*/ 43413 h 662520"/>
              <a:gd name="connsiteX186" fmla="*/ 2202644 w 2300020"/>
              <a:gd name="connsiteY186" fmla="*/ 68062 h 662520"/>
              <a:gd name="connsiteX187" fmla="*/ 2231166 w 2300020"/>
              <a:gd name="connsiteY187" fmla="*/ 98339 h 662520"/>
              <a:gd name="connsiteX188" fmla="*/ 2255698 w 2300020"/>
              <a:gd name="connsiteY188" fmla="*/ 134299 h 662520"/>
              <a:gd name="connsiteX189" fmla="*/ 2275706 w 2300020"/>
              <a:gd name="connsiteY189" fmla="*/ 175997 h 662520"/>
              <a:gd name="connsiteX190" fmla="*/ 2290658 w 2300020"/>
              <a:gd name="connsiteY190" fmla="*/ 223488 h 662520"/>
              <a:gd name="connsiteX191" fmla="*/ 2300020 w 2300020"/>
              <a:gd name="connsiteY191" fmla="*/ 276826 h 662520"/>
              <a:gd name="connsiteX0" fmla="*/ 74231 w 2290658"/>
              <a:gd name="connsiteY0" fmla="*/ 662482 h 662520"/>
              <a:gd name="connsiteX1" fmla="*/ 60344 w 2290658"/>
              <a:gd name="connsiteY1" fmla="*/ 659582 h 662520"/>
              <a:gd name="connsiteX2" fmla="*/ 47517 w 2290658"/>
              <a:gd name="connsiteY2" fmla="*/ 656437 h 662520"/>
              <a:gd name="connsiteX3" fmla="*/ 35823 w 2290658"/>
              <a:gd name="connsiteY3" fmla="*/ 653092 h 662520"/>
              <a:gd name="connsiteX4" fmla="*/ 25336 w 2290658"/>
              <a:gd name="connsiteY4" fmla="*/ 649592 h 662520"/>
              <a:gd name="connsiteX5" fmla="*/ 25336 w 2290658"/>
              <a:gd name="connsiteY5" fmla="*/ 533196 h 662520"/>
              <a:gd name="connsiteX6" fmla="*/ 104190 w 2290658"/>
              <a:gd name="connsiteY6" fmla="*/ 533196 h 662520"/>
              <a:gd name="connsiteX7" fmla="*/ 116931 w 2290658"/>
              <a:gd name="connsiteY7" fmla="*/ 550133 h 662520"/>
              <a:gd name="connsiteX8" fmla="*/ 135043 w 2290658"/>
              <a:gd name="connsiteY8" fmla="*/ 564522 h 662520"/>
              <a:gd name="connsiteX9" fmla="*/ 160020 w 2290658"/>
              <a:gd name="connsiteY9" fmla="*/ 574514 h 662520"/>
              <a:gd name="connsiteX10" fmla="*/ 193357 w 2290658"/>
              <a:gd name="connsiteY10" fmla="*/ 578256 h 662520"/>
              <a:gd name="connsiteX11" fmla="*/ 233829 w 2290658"/>
              <a:gd name="connsiteY11" fmla="*/ 573672 h 662520"/>
              <a:gd name="connsiteX12" fmla="*/ 297105 w 2290658"/>
              <a:gd name="connsiteY12" fmla="*/ 537246 h 662520"/>
              <a:gd name="connsiteX13" fmla="*/ 320040 w 2290658"/>
              <a:gd name="connsiteY13" fmla="*/ 505568 h 662520"/>
              <a:gd name="connsiteX14" fmla="*/ 337261 w 2290658"/>
              <a:gd name="connsiteY14" fmla="*/ 465022 h 662520"/>
              <a:gd name="connsiteX15" fmla="*/ 348834 w 2290658"/>
              <a:gd name="connsiteY15" fmla="*/ 415691 h 662520"/>
              <a:gd name="connsiteX16" fmla="*/ 354825 w 2290658"/>
              <a:gd name="connsiteY16" fmla="*/ 357657 h 662520"/>
              <a:gd name="connsiteX17" fmla="*/ 325357 w 2290658"/>
              <a:gd name="connsiteY17" fmla="*/ 385098 h 662520"/>
              <a:gd name="connsiteX18" fmla="*/ 289466 w 2290658"/>
              <a:gd name="connsiteY18" fmla="*/ 406117 h 662520"/>
              <a:gd name="connsiteX19" fmla="*/ 247767 w 2290658"/>
              <a:gd name="connsiteY19" fmla="*/ 419568 h 662520"/>
              <a:gd name="connsiteX20" fmla="*/ 200875 w 2290658"/>
              <a:gd name="connsiteY20" fmla="*/ 424306 h 662520"/>
              <a:gd name="connsiteX21" fmla="*/ 153099 w 2290658"/>
              <a:gd name="connsiteY21" fmla="*/ 420031 h 662520"/>
              <a:gd name="connsiteX22" fmla="*/ 110150 w 2290658"/>
              <a:gd name="connsiteY22" fmla="*/ 407348 h 662520"/>
              <a:gd name="connsiteX23" fmla="*/ 72948 w 2290658"/>
              <a:gd name="connsiteY23" fmla="*/ 386472 h 662520"/>
              <a:gd name="connsiteX24" fmla="*/ 42412 w 2290658"/>
              <a:gd name="connsiteY24" fmla="*/ 357614 h 662520"/>
              <a:gd name="connsiteX25" fmla="*/ 19463 w 2290658"/>
              <a:gd name="connsiteY25" fmla="*/ 320990 h 662520"/>
              <a:gd name="connsiteX26" fmla="*/ 5019 w 2290658"/>
              <a:gd name="connsiteY26" fmla="*/ 276814 h 662520"/>
              <a:gd name="connsiteX27" fmla="*/ 0 w 2290658"/>
              <a:gd name="connsiteY27" fmla="*/ 225297 h 662520"/>
              <a:gd name="connsiteX28" fmla="*/ 4447 w 2290658"/>
              <a:gd name="connsiteY28" fmla="*/ 178425 h 662520"/>
              <a:gd name="connsiteX29" fmla="*/ 17453 w 2290658"/>
              <a:gd name="connsiteY29" fmla="*/ 135445 h 662520"/>
              <a:gd name="connsiteX30" fmla="*/ 38511 w 2290658"/>
              <a:gd name="connsiteY30" fmla="*/ 97085 h 662520"/>
              <a:gd name="connsiteX31" fmla="*/ 67116 w 2290658"/>
              <a:gd name="connsiteY31" fmla="*/ 64071 h 662520"/>
              <a:gd name="connsiteX32" fmla="*/ 102760 w 2290658"/>
              <a:gd name="connsiteY32" fmla="*/ 37129 h 662520"/>
              <a:gd name="connsiteX33" fmla="*/ 144939 w 2290658"/>
              <a:gd name="connsiteY33" fmla="*/ 16986 h 662520"/>
              <a:gd name="connsiteX34" fmla="*/ 193146 w 2290658"/>
              <a:gd name="connsiteY34" fmla="*/ 4367 h 662520"/>
              <a:gd name="connsiteX35" fmla="*/ 246875 w 2290658"/>
              <a:gd name="connsiteY35" fmla="*/ 0 h 662520"/>
              <a:gd name="connsiteX36" fmla="*/ 290625 w 2290658"/>
              <a:gd name="connsiteY36" fmla="*/ 2882 h 662520"/>
              <a:gd name="connsiteX37" fmla="*/ 331492 w 2290658"/>
              <a:gd name="connsiteY37" fmla="*/ 11678 h 662520"/>
              <a:gd name="connsiteX38" fmla="*/ 369070 w 2290658"/>
              <a:gd name="connsiteY38" fmla="*/ 26614 h 662520"/>
              <a:gd name="connsiteX39" fmla="*/ 402953 w 2290658"/>
              <a:gd name="connsiteY39" fmla="*/ 47914 h 662520"/>
              <a:gd name="connsiteX40" fmla="*/ 432736 w 2290658"/>
              <a:gd name="connsiteY40" fmla="*/ 75804 h 662520"/>
              <a:gd name="connsiteX41" fmla="*/ 458013 w 2290658"/>
              <a:gd name="connsiteY41" fmla="*/ 110509 h 662520"/>
              <a:gd name="connsiteX42" fmla="*/ 478379 w 2290658"/>
              <a:gd name="connsiteY42" fmla="*/ 152255 h 662520"/>
              <a:gd name="connsiteX43" fmla="*/ 493429 w 2290658"/>
              <a:gd name="connsiteY43" fmla="*/ 201265 h 662520"/>
              <a:gd name="connsiteX44" fmla="*/ 502756 w 2290658"/>
              <a:gd name="connsiteY44" fmla="*/ 257766 h 662520"/>
              <a:gd name="connsiteX45" fmla="*/ 505955 w 2290658"/>
              <a:gd name="connsiteY45" fmla="*/ 321983 h 662520"/>
              <a:gd name="connsiteX46" fmla="*/ 503406 w 2290658"/>
              <a:gd name="connsiteY46" fmla="*/ 376707 h 662520"/>
              <a:gd name="connsiteX47" fmla="*/ 495858 w 2290658"/>
              <a:gd name="connsiteY47" fmla="*/ 427041 h 662520"/>
              <a:gd name="connsiteX48" fmla="*/ 483456 w 2290658"/>
              <a:gd name="connsiteY48" fmla="*/ 472909 h 662520"/>
              <a:gd name="connsiteX49" fmla="*/ 466346 w 2290658"/>
              <a:gd name="connsiteY49" fmla="*/ 514232 h 662520"/>
              <a:gd name="connsiteX50" fmla="*/ 444674 w 2290658"/>
              <a:gd name="connsiteY50" fmla="*/ 550937 h 662520"/>
              <a:gd name="connsiteX51" fmla="*/ 418587 w 2290658"/>
              <a:gd name="connsiteY51" fmla="*/ 582945 h 662520"/>
              <a:gd name="connsiteX52" fmla="*/ 388229 w 2290658"/>
              <a:gd name="connsiteY52" fmla="*/ 610181 h 662520"/>
              <a:gd name="connsiteX53" fmla="*/ 353748 w 2290658"/>
              <a:gd name="connsiteY53" fmla="*/ 632569 h 662520"/>
              <a:gd name="connsiteX54" fmla="*/ 315289 w 2290658"/>
              <a:gd name="connsiteY54" fmla="*/ 650033 h 662520"/>
              <a:gd name="connsiteX55" fmla="*/ 272999 w 2290658"/>
              <a:gd name="connsiteY55" fmla="*/ 662495 h 662520"/>
              <a:gd name="connsiteX56" fmla="*/ 592162 w 2290658"/>
              <a:gd name="connsiteY56" fmla="*/ 662520 h 662520"/>
              <a:gd name="connsiteX57" fmla="*/ 571167 w 2290658"/>
              <a:gd name="connsiteY57" fmla="*/ 658030 h 662520"/>
              <a:gd name="connsiteX58" fmla="*/ 551373 w 2290658"/>
              <a:gd name="connsiteY58" fmla="*/ 652783 h 662520"/>
              <a:gd name="connsiteX59" fmla="*/ 532537 w 2290658"/>
              <a:gd name="connsiteY59" fmla="*/ 646826 h 662520"/>
              <a:gd name="connsiteX60" fmla="*/ 514413 w 2290658"/>
              <a:gd name="connsiteY60" fmla="*/ 640206 h 662520"/>
              <a:gd name="connsiteX61" fmla="*/ 514413 w 2290658"/>
              <a:gd name="connsiteY61" fmla="*/ 516293 h 662520"/>
              <a:gd name="connsiteX62" fmla="*/ 596087 w 2290658"/>
              <a:gd name="connsiteY62" fmla="*/ 516293 h 662520"/>
              <a:gd name="connsiteX63" fmla="*/ 612203 w 2290658"/>
              <a:gd name="connsiteY63" fmla="*/ 539439 h 662520"/>
              <a:gd name="connsiteX64" fmla="*/ 635627 w 2290658"/>
              <a:gd name="connsiteY64" fmla="*/ 559242 h 662520"/>
              <a:gd name="connsiteX65" fmla="*/ 666972 w 2290658"/>
              <a:gd name="connsiteY65" fmla="*/ 573062 h 662520"/>
              <a:gd name="connsiteX66" fmla="*/ 706856 w 2290658"/>
              <a:gd name="connsiteY66" fmla="*/ 578256 h 662520"/>
              <a:gd name="connsiteX67" fmla="*/ 749359 w 2290658"/>
              <a:gd name="connsiteY67" fmla="*/ 571758 h 662520"/>
              <a:gd name="connsiteX68" fmla="*/ 784298 w 2290658"/>
              <a:gd name="connsiteY68" fmla="*/ 552322 h 662520"/>
              <a:gd name="connsiteX69" fmla="*/ 807972 w 2290658"/>
              <a:gd name="connsiteY69" fmla="*/ 520038 h 662520"/>
              <a:gd name="connsiteX70" fmla="*/ 816686 w 2290658"/>
              <a:gd name="connsiteY70" fmla="*/ 474992 h 662520"/>
              <a:gd name="connsiteX71" fmla="*/ 809424 w 2290658"/>
              <a:gd name="connsiteY71" fmla="*/ 430240 h 662520"/>
              <a:gd name="connsiteX72" fmla="*/ 787466 w 2290658"/>
              <a:gd name="connsiteY72" fmla="*/ 398602 h 662520"/>
              <a:gd name="connsiteX73" fmla="*/ 750549 w 2290658"/>
              <a:gd name="connsiteY73" fmla="*/ 379812 h 662520"/>
              <a:gd name="connsiteX74" fmla="*/ 698411 w 2290658"/>
              <a:gd name="connsiteY74" fmla="*/ 373608 h 662520"/>
              <a:gd name="connsiteX75" fmla="*/ 649592 w 2290658"/>
              <a:gd name="connsiteY75" fmla="*/ 373608 h 662520"/>
              <a:gd name="connsiteX76" fmla="*/ 649592 w 2290658"/>
              <a:gd name="connsiteY76" fmla="*/ 286308 h 662520"/>
              <a:gd name="connsiteX77" fmla="*/ 690892 w 2290658"/>
              <a:gd name="connsiteY77" fmla="*/ 286308 h 662520"/>
              <a:gd name="connsiteX78" fmla="*/ 744563 w 2290658"/>
              <a:gd name="connsiteY78" fmla="*/ 280133 h 662520"/>
              <a:gd name="connsiteX79" fmla="*/ 783007 w 2290658"/>
              <a:gd name="connsiteY79" fmla="*/ 261550 h 662520"/>
              <a:gd name="connsiteX80" fmla="*/ 806137 w 2290658"/>
              <a:gd name="connsiteY80" fmla="*/ 230469 h 662520"/>
              <a:gd name="connsiteX81" fmla="*/ 813866 w 2290658"/>
              <a:gd name="connsiteY81" fmla="*/ 186804 h 662520"/>
              <a:gd name="connsiteX82" fmla="*/ 808513 w 2290658"/>
              <a:gd name="connsiteY82" fmla="*/ 149115 h 662520"/>
              <a:gd name="connsiteX83" fmla="*/ 792160 w 2290658"/>
              <a:gd name="connsiteY83" fmla="*/ 121104 h 662520"/>
              <a:gd name="connsiteX84" fmla="*/ 764365 w 2290658"/>
              <a:gd name="connsiteY84" fmla="*/ 103651 h 662520"/>
              <a:gd name="connsiteX85" fmla="*/ 724687 w 2290658"/>
              <a:gd name="connsiteY85" fmla="*/ 97637 h 662520"/>
              <a:gd name="connsiteX86" fmla="*/ 687243 w 2290658"/>
              <a:gd name="connsiteY86" fmla="*/ 102374 h 662520"/>
              <a:gd name="connsiteX87" fmla="*/ 657456 w 2290658"/>
              <a:gd name="connsiteY87" fmla="*/ 115117 h 662520"/>
              <a:gd name="connsiteX88" fmla="*/ 634533 w 2290658"/>
              <a:gd name="connsiteY88" fmla="*/ 133668 h 662520"/>
              <a:gd name="connsiteX89" fmla="*/ 617677 w 2290658"/>
              <a:gd name="connsiteY89" fmla="*/ 155828 h 662520"/>
              <a:gd name="connsiteX90" fmla="*/ 539775 w 2290658"/>
              <a:gd name="connsiteY90" fmla="*/ 155828 h 662520"/>
              <a:gd name="connsiteX91" fmla="*/ 539775 w 2290658"/>
              <a:gd name="connsiteY91" fmla="*/ 33807 h 662520"/>
              <a:gd name="connsiteX92" fmla="*/ 584006 w 2290658"/>
              <a:gd name="connsiteY92" fmla="*/ 19813 h 662520"/>
              <a:gd name="connsiteX93" fmla="*/ 631056 w 2290658"/>
              <a:gd name="connsiteY93" fmla="*/ 9159 h 662520"/>
              <a:gd name="connsiteX94" fmla="*/ 681278 w 2290658"/>
              <a:gd name="connsiteY94" fmla="*/ 2378 h 662520"/>
              <a:gd name="connsiteX95" fmla="*/ 735025 w 2290658"/>
              <a:gd name="connsiteY95" fmla="*/ 0 h 662520"/>
              <a:gd name="connsiteX96" fmla="*/ 790395 w 2290658"/>
              <a:gd name="connsiteY96" fmla="*/ 3158 h 662520"/>
              <a:gd name="connsiteX97" fmla="*/ 838689 w 2290658"/>
              <a:gd name="connsiteY97" fmla="*/ 12853 h 662520"/>
              <a:gd name="connsiteX98" fmla="*/ 879380 w 2290658"/>
              <a:gd name="connsiteY98" fmla="*/ 29412 h 662520"/>
              <a:gd name="connsiteX99" fmla="*/ 911943 w 2290658"/>
              <a:gd name="connsiteY99" fmla="*/ 53163 h 662520"/>
              <a:gd name="connsiteX100" fmla="*/ 935853 w 2290658"/>
              <a:gd name="connsiteY100" fmla="*/ 84435 h 662520"/>
              <a:gd name="connsiteX101" fmla="*/ 950584 w 2290658"/>
              <a:gd name="connsiteY101" fmla="*/ 123555 h 662520"/>
              <a:gd name="connsiteX102" fmla="*/ 955611 w 2290658"/>
              <a:gd name="connsiteY102" fmla="*/ 170853 h 662520"/>
              <a:gd name="connsiteX103" fmla="*/ 949453 w 2290658"/>
              <a:gd name="connsiteY103" fmla="*/ 219568 h 662520"/>
              <a:gd name="connsiteX104" fmla="*/ 931581 w 2290658"/>
              <a:gd name="connsiteY104" fmla="*/ 258234 h 662520"/>
              <a:gd name="connsiteX105" fmla="*/ 902895 w 2290658"/>
              <a:gd name="connsiteY105" fmla="*/ 287843 h 662520"/>
              <a:gd name="connsiteX106" fmla="*/ 864296 w 2290658"/>
              <a:gd name="connsiteY106" fmla="*/ 309388 h 662520"/>
              <a:gd name="connsiteX107" fmla="*/ 816686 w 2290658"/>
              <a:gd name="connsiteY107" fmla="*/ 323862 h 662520"/>
              <a:gd name="connsiteX108" fmla="*/ 816686 w 2290658"/>
              <a:gd name="connsiteY108" fmla="*/ 327609 h 662520"/>
              <a:gd name="connsiteX109" fmla="*/ 870681 w 2290658"/>
              <a:gd name="connsiteY109" fmla="*/ 340566 h 662520"/>
              <a:gd name="connsiteX110" fmla="*/ 912283 w 2290658"/>
              <a:gd name="connsiteY110" fmla="*/ 362534 h 662520"/>
              <a:gd name="connsiteX111" fmla="*/ 941719 w 2290658"/>
              <a:gd name="connsiteY111" fmla="*/ 393513 h 662520"/>
              <a:gd name="connsiteX112" fmla="*/ 959215 w 2290658"/>
              <a:gd name="connsiteY112" fmla="*/ 433502 h 662520"/>
              <a:gd name="connsiteX113" fmla="*/ 964996 w 2290658"/>
              <a:gd name="connsiteY113" fmla="*/ 482498 h 662520"/>
              <a:gd name="connsiteX114" fmla="*/ 959936 w 2290658"/>
              <a:gd name="connsiteY114" fmla="*/ 527743 h 662520"/>
              <a:gd name="connsiteX115" fmla="*/ 944659 w 2290658"/>
              <a:gd name="connsiteY115" fmla="*/ 567021 h 662520"/>
              <a:gd name="connsiteX116" fmla="*/ 920122 w 2290658"/>
              <a:gd name="connsiteY116" fmla="*/ 600232 h 662520"/>
              <a:gd name="connsiteX117" fmla="*/ 887285 w 2290658"/>
              <a:gd name="connsiteY117" fmla="*/ 627278 h 662520"/>
              <a:gd name="connsiteX118" fmla="*/ 847106 w 2290658"/>
              <a:gd name="connsiteY118" fmla="*/ 648061 h 662520"/>
              <a:gd name="connsiteX119" fmla="*/ 800544 w 2290658"/>
              <a:gd name="connsiteY119" fmla="*/ 662482 h 662520"/>
              <a:gd name="connsiteX120" fmla="*/ 1360843 w 2290658"/>
              <a:gd name="connsiteY120" fmla="*/ 662495 h 662520"/>
              <a:gd name="connsiteX121" fmla="*/ 1322871 w 2290658"/>
              <a:gd name="connsiteY121" fmla="*/ 649352 h 662520"/>
              <a:gd name="connsiteX122" fmla="*/ 1287296 w 2290658"/>
              <a:gd name="connsiteY122" fmla="*/ 630560 h 662520"/>
              <a:gd name="connsiteX123" fmla="*/ 1254670 w 2290658"/>
              <a:gd name="connsiteY123" fmla="*/ 606062 h 662520"/>
              <a:gd name="connsiteX124" fmla="*/ 1225546 w 2290658"/>
              <a:gd name="connsiteY124" fmla="*/ 575802 h 662520"/>
              <a:gd name="connsiteX125" fmla="*/ 1200477 w 2290658"/>
              <a:gd name="connsiteY125" fmla="*/ 539722 h 662520"/>
              <a:gd name="connsiteX126" fmla="*/ 1180016 w 2290658"/>
              <a:gd name="connsiteY126" fmla="*/ 497766 h 662520"/>
              <a:gd name="connsiteX127" fmla="*/ 1164717 w 2290658"/>
              <a:gd name="connsiteY127" fmla="*/ 449876 h 662520"/>
              <a:gd name="connsiteX128" fmla="*/ 1155131 w 2290658"/>
              <a:gd name="connsiteY128" fmla="*/ 395995 h 662520"/>
              <a:gd name="connsiteX129" fmla="*/ 1151813 w 2290658"/>
              <a:gd name="connsiteY129" fmla="*/ 336067 h 662520"/>
              <a:gd name="connsiteX130" fmla="*/ 1155053 w 2290658"/>
              <a:gd name="connsiteY130" fmla="*/ 276826 h 662520"/>
              <a:gd name="connsiteX131" fmla="*/ 1164415 w 2290658"/>
              <a:gd name="connsiteY131" fmla="*/ 223488 h 662520"/>
              <a:gd name="connsiteX132" fmla="*/ 1179368 w 2290658"/>
              <a:gd name="connsiteY132" fmla="*/ 175997 h 662520"/>
              <a:gd name="connsiteX133" fmla="*/ 1199377 w 2290658"/>
              <a:gd name="connsiteY133" fmla="*/ 134299 h 662520"/>
              <a:gd name="connsiteX134" fmla="*/ 1223910 w 2290658"/>
              <a:gd name="connsiteY134" fmla="*/ 98339 h 662520"/>
              <a:gd name="connsiteX135" fmla="*/ 1252434 w 2290658"/>
              <a:gd name="connsiteY135" fmla="*/ 68062 h 662520"/>
              <a:gd name="connsiteX136" fmla="*/ 1284414 w 2290658"/>
              <a:gd name="connsiteY136" fmla="*/ 43413 h 662520"/>
              <a:gd name="connsiteX137" fmla="*/ 1319318 w 2290658"/>
              <a:gd name="connsiteY137" fmla="*/ 24337 h 662520"/>
              <a:gd name="connsiteX138" fmla="*/ 1356613 w 2290658"/>
              <a:gd name="connsiteY138" fmla="*/ 10780 h 662520"/>
              <a:gd name="connsiteX139" fmla="*/ 1395766 w 2290658"/>
              <a:gd name="connsiteY139" fmla="*/ 2685 h 662520"/>
              <a:gd name="connsiteX140" fmla="*/ 1436243 w 2290658"/>
              <a:gd name="connsiteY140" fmla="*/ 0 h 662520"/>
              <a:gd name="connsiteX141" fmla="*/ 1476722 w 2290658"/>
              <a:gd name="connsiteY141" fmla="*/ 2685 h 662520"/>
              <a:gd name="connsiteX142" fmla="*/ 1515876 w 2290658"/>
              <a:gd name="connsiteY142" fmla="*/ 10780 h 662520"/>
              <a:gd name="connsiteX143" fmla="*/ 1553172 w 2290658"/>
              <a:gd name="connsiteY143" fmla="*/ 24337 h 662520"/>
              <a:gd name="connsiteX144" fmla="*/ 1588076 w 2290658"/>
              <a:gd name="connsiteY144" fmla="*/ 43413 h 662520"/>
              <a:gd name="connsiteX145" fmla="*/ 1620056 w 2290658"/>
              <a:gd name="connsiteY145" fmla="*/ 68062 h 662520"/>
              <a:gd name="connsiteX146" fmla="*/ 1648579 w 2290658"/>
              <a:gd name="connsiteY146" fmla="*/ 98339 h 662520"/>
              <a:gd name="connsiteX147" fmla="*/ 1673111 w 2290658"/>
              <a:gd name="connsiteY147" fmla="*/ 134299 h 662520"/>
              <a:gd name="connsiteX148" fmla="*/ 1693119 w 2290658"/>
              <a:gd name="connsiteY148" fmla="*/ 175997 h 662520"/>
              <a:gd name="connsiteX149" fmla="*/ 1708071 w 2290658"/>
              <a:gd name="connsiteY149" fmla="*/ 223488 h 662520"/>
              <a:gd name="connsiteX150" fmla="*/ 1717433 w 2290658"/>
              <a:gd name="connsiteY150" fmla="*/ 276826 h 662520"/>
              <a:gd name="connsiteX151" fmla="*/ 1720672 w 2290658"/>
              <a:gd name="connsiteY151" fmla="*/ 336067 h 662520"/>
              <a:gd name="connsiteX152" fmla="*/ 1717354 w 2290658"/>
              <a:gd name="connsiteY152" fmla="*/ 395995 h 662520"/>
              <a:gd name="connsiteX153" fmla="*/ 1707768 w 2290658"/>
              <a:gd name="connsiteY153" fmla="*/ 449876 h 662520"/>
              <a:gd name="connsiteX154" fmla="*/ 1692469 w 2290658"/>
              <a:gd name="connsiteY154" fmla="*/ 497766 h 662520"/>
              <a:gd name="connsiteX155" fmla="*/ 1672008 w 2290658"/>
              <a:gd name="connsiteY155" fmla="*/ 539722 h 662520"/>
              <a:gd name="connsiteX156" fmla="*/ 1646939 w 2290658"/>
              <a:gd name="connsiteY156" fmla="*/ 575802 h 662520"/>
              <a:gd name="connsiteX157" fmla="*/ 1617815 w 2290658"/>
              <a:gd name="connsiteY157" fmla="*/ 606062 h 662520"/>
              <a:gd name="connsiteX158" fmla="*/ 1585189 w 2290658"/>
              <a:gd name="connsiteY158" fmla="*/ 630560 h 662520"/>
              <a:gd name="connsiteX159" fmla="*/ 1549614 w 2290658"/>
              <a:gd name="connsiteY159" fmla="*/ 649352 h 662520"/>
              <a:gd name="connsiteX160" fmla="*/ 1511642 w 2290658"/>
              <a:gd name="connsiteY160" fmla="*/ 662495 h 662520"/>
              <a:gd name="connsiteX161" fmla="*/ 1943430 w 2290658"/>
              <a:gd name="connsiteY161" fmla="*/ 662495 h 662520"/>
              <a:gd name="connsiteX162" fmla="*/ 1905459 w 2290658"/>
              <a:gd name="connsiteY162" fmla="*/ 649348 h 662520"/>
              <a:gd name="connsiteX163" fmla="*/ 1869885 w 2290658"/>
              <a:gd name="connsiteY163" fmla="*/ 630555 h 662520"/>
              <a:gd name="connsiteX164" fmla="*/ 1837261 w 2290658"/>
              <a:gd name="connsiteY164" fmla="*/ 606057 h 662520"/>
              <a:gd name="connsiteX165" fmla="*/ 1808138 w 2290658"/>
              <a:gd name="connsiteY165" fmla="*/ 575797 h 662520"/>
              <a:gd name="connsiteX166" fmla="*/ 1783072 w 2290658"/>
              <a:gd name="connsiteY166" fmla="*/ 539718 h 662520"/>
              <a:gd name="connsiteX167" fmla="*/ 1762613 w 2290658"/>
              <a:gd name="connsiteY167" fmla="*/ 497763 h 662520"/>
              <a:gd name="connsiteX168" fmla="*/ 1747315 w 2290658"/>
              <a:gd name="connsiteY168" fmla="*/ 449874 h 662520"/>
              <a:gd name="connsiteX169" fmla="*/ 1737731 w 2290658"/>
              <a:gd name="connsiteY169" fmla="*/ 395995 h 662520"/>
              <a:gd name="connsiteX170" fmla="*/ 1734413 w 2290658"/>
              <a:gd name="connsiteY170" fmla="*/ 336067 h 662520"/>
              <a:gd name="connsiteX171" fmla="*/ 1737652 w 2290658"/>
              <a:gd name="connsiteY171" fmla="*/ 276826 h 662520"/>
              <a:gd name="connsiteX172" fmla="*/ 1747014 w 2290658"/>
              <a:gd name="connsiteY172" fmla="*/ 223488 h 662520"/>
              <a:gd name="connsiteX173" fmla="*/ 1761965 w 2290658"/>
              <a:gd name="connsiteY173" fmla="*/ 175997 h 662520"/>
              <a:gd name="connsiteX174" fmla="*/ 1781973 w 2290658"/>
              <a:gd name="connsiteY174" fmla="*/ 134299 h 662520"/>
              <a:gd name="connsiteX175" fmla="*/ 1806505 w 2290658"/>
              <a:gd name="connsiteY175" fmla="*/ 98339 h 662520"/>
              <a:gd name="connsiteX176" fmla="*/ 1835026 w 2290658"/>
              <a:gd name="connsiteY176" fmla="*/ 68062 h 662520"/>
              <a:gd name="connsiteX177" fmla="*/ 1867005 w 2290658"/>
              <a:gd name="connsiteY177" fmla="*/ 43413 h 662520"/>
              <a:gd name="connsiteX178" fmla="*/ 1901908 w 2290658"/>
              <a:gd name="connsiteY178" fmla="*/ 24337 h 662520"/>
              <a:gd name="connsiteX179" fmla="*/ 1939202 w 2290658"/>
              <a:gd name="connsiteY179" fmla="*/ 10780 h 662520"/>
              <a:gd name="connsiteX180" fmla="*/ 1978353 w 2290658"/>
              <a:gd name="connsiteY180" fmla="*/ 2685 h 662520"/>
              <a:gd name="connsiteX181" fmla="*/ 2018830 w 2290658"/>
              <a:gd name="connsiteY181" fmla="*/ 0 h 662520"/>
              <a:gd name="connsiteX182" fmla="*/ 2059309 w 2290658"/>
              <a:gd name="connsiteY182" fmla="*/ 2685 h 662520"/>
              <a:gd name="connsiteX183" fmla="*/ 2098463 w 2290658"/>
              <a:gd name="connsiteY183" fmla="*/ 10780 h 662520"/>
              <a:gd name="connsiteX184" fmla="*/ 2135759 w 2290658"/>
              <a:gd name="connsiteY184" fmla="*/ 24337 h 662520"/>
              <a:gd name="connsiteX185" fmla="*/ 2170664 w 2290658"/>
              <a:gd name="connsiteY185" fmla="*/ 43413 h 662520"/>
              <a:gd name="connsiteX186" fmla="*/ 2202644 w 2290658"/>
              <a:gd name="connsiteY186" fmla="*/ 68062 h 662520"/>
              <a:gd name="connsiteX187" fmla="*/ 2231166 w 2290658"/>
              <a:gd name="connsiteY187" fmla="*/ 98339 h 662520"/>
              <a:gd name="connsiteX188" fmla="*/ 2255698 w 2290658"/>
              <a:gd name="connsiteY188" fmla="*/ 134299 h 662520"/>
              <a:gd name="connsiteX189" fmla="*/ 2275706 w 2290658"/>
              <a:gd name="connsiteY189" fmla="*/ 175997 h 662520"/>
              <a:gd name="connsiteX190" fmla="*/ 2290658 w 2290658"/>
              <a:gd name="connsiteY190" fmla="*/ 223488 h 662520"/>
              <a:gd name="connsiteX0" fmla="*/ 74231 w 2275706"/>
              <a:gd name="connsiteY0" fmla="*/ 662482 h 662520"/>
              <a:gd name="connsiteX1" fmla="*/ 60344 w 2275706"/>
              <a:gd name="connsiteY1" fmla="*/ 659582 h 662520"/>
              <a:gd name="connsiteX2" fmla="*/ 47517 w 2275706"/>
              <a:gd name="connsiteY2" fmla="*/ 656437 h 662520"/>
              <a:gd name="connsiteX3" fmla="*/ 35823 w 2275706"/>
              <a:gd name="connsiteY3" fmla="*/ 653092 h 662520"/>
              <a:gd name="connsiteX4" fmla="*/ 25336 w 2275706"/>
              <a:gd name="connsiteY4" fmla="*/ 649592 h 662520"/>
              <a:gd name="connsiteX5" fmla="*/ 25336 w 2275706"/>
              <a:gd name="connsiteY5" fmla="*/ 533196 h 662520"/>
              <a:gd name="connsiteX6" fmla="*/ 104190 w 2275706"/>
              <a:gd name="connsiteY6" fmla="*/ 533196 h 662520"/>
              <a:gd name="connsiteX7" fmla="*/ 116931 w 2275706"/>
              <a:gd name="connsiteY7" fmla="*/ 550133 h 662520"/>
              <a:gd name="connsiteX8" fmla="*/ 135043 w 2275706"/>
              <a:gd name="connsiteY8" fmla="*/ 564522 h 662520"/>
              <a:gd name="connsiteX9" fmla="*/ 160020 w 2275706"/>
              <a:gd name="connsiteY9" fmla="*/ 574514 h 662520"/>
              <a:gd name="connsiteX10" fmla="*/ 193357 w 2275706"/>
              <a:gd name="connsiteY10" fmla="*/ 578256 h 662520"/>
              <a:gd name="connsiteX11" fmla="*/ 233829 w 2275706"/>
              <a:gd name="connsiteY11" fmla="*/ 573672 h 662520"/>
              <a:gd name="connsiteX12" fmla="*/ 297105 w 2275706"/>
              <a:gd name="connsiteY12" fmla="*/ 537246 h 662520"/>
              <a:gd name="connsiteX13" fmla="*/ 320040 w 2275706"/>
              <a:gd name="connsiteY13" fmla="*/ 505568 h 662520"/>
              <a:gd name="connsiteX14" fmla="*/ 337261 w 2275706"/>
              <a:gd name="connsiteY14" fmla="*/ 465022 h 662520"/>
              <a:gd name="connsiteX15" fmla="*/ 348834 w 2275706"/>
              <a:gd name="connsiteY15" fmla="*/ 415691 h 662520"/>
              <a:gd name="connsiteX16" fmla="*/ 354825 w 2275706"/>
              <a:gd name="connsiteY16" fmla="*/ 357657 h 662520"/>
              <a:gd name="connsiteX17" fmla="*/ 325357 w 2275706"/>
              <a:gd name="connsiteY17" fmla="*/ 385098 h 662520"/>
              <a:gd name="connsiteX18" fmla="*/ 289466 w 2275706"/>
              <a:gd name="connsiteY18" fmla="*/ 406117 h 662520"/>
              <a:gd name="connsiteX19" fmla="*/ 247767 w 2275706"/>
              <a:gd name="connsiteY19" fmla="*/ 419568 h 662520"/>
              <a:gd name="connsiteX20" fmla="*/ 200875 w 2275706"/>
              <a:gd name="connsiteY20" fmla="*/ 424306 h 662520"/>
              <a:gd name="connsiteX21" fmla="*/ 153099 w 2275706"/>
              <a:gd name="connsiteY21" fmla="*/ 420031 h 662520"/>
              <a:gd name="connsiteX22" fmla="*/ 110150 w 2275706"/>
              <a:gd name="connsiteY22" fmla="*/ 407348 h 662520"/>
              <a:gd name="connsiteX23" fmla="*/ 72948 w 2275706"/>
              <a:gd name="connsiteY23" fmla="*/ 386472 h 662520"/>
              <a:gd name="connsiteX24" fmla="*/ 42412 w 2275706"/>
              <a:gd name="connsiteY24" fmla="*/ 357614 h 662520"/>
              <a:gd name="connsiteX25" fmla="*/ 19463 w 2275706"/>
              <a:gd name="connsiteY25" fmla="*/ 320990 h 662520"/>
              <a:gd name="connsiteX26" fmla="*/ 5019 w 2275706"/>
              <a:gd name="connsiteY26" fmla="*/ 276814 h 662520"/>
              <a:gd name="connsiteX27" fmla="*/ 0 w 2275706"/>
              <a:gd name="connsiteY27" fmla="*/ 225297 h 662520"/>
              <a:gd name="connsiteX28" fmla="*/ 4447 w 2275706"/>
              <a:gd name="connsiteY28" fmla="*/ 178425 h 662520"/>
              <a:gd name="connsiteX29" fmla="*/ 17453 w 2275706"/>
              <a:gd name="connsiteY29" fmla="*/ 135445 h 662520"/>
              <a:gd name="connsiteX30" fmla="*/ 38511 w 2275706"/>
              <a:gd name="connsiteY30" fmla="*/ 97085 h 662520"/>
              <a:gd name="connsiteX31" fmla="*/ 67116 w 2275706"/>
              <a:gd name="connsiteY31" fmla="*/ 64071 h 662520"/>
              <a:gd name="connsiteX32" fmla="*/ 102760 w 2275706"/>
              <a:gd name="connsiteY32" fmla="*/ 37129 h 662520"/>
              <a:gd name="connsiteX33" fmla="*/ 144939 w 2275706"/>
              <a:gd name="connsiteY33" fmla="*/ 16986 h 662520"/>
              <a:gd name="connsiteX34" fmla="*/ 193146 w 2275706"/>
              <a:gd name="connsiteY34" fmla="*/ 4367 h 662520"/>
              <a:gd name="connsiteX35" fmla="*/ 246875 w 2275706"/>
              <a:gd name="connsiteY35" fmla="*/ 0 h 662520"/>
              <a:gd name="connsiteX36" fmla="*/ 290625 w 2275706"/>
              <a:gd name="connsiteY36" fmla="*/ 2882 h 662520"/>
              <a:gd name="connsiteX37" fmla="*/ 331492 w 2275706"/>
              <a:gd name="connsiteY37" fmla="*/ 11678 h 662520"/>
              <a:gd name="connsiteX38" fmla="*/ 369070 w 2275706"/>
              <a:gd name="connsiteY38" fmla="*/ 26614 h 662520"/>
              <a:gd name="connsiteX39" fmla="*/ 402953 w 2275706"/>
              <a:gd name="connsiteY39" fmla="*/ 47914 h 662520"/>
              <a:gd name="connsiteX40" fmla="*/ 432736 w 2275706"/>
              <a:gd name="connsiteY40" fmla="*/ 75804 h 662520"/>
              <a:gd name="connsiteX41" fmla="*/ 458013 w 2275706"/>
              <a:gd name="connsiteY41" fmla="*/ 110509 h 662520"/>
              <a:gd name="connsiteX42" fmla="*/ 478379 w 2275706"/>
              <a:gd name="connsiteY42" fmla="*/ 152255 h 662520"/>
              <a:gd name="connsiteX43" fmla="*/ 493429 w 2275706"/>
              <a:gd name="connsiteY43" fmla="*/ 201265 h 662520"/>
              <a:gd name="connsiteX44" fmla="*/ 502756 w 2275706"/>
              <a:gd name="connsiteY44" fmla="*/ 257766 h 662520"/>
              <a:gd name="connsiteX45" fmla="*/ 505955 w 2275706"/>
              <a:gd name="connsiteY45" fmla="*/ 321983 h 662520"/>
              <a:gd name="connsiteX46" fmla="*/ 503406 w 2275706"/>
              <a:gd name="connsiteY46" fmla="*/ 376707 h 662520"/>
              <a:gd name="connsiteX47" fmla="*/ 495858 w 2275706"/>
              <a:gd name="connsiteY47" fmla="*/ 427041 h 662520"/>
              <a:gd name="connsiteX48" fmla="*/ 483456 w 2275706"/>
              <a:gd name="connsiteY48" fmla="*/ 472909 h 662520"/>
              <a:gd name="connsiteX49" fmla="*/ 466346 w 2275706"/>
              <a:gd name="connsiteY49" fmla="*/ 514232 h 662520"/>
              <a:gd name="connsiteX50" fmla="*/ 444674 w 2275706"/>
              <a:gd name="connsiteY50" fmla="*/ 550937 h 662520"/>
              <a:gd name="connsiteX51" fmla="*/ 418587 w 2275706"/>
              <a:gd name="connsiteY51" fmla="*/ 582945 h 662520"/>
              <a:gd name="connsiteX52" fmla="*/ 388229 w 2275706"/>
              <a:gd name="connsiteY52" fmla="*/ 610181 h 662520"/>
              <a:gd name="connsiteX53" fmla="*/ 353748 w 2275706"/>
              <a:gd name="connsiteY53" fmla="*/ 632569 h 662520"/>
              <a:gd name="connsiteX54" fmla="*/ 315289 w 2275706"/>
              <a:gd name="connsiteY54" fmla="*/ 650033 h 662520"/>
              <a:gd name="connsiteX55" fmla="*/ 272999 w 2275706"/>
              <a:gd name="connsiteY55" fmla="*/ 662495 h 662520"/>
              <a:gd name="connsiteX56" fmla="*/ 592162 w 2275706"/>
              <a:gd name="connsiteY56" fmla="*/ 662520 h 662520"/>
              <a:gd name="connsiteX57" fmla="*/ 571167 w 2275706"/>
              <a:gd name="connsiteY57" fmla="*/ 658030 h 662520"/>
              <a:gd name="connsiteX58" fmla="*/ 551373 w 2275706"/>
              <a:gd name="connsiteY58" fmla="*/ 652783 h 662520"/>
              <a:gd name="connsiteX59" fmla="*/ 532537 w 2275706"/>
              <a:gd name="connsiteY59" fmla="*/ 646826 h 662520"/>
              <a:gd name="connsiteX60" fmla="*/ 514413 w 2275706"/>
              <a:gd name="connsiteY60" fmla="*/ 640206 h 662520"/>
              <a:gd name="connsiteX61" fmla="*/ 514413 w 2275706"/>
              <a:gd name="connsiteY61" fmla="*/ 516293 h 662520"/>
              <a:gd name="connsiteX62" fmla="*/ 596087 w 2275706"/>
              <a:gd name="connsiteY62" fmla="*/ 516293 h 662520"/>
              <a:gd name="connsiteX63" fmla="*/ 612203 w 2275706"/>
              <a:gd name="connsiteY63" fmla="*/ 539439 h 662520"/>
              <a:gd name="connsiteX64" fmla="*/ 635627 w 2275706"/>
              <a:gd name="connsiteY64" fmla="*/ 559242 h 662520"/>
              <a:gd name="connsiteX65" fmla="*/ 666972 w 2275706"/>
              <a:gd name="connsiteY65" fmla="*/ 573062 h 662520"/>
              <a:gd name="connsiteX66" fmla="*/ 706856 w 2275706"/>
              <a:gd name="connsiteY66" fmla="*/ 578256 h 662520"/>
              <a:gd name="connsiteX67" fmla="*/ 749359 w 2275706"/>
              <a:gd name="connsiteY67" fmla="*/ 571758 h 662520"/>
              <a:gd name="connsiteX68" fmla="*/ 784298 w 2275706"/>
              <a:gd name="connsiteY68" fmla="*/ 552322 h 662520"/>
              <a:gd name="connsiteX69" fmla="*/ 807972 w 2275706"/>
              <a:gd name="connsiteY69" fmla="*/ 520038 h 662520"/>
              <a:gd name="connsiteX70" fmla="*/ 816686 w 2275706"/>
              <a:gd name="connsiteY70" fmla="*/ 474992 h 662520"/>
              <a:gd name="connsiteX71" fmla="*/ 809424 w 2275706"/>
              <a:gd name="connsiteY71" fmla="*/ 430240 h 662520"/>
              <a:gd name="connsiteX72" fmla="*/ 787466 w 2275706"/>
              <a:gd name="connsiteY72" fmla="*/ 398602 h 662520"/>
              <a:gd name="connsiteX73" fmla="*/ 750549 w 2275706"/>
              <a:gd name="connsiteY73" fmla="*/ 379812 h 662520"/>
              <a:gd name="connsiteX74" fmla="*/ 698411 w 2275706"/>
              <a:gd name="connsiteY74" fmla="*/ 373608 h 662520"/>
              <a:gd name="connsiteX75" fmla="*/ 649592 w 2275706"/>
              <a:gd name="connsiteY75" fmla="*/ 373608 h 662520"/>
              <a:gd name="connsiteX76" fmla="*/ 649592 w 2275706"/>
              <a:gd name="connsiteY76" fmla="*/ 286308 h 662520"/>
              <a:gd name="connsiteX77" fmla="*/ 690892 w 2275706"/>
              <a:gd name="connsiteY77" fmla="*/ 286308 h 662520"/>
              <a:gd name="connsiteX78" fmla="*/ 744563 w 2275706"/>
              <a:gd name="connsiteY78" fmla="*/ 280133 h 662520"/>
              <a:gd name="connsiteX79" fmla="*/ 783007 w 2275706"/>
              <a:gd name="connsiteY79" fmla="*/ 261550 h 662520"/>
              <a:gd name="connsiteX80" fmla="*/ 806137 w 2275706"/>
              <a:gd name="connsiteY80" fmla="*/ 230469 h 662520"/>
              <a:gd name="connsiteX81" fmla="*/ 813866 w 2275706"/>
              <a:gd name="connsiteY81" fmla="*/ 186804 h 662520"/>
              <a:gd name="connsiteX82" fmla="*/ 808513 w 2275706"/>
              <a:gd name="connsiteY82" fmla="*/ 149115 h 662520"/>
              <a:gd name="connsiteX83" fmla="*/ 792160 w 2275706"/>
              <a:gd name="connsiteY83" fmla="*/ 121104 h 662520"/>
              <a:gd name="connsiteX84" fmla="*/ 764365 w 2275706"/>
              <a:gd name="connsiteY84" fmla="*/ 103651 h 662520"/>
              <a:gd name="connsiteX85" fmla="*/ 724687 w 2275706"/>
              <a:gd name="connsiteY85" fmla="*/ 97637 h 662520"/>
              <a:gd name="connsiteX86" fmla="*/ 687243 w 2275706"/>
              <a:gd name="connsiteY86" fmla="*/ 102374 h 662520"/>
              <a:gd name="connsiteX87" fmla="*/ 657456 w 2275706"/>
              <a:gd name="connsiteY87" fmla="*/ 115117 h 662520"/>
              <a:gd name="connsiteX88" fmla="*/ 634533 w 2275706"/>
              <a:gd name="connsiteY88" fmla="*/ 133668 h 662520"/>
              <a:gd name="connsiteX89" fmla="*/ 617677 w 2275706"/>
              <a:gd name="connsiteY89" fmla="*/ 155828 h 662520"/>
              <a:gd name="connsiteX90" fmla="*/ 539775 w 2275706"/>
              <a:gd name="connsiteY90" fmla="*/ 155828 h 662520"/>
              <a:gd name="connsiteX91" fmla="*/ 539775 w 2275706"/>
              <a:gd name="connsiteY91" fmla="*/ 33807 h 662520"/>
              <a:gd name="connsiteX92" fmla="*/ 584006 w 2275706"/>
              <a:gd name="connsiteY92" fmla="*/ 19813 h 662520"/>
              <a:gd name="connsiteX93" fmla="*/ 631056 w 2275706"/>
              <a:gd name="connsiteY93" fmla="*/ 9159 h 662520"/>
              <a:gd name="connsiteX94" fmla="*/ 681278 w 2275706"/>
              <a:gd name="connsiteY94" fmla="*/ 2378 h 662520"/>
              <a:gd name="connsiteX95" fmla="*/ 735025 w 2275706"/>
              <a:gd name="connsiteY95" fmla="*/ 0 h 662520"/>
              <a:gd name="connsiteX96" fmla="*/ 790395 w 2275706"/>
              <a:gd name="connsiteY96" fmla="*/ 3158 h 662520"/>
              <a:gd name="connsiteX97" fmla="*/ 838689 w 2275706"/>
              <a:gd name="connsiteY97" fmla="*/ 12853 h 662520"/>
              <a:gd name="connsiteX98" fmla="*/ 879380 w 2275706"/>
              <a:gd name="connsiteY98" fmla="*/ 29412 h 662520"/>
              <a:gd name="connsiteX99" fmla="*/ 911943 w 2275706"/>
              <a:gd name="connsiteY99" fmla="*/ 53163 h 662520"/>
              <a:gd name="connsiteX100" fmla="*/ 935853 w 2275706"/>
              <a:gd name="connsiteY100" fmla="*/ 84435 h 662520"/>
              <a:gd name="connsiteX101" fmla="*/ 950584 w 2275706"/>
              <a:gd name="connsiteY101" fmla="*/ 123555 h 662520"/>
              <a:gd name="connsiteX102" fmla="*/ 955611 w 2275706"/>
              <a:gd name="connsiteY102" fmla="*/ 170853 h 662520"/>
              <a:gd name="connsiteX103" fmla="*/ 949453 w 2275706"/>
              <a:gd name="connsiteY103" fmla="*/ 219568 h 662520"/>
              <a:gd name="connsiteX104" fmla="*/ 931581 w 2275706"/>
              <a:gd name="connsiteY104" fmla="*/ 258234 h 662520"/>
              <a:gd name="connsiteX105" fmla="*/ 902895 w 2275706"/>
              <a:gd name="connsiteY105" fmla="*/ 287843 h 662520"/>
              <a:gd name="connsiteX106" fmla="*/ 864296 w 2275706"/>
              <a:gd name="connsiteY106" fmla="*/ 309388 h 662520"/>
              <a:gd name="connsiteX107" fmla="*/ 816686 w 2275706"/>
              <a:gd name="connsiteY107" fmla="*/ 323862 h 662520"/>
              <a:gd name="connsiteX108" fmla="*/ 816686 w 2275706"/>
              <a:gd name="connsiteY108" fmla="*/ 327609 h 662520"/>
              <a:gd name="connsiteX109" fmla="*/ 870681 w 2275706"/>
              <a:gd name="connsiteY109" fmla="*/ 340566 h 662520"/>
              <a:gd name="connsiteX110" fmla="*/ 912283 w 2275706"/>
              <a:gd name="connsiteY110" fmla="*/ 362534 h 662520"/>
              <a:gd name="connsiteX111" fmla="*/ 941719 w 2275706"/>
              <a:gd name="connsiteY111" fmla="*/ 393513 h 662520"/>
              <a:gd name="connsiteX112" fmla="*/ 959215 w 2275706"/>
              <a:gd name="connsiteY112" fmla="*/ 433502 h 662520"/>
              <a:gd name="connsiteX113" fmla="*/ 964996 w 2275706"/>
              <a:gd name="connsiteY113" fmla="*/ 482498 h 662520"/>
              <a:gd name="connsiteX114" fmla="*/ 959936 w 2275706"/>
              <a:gd name="connsiteY114" fmla="*/ 527743 h 662520"/>
              <a:gd name="connsiteX115" fmla="*/ 944659 w 2275706"/>
              <a:gd name="connsiteY115" fmla="*/ 567021 h 662520"/>
              <a:gd name="connsiteX116" fmla="*/ 920122 w 2275706"/>
              <a:gd name="connsiteY116" fmla="*/ 600232 h 662520"/>
              <a:gd name="connsiteX117" fmla="*/ 887285 w 2275706"/>
              <a:gd name="connsiteY117" fmla="*/ 627278 h 662520"/>
              <a:gd name="connsiteX118" fmla="*/ 847106 w 2275706"/>
              <a:gd name="connsiteY118" fmla="*/ 648061 h 662520"/>
              <a:gd name="connsiteX119" fmla="*/ 800544 w 2275706"/>
              <a:gd name="connsiteY119" fmla="*/ 662482 h 662520"/>
              <a:gd name="connsiteX120" fmla="*/ 1360843 w 2275706"/>
              <a:gd name="connsiteY120" fmla="*/ 662495 h 662520"/>
              <a:gd name="connsiteX121" fmla="*/ 1322871 w 2275706"/>
              <a:gd name="connsiteY121" fmla="*/ 649352 h 662520"/>
              <a:gd name="connsiteX122" fmla="*/ 1287296 w 2275706"/>
              <a:gd name="connsiteY122" fmla="*/ 630560 h 662520"/>
              <a:gd name="connsiteX123" fmla="*/ 1254670 w 2275706"/>
              <a:gd name="connsiteY123" fmla="*/ 606062 h 662520"/>
              <a:gd name="connsiteX124" fmla="*/ 1225546 w 2275706"/>
              <a:gd name="connsiteY124" fmla="*/ 575802 h 662520"/>
              <a:gd name="connsiteX125" fmla="*/ 1200477 w 2275706"/>
              <a:gd name="connsiteY125" fmla="*/ 539722 h 662520"/>
              <a:gd name="connsiteX126" fmla="*/ 1180016 w 2275706"/>
              <a:gd name="connsiteY126" fmla="*/ 497766 h 662520"/>
              <a:gd name="connsiteX127" fmla="*/ 1164717 w 2275706"/>
              <a:gd name="connsiteY127" fmla="*/ 449876 h 662520"/>
              <a:gd name="connsiteX128" fmla="*/ 1155131 w 2275706"/>
              <a:gd name="connsiteY128" fmla="*/ 395995 h 662520"/>
              <a:gd name="connsiteX129" fmla="*/ 1151813 w 2275706"/>
              <a:gd name="connsiteY129" fmla="*/ 336067 h 662520"/>
              <a:gd name="connsiteX130" fmla="*/ 1155053 w 2275706"/>
              <a:gd name="connsiteY130" fmla="*/ 276826 h 662520"/>
              <a:gd name="connsiteX131" fmla="*/ 1164415 w 2275706"/>
              <a:gd name="connsiteY131" fmla="*/ 223488 h 662520"/>
              <a:gd name="connsiteX132" fmla="*/ 1179368 w 2275706"/>
              <a:gd name="connsiteY132" fmla="*/ 175997 h 662520"/>
              <a:gd name="connsiteX133" fmla="*/ 1199377 w 2275706"/>
              <a:gd name="connsiteY133" fmla="*/ 134299 h 662520"/>
              <a:gd name="connsiteX134" fmla="*/ 1223910 w 2275706"/>
              <a:gd name="connsiteY134" fmla="*/ 98339 h 662520"/>
              <a:gd name="connsiteX135" fmla="*/ 1252434 w 2275706"/>
              <a:gd name="connsiteY135" fmla="*/ 68062 h 662520"/>
              <a:gd name="connsiteX136" fmla="*/ 1284414 w 2275706"/>
              <a:gd name="connsiteY136" fmla="*/ 43413 h 662520"/>
              <a:gd name="connsiteX137" fmla="*/ 1319318 w 2275706"/>
              <a:gd name="connsiteY137" fmla="*/ 24337 h 662520"/>
              <a:gd name="connsiteX138" fmla="*/ 1356613 w 2275706"/>
              <a:gd name="connsiteY138" fmla="*/ 10780 h 662520"/>
              <a:gd name="connsiteX139" fmla="*/ 1395766 w 2275706"/>
              <a:gd name="connsiteY139" fmla="*/ 2685 h 662520"/>
              <a:gd name="connsiteX140" fmla="*/ 1436243 w 2275706"/>
              <a:gd name="connsiteY140" fmla="*/ 0 h 662520"/>
              <a:gd name="connsiteX141" fmla="*/ 1476722 w 2275706"/>
              <a:gd name="connsiteY141" fmla="*/ 2685 h 662520"/>
              <a:gd name="connsiteX142" fmla="*/ 1515876 w 2275706"/>
              <a:gd name="connsiteY142" fmla="*/ 10780 h 662520"/>
              <a:gd name="connsiteX143" fmla="*/ 1553172 w 2275706"/>
              <a:gd name="connsiteY143" fmla="*/ 24337 h 662520"/>
              <a:gd name="connsiteX144" fmla="*/ 1588076 w 2275706"/>
              <a:gd name="connsiteY144" fmla="*/ 43413 h 662520"/>
              <a:gd name="connsiteX145" fmla="*/ 1620056 w 2275706"/>
              <a:gd name="connsiteY145" fmla="*/ 68062 h 662520"/>
              <a:gd name="connsiteX146" fmla="*/ 1648579 w 2275706"/>
              <a:gd name="connsiteY146" fmla="*/ 98339 h 662520"/>
              <a:gd name="connsiteX147" fmla="*/ 1673111 w 2275706"/>
              <a:gd name="connsiteY147" fmla="*/ 134299 h 662520"/>
              <a:gd name="connsiteX148" fmla="*/ 1693119 w 2275706"/>
              <a:gd name="connsiteY148" fmla="*/ 175997 h 662520"/>
              <a:gd name="connsiteX149" fmla="*/ 1708071 w 2275706"/>
              <a:gd name="connsiteY149" fmla="*/ 223488 h 662520"/>
              <a:gd name="connsiteX150" fmla="*/ 1717433 w 2275706"/>
              <a:gd name="connsiteY150" fmla="*/ 276826 h 662520"/>
              <a:gd name="connsiteX151" fmla="*/ 1720672 w 2275706"/>
              <a:gd name="connsiteY151" fmla="*/ 336067 h 662520"/>
              <a:gd name="connsiteX152" fmla="*/ 1717354 w 2275706"/>
              <a:gd name="connsiteY152" fmla="*/ 395995 h 662520"/>
              <a:gd name="connsiteX153" fmla="*/ 1707768 w 2275706"/>
              <a:gd name="connsiteY153" fmla="*/ 449876 h 662520"/>
              <a:gd name="connsiteX154" fmla="*/ 1692469 w 2275706"/>
              <a:gd name="connsiteY154" fmla="*/ 497766 h 662520"/>
              <a:gd name="connsiteX155" fmla="*/ 1672008 w 2275706"/>
              <a:gd name="connsiteY155" fmla="*/ 539722 h 662520"/>
              <a:gd name="connsiteX156" fmla="*/ 1646939 w 2275706"/>
              <a:gd name="connsiteY156" fmla="*/ 575802 h 662520"/>
              <a:gd name="connsiteX157" fmla="*/ 1617815 w 2275706"/>
              <a:gd name="connsiteY157" fmla="*/ 606062 h 662520"/>
              <a:gd name="connsiteX158" fmla="*/ 1585189 w 2275706"/>
              <a:gd name="connsiteY158" fmla="*/ 630560 h 662520"/>
              <a:gd name="connsiteX159" fmla="*/ 1549614 w 2275706"/>
              <a:gd name="connsiteY159" fmla="*/ 649352 h 662520"/>
              <a:gd name="connsiteX160" fmla="*/ 1511642 w 2275706"/>
              <a:gd name="connsiteY160" fmla="*/ 662495 h 662520"/>
              <a:gd name="connsiteX161" fmla="*/ 1943430 w 2275706"/>
              <a:gd name="connsiteY161" fmla="*/ 662495 h 662520"/>
              <a:gd name="connsiteX162" fmla="*/ 1905459 w 2275706"/>
              <a:gd name="connsiteY162" fmla="*/ 649348 h 662520"/>
              <a:gd name="connsiteX163" fmla="*/ 1869885 w 2275706"/>
              <a:gd name="connsiteY163" fmla="*/ 630555 h 662520"/>
              <a:gd name="connsiteX164" fmla="*/ 1837261 w 2275706"/>
              <a:gd name="connsiteY164" fmla="*/ 606057 h 662520"/>
              <a:gd name="connsiteX165" fmla="*/ 1808138 w 2275706"/>
              <a:gd name="connsiteY165" fmla="*/ 575797 h 662520"/>
              <a:gd name="connsiteX166" fmla="*/ 1783072 w 2275706"/>
              <a:gd name="connsiteY166" fmla="*/ 539718 h 662520"/>
              <a:gd name="connsiteX167" fmla="*/ 1762613 w 2275706"/>
              <a:gd name="connsiteY167" fmla="*/ 497763 h 662520"/>
              <a:gd name="connsiteX168" fmla="*/ 1747315 w 2275706"/>
              <a:gd name="connsiteY168" fmla="*/ 449874 h 662520"/>
              <a:gd name="connsiteX169" fmla="*/ 1737731 w 2275706"/>
              <a:gd name="connsiteY169" fmla="*/ 395995 h 662520"/>
              <a:gd name="connsiteX170" fmla="*/ 1734413 w 2275706"/>
              <a:gd name="connsiteY170" fmla="*/ 336067 h 662520"/>
              <a:gd name="connsiteX171" fmla="*/ 1737652 w 2275706"/>
              <a:gd name="connsiteY171" fmla="*/ 276826 h 662520"/>
              <a:gd name="connsiteX172" fmla="*/ 1747014 w 2275706"/>
              <a:gd name="connsiteY172" fmla="*/ 223488 h 662520"/>
              <a:gd name="connsiteX173" fmla="*/ 1761965 w 2275706"/>
              <a:gd name="connsiteY173" fmla="*/ 175997 h 662520"/>
              <a:gd name="connsiteX174" fmla="*/ 1781973 w 2275706"/>
              <a:gd name="connsiteY174" fmla="*/ 134299 h 662520"/>
              <a:gd name="connsiteX175" fmla="*/ 1806505 w 2275706"/>
              <a:gd name="connsiteY175" fmla="*/ 98339 h 662520"/>
              <a:gd name="connsiteX176" fmla="*/ 1835026 w 2275706"/>
              <a:gd name="connsiteY176" fmla="*/ 68062 h 662520"/>
              <a:gd name="connsiteX177" fmla="*/ 1867005 w 2275706"/>
              <a:gd name="connsiteY177" fmla="*/ 43413 h 662520"/>
              <a:gd name="connsiteX178" fmla="*/ 1901908 w 2275706"/>
              <a:gd name="connsiteY178" fmla="*/ 24337 h 662520"/>
              <a:gd name="connsiteX179" fmla="*/ 1939202 w 2275706"/>
              <a:gd name="connsiteY179" fmla="*/ 10780 h 662520"/>
              <a:gd name="connsiteX180" fmla="*/ 1978353 w 2275706"/>
              <a:gd name="connsiteY180" fmla="*/ 2685 h 662520"/>
              <a:gd name="connsiteX181" fmla="*/ 2018830 w 2275706"/>
              <a:gd name="connsiteY181" fmla="*/ 0 h 662520"/>
              <a:gd name="connsiteX182" fmla="*/ 2059309 w 2275706"/>
              <a:gd name="connsiteY182" fmla="*/ 2685 h 662520"/>
              <a:gd name="connsiteX183" fmla="*/ 2098463 w 2275706"/>
              <a:gd name="connsiteY183" fmla="*/ 10780 h 662520"/>
              <a:gd name="connsiteX184" fmla="*/ 2135759 w 2275706"/>
              <a:gd name="connsiteY184" fmla="*/ 24337 h 662520"/>
              <a:gd name="connsiteX185" fmla="*/ 2170664 w 2275706"/>
              <a:gd name="connsiteY185" fmla="*/ 43413 h 662520"/>
              <a:gd name="connsiteX186" fmla="*/ 2202644 w 2275706"/>
              <a:gd name="connsiteY186" fmla="*/ 68062 h 662520"/>
              <a:gd name="connsiteX187" fmla="*/ 2231166 w 2275706"/>
              <a:gd name="connsiteY187" fmla="*/ 98339 h 662520"/>
              <a:gd name="connsiteX188" fmla="*/ 2255698 w 2275706"/>
              <a:gd name="connsiteY188" fmla="*/ 134299 h 662520"/>
              <a:gd name="connsiteX189" fmla="*/ 2275706 w 2275706"/>
              <a:gd name="connsiteY189" fmla="*/ 175997 h 662520"/>
              <a:gd name="connsiteX0" fmla="*/ 74231 w 2255698"/>
              <a:gd name="connsiteY0" fmla="*/ 662482 h 662520"/>
              <a:gd name="connsiteX1" fmla="*/ 60344 w 2255698"/>
              <a:gd name="connsiteY1" fmla="*/ 659582 h 662520"/>
              <a:gd name="connsiteX2" fmla="*/ 47517 w 2255698"/>
              <a:gd name="connsiteY2" fmla="*/ 656437 h 662520"/>
              <a:gd name="connsiteX3" fmla="*/ 35823 w 2255698"/>
              <a:gd name="connsiteY3" fmla="*/ 653092 h 662520"/>
              <a:gd name="connsiteX4" fmla="*/ 25336 w 2255698"/>
              <a:gd name="connsiteY4" fmla="*/ 649592 h 662520"/>
              <a:gd name="connsiteX5" fmla="*/ 25336 w 2255698"/>
              <a:gd name="connsiteY5" fmla="*/ 533196 h 662520"/>
              <a:gd name="connsiteX6" fmla="*/ 104190 w 2255698"/>
              <a:gd name="connsiteY6" fmla="*/ 533196 h 662520"/>
              <a:gd name="connsiteX7" fmla="*/ 116931 w 2255698"/>
              <a:gd name="connsiteY7" fmla="*/ 550133 h 662520"/>
              <a:gd name="connsiteX8" fmla="*/ 135043 w 2255698"/>
              <a:gd name="connsiteY8" fmla="*/ 564522 h 662520"/>
              <a:gd name="connsiteX9" fmla="*/ 160020 w 2255698"/>
              <a:gd name="connsiteY9" fmla="*/ 574514 h 662520"/>
              <a:gd name="connsiteX10" fmla="*/ 193357 w 2255698"/>
              <a:gd name="connsiteY10" fmla="*/ 578256 h 662520"/>
              <a:gd name="connsiteX11" fmla="*/ 233829 w 2255698"/>
              <a:gd name="connsiteY11" fmla="*/ 573672 h 662520"/>
              <a:gd name="connsiteX12" fmla="*/ 297105 w 2255698"/>
              <a:gd name="connsiteY12" fmla="*/ 537246 h 662520"/>
              <a:gd name="connsiteX13" fmla="*/ 320040 w 2255698"/>
              <a:gd name="connsiteY13" fmla="*/ 505568 h 662520"/>
              <a:gd name="connsiteX14" fmla="*/ 337261 w 2255698"/>
              <a:gd name="connsiteY14" fmla="*/ 465022 h 662520"/>
              <a:gd name="connsiteX15" fmla="*/ 348834 w 2255698"/>
              <a:gd name="connsiteY15" fmla="*/ 415691 h 662520"/>
              <a:gd name="connsiteX16" fmla="*/ 354825 w 2255698"/>
              <a:gd name="connsiteY16" fmla="*/ 357657 h 662520"/>
              <a:gd name="connsiteX17" fmla="*/ 325357 w 2255698"/>
              <a:gd name="connsiteY17" fmla="*/ 385098 h 662520"/>
              <a:gd name="connsiteX18" fmla="*/ 289466 w 2255698"/>
              <a:gd name="connsiteY18" fmla="*/ 406117 h 662520"/>
              <a:gd name="connsiteX19" fmla="*/ 247767 w 2255698"/>
              <a:gd name="connsiteY19" fmla="*/ 419568 h 662520"/>
              <a:gd name="connsiteX20" fmla="*/ 200875 w 2255698"/>
              <a:gd name="connsiteY20" fmla="*/ 424306 h 662520"/>
              <a:gd name="connsiteX21" fmla="*/ 153099 w 2255698"/>
              <a:gd name="connsiteY21" fmla="*/ 420031 h 662520"/>
              <a:gd name="connsiteX22" fmla="*/ 110150 w 2255698"/>
              <a:gd name="connsiteY22" fmla="*/ 407348 h 662520"/>
              <a:gd name="connsiteX23" fmla="*/ 72948 w 2255698"/>
              <a:gd name="connsiteY23" fmla="*/ 386472 h 662520"/>
              <a:gd name="connsiteX24" fmla="*/ 42412 w 2255698"/>
              <a:gd name="connsiteY24" fmla="*/ 357614 h 662520"/>
              <a:gd name="connsiteX25" fmla="*/ 19463 w 2255698"/>
              <a:gd name="connsiteY25" fmla="*/ 320990 h 662520"/>
              <a:gd name="connsiteX26" fmla="*/ 5019 w 2255698"/>
              <a:gd name="connsiteY26" fmla="*/ 276814 h 662520"/>
              <a:gd name="connsiteX27" fmla="*/ 0 w 2255698"/>
              <a:gd name="connsiteY27" fmla="*/ 225297 h 662520"/>
              <a:gd name="connsiteX28" fmla="*/ 4447 w 2255698"/>
              <a:gd name="connsiteY28" fmla="*/ 178425 h 662520"/>
              <a:gd name="connsiteX29" fmla="*/ 17453 w 2255698"/>
              <a:gd name="connsiteY29" fmla="*/ 135445 h 662520"/>
              <a:gd name="connsiteX30" fmla="*/ 38511 w 2255698"/>
              <a:gd name="connsiteY30" fmla="*/ 97085 h 662520"/>
              <a:gd name="connsiteX31" fmla="*/ 67116 w 2255698"/>
              <a:gd name="connsiteY31" fmla="*/ 64071 h 662520"/>
              <a:gd name="connsiteX32" fmla="*/ 102760 w 2255698"/>
              <a:gd name="connsiteY32" fmla="*/ 37129 h 662520"/>
              <a:gd name="connsiteX33" fmla="*/ 144939 w 2255698"/>
              <a:gd name="connsiteY33" fmla="*/ 16986 h 662520"/>
              <a:gd name="connsiteX34" fmla="*/ 193146 w 2255698"/>
              <a:gd name="connsiteY34" fmla="*/ 4367 h 662520"/>
              <a:gd name="connsiteX35" fmla="*/ 246875 w 2255698"/>
              <a:gd name="connsiteY35" fmla="*/ 0 h 662520"/>
              <a:gd name="connsiteX36" fmla="*/ 290625 w 2255698"/>
              <a:gd name="connsiteY36" fmla="*/ 2882 h 662520"/>
              <a:gd name="connsiteX37" fmla="*/ 331492 w 2255698"/>
              <a:gd name="connsiteY37" fmla="*/ 11678 h 662520"/>
              <a:gd name="connsiteX38" fmla="*/ 369070 w 2255698"/>
              <a:gd name="connsiteY38" fmla="*/ 26614 h 662520"/>
              <a:gd name="connsiteX39" fmla="*/ 402953 w 2255698"/>
              <a:gd name="connsiteY39" fmla="*/ 47914 h 662520"/>
              <a:gd name="connsiteX40" fmla="*/ 432736 w 2255698"/>
              <a:gd name="connsiteY40" fmla="*/ 75804 h 662520"/>
              <a:gd name="connsiteX41" fmla="*/ 458013 w 2255698"/>
              <a:gd name="connsiteY41" fmla="*/ 110509 h 662520"/>
              <a:gd name="connsiteX42" fmla="*/ 478379 w 2255698"/>
              <a:gd name="connsiteY42" fmla="*/ 152255 h 662520"/>
              <a:gd name="connsiteX43" fmla="*/ 493429 w 2255698"/>
              <a:gd name="connsiteY43" fmla="*/ 201265 h 662520"/>
              <a:gd name="connsiteX44" fmla="*/ 502756 w 2255698"/>
              <a:gd name="connsiteY44" fmla="*/ 257766 h 662520"/>
              <a:gd name="connsiteX45" fmla="*/ 505955 w 2255698"/>
              <a:gd name="connsiteY45" fmla="*/ 321983 h 662520"/>
              <a:gd name="connsiteX46" fmla="*/ 503406 w 2255698"/>
              <a:gd name="connsiteY46" fmla="*/ 376707 h 662520"/>
              <a:gd name="connsiteX47" fmla="*/ 495858 w 2255698"/>
              <a:gd name="connsiteY47" fmla="*/ 427041 h 662520"/>
              <a:gd name="connsiteX48" fmla="*/ 483456 w 2255698"/>
              <a:gd name="connsiteY48" fmla="*/ 472909 h 662520"/>
              <a:gd name="connsiteX49" fmla="*/ 466346 w 2255698"/>
              <a:gd name="connsiteY49" fmla="*/ 514232 h 662520"/>
              <a:gd name="connsiteX50" fmla="*/ 444674 w 2255698"/>
              <a:gd name="connsiteY50" fmla="*/ 550937 h 662520"/>
              <a:gd name="connsiteX51" fmla="*/ 418587 w 2255698"/>
              <a:gd name="connsiteY51" fmla="*/ 582945 h 662520"/>
              <a:gd name="connsiteX52" fmla="*/ 388229 w 2255698"/>
              <a:gd name="connsiteY52" fmla="*/ 610181 h 662520"/>
              <a:gd name="connsiteX53" fmla="*/ 353748 w 2255698"/>
              <a:gd name="connsiteY53" fmla="*/ 632569 h 662520"/>
              <a:gd name="connsiteX54" fmla="*/ 315289 w 2255698"/>
              <a:gd name="connsiteY54" fmla="*/ 650033 h 662520"/>
              <a:gd name="connsiteX55" fmla="*/ 272999 w 2255698"/>
              <a:gd name="connsiteY55" fmla="*/ 662495 h 662520"/>
              <a:gd name="connsiteX56" fmla="*/ 592162 w 2255698"/>
              <a:gd name="connsiteY56" fmla="*/ 662520 h 662520"/>
              <a:gd name="connsiteX57" fmla="*/ 571167 w 2255698"/>
              <a:gd name="connsiteY57" fmla="*/ 658030 h 662520"/>
              <a:gd name="connsiteX58" fmla="*/ 551373 w 2255698"/>
              <a:gd name="connsiteY58" fmla="*/ 652783 h 662520"/>
              <a:gd name="connsiteX59" fmla="*/ 532537 w 2255698"/>
              <a:gd name="connsiteY59" fmla="*/ 646826 h 662520"/>
              <a:gd name="connsiteX60" fmla="*/ 514413 w 2255698"/>
              <a:gd name="connsiteY60" fmla="*/ 640206 h 662520"/>
              <a:gd name="connsiteX61" fmla="*/ 514413 w 2255698"/>
              <a:gd name="connsiteY61" fmla="*/ 516293 h 662520"/>
              <a:gd name="connsiteX62" fmla="*/ 596087 w 2255698"/>
              <a:gd name="connsiteY62" fmla="*/ 516293 h 662520"/>
              <a:gd name="connsiteX63" fmla="*/ 612203 w 2255698"/>
              <a:gd name="connsiteY63" fmla="*/ 539439 h 662520"/>
              <a:gd name="connsiteX64" fmla="*/ 635627 w 2255698"/>
              <a:gd name="connsiteY64" fmla="*/ 559242 h 662520"/>
              <a:gd name="connsiteX65" fmla="*/ 666972 w 2255698"/>
              <a:gd name="connsiteY65" fmla="*/ 573062 h 662520"/>
              <a:gd name="connsiteX66" fmla="*/ 706856 w 2255698"/>
              <a:gd name="connsiteY66" fmla="*/ 578256 h 662520"/>
              <a:gd name="connsiteX67" fmla="*/ 749359 w 2255698"/>
              <a:gd name="connsiteY67" fmla="*/ 571758 h 662520"/>
              <a:gd name="connsiteX68" fmla="*/ 784298 w 2255698"/>
              <a:gd name="connsiteY68" fmla="*/ 552322 h 662520"/>
              <a:gd name="connsiteX69" fmla="*/ 807972 w 2255698"/>
              <a:gd name="connsiteY69" fmla="*/ 520038 h 662520"/>
              <a:gd name="connsiteX70" fmla="*/ 816686 w 2255698"/>
              <a:gd name="connsiteY70" fmla="*/ 474992 h 662520"/>
              <a:gd name="connsiteX71" fmla="*/ 809424 w 2255698"/>
              <a:gd name="connsiteY71" fmla="*/ 430240 h 662520"/>
              <a:gd name="connsiteX72" fmla="*/ 787466 w 2255698"/>
              <a:gd name="connsiteY72" fmla="*/ 398602 h 662520"/>
              <a:gd name="connsiteX73" fmla="*/ 750549 w 2255698"/>
              <a:gd name="connsiteY73" fmla="*/ 379812 h 662520"/>
              <a:gd name="connsiteX74" fmla="*/ 698411 w 2255698"/>
              <a:gd name="connsiteY74" fmla="*/ 373608 h 662520"/>
              <a:gd name="connsiteX75" fmla="*/ 649592 w 2255698"/>
              <a:gd name="connsiteY75" fmla="*/ 373608 h 662520"/>
              <a:gd name="connsiteX76" fmla="*/ 649592 w 2255698"/>
              <a:gd name="connsiteY76" fmla="*/ 286308 h 662520"/>
              <a:gd name="connsiteX77" fmla="*/ 690892 w 2255698"/>
              <a:gd name="connsiteY77" fmla="*/ 286308 h 662520"/>
              <a:gd name="connsiteX78" fmla="*/ 744563 w 2255698"/>
              <a:gd name="connsiteY78" fmla="*/ 280133 h 662520"/>
              <a:gd name="connsiteX79" fmla="*/ 783007 w 2255698"/>
              <a:gd name="connsiteY79" fmla="*/ 261550 h 662520"/>
              <a:gd name="connsiteX80" fmla="*/ 806137 w 2255698"/>
              <a:gd name="connsiteY80" fmla="*/ 230469 h 662520"/>
              <a:gd name="connsiteX81" fmla="*/ 813866 w 2255698"/>
              <a:gd name="connsiteY81" fmla="*/ 186804 h 662520"/>
              <a:gd name="connsiteX82" fmla="*/ 808513 w 2255698"/>
              <a:gd name="connsiteY82" fmla="*/ 149115 h 662520"/>
              <a:gd name="connsiteX83" fmla="*/ 792160 w 2255698"/>
              <a:gd name="connsiteY83" fmla="*/ 121104 h 662520"/>
              <a:gd name="connsiteX84" fmla="*/ 764365 w 2255698"/>
              <a:gd name="connsiteY84" fmla="*/ 103651 h 662520"/>
              <a:gd name="connsiteX85" fmla="*/ 724687 w 2255698"/>
              <a:gd name="connsiteY85" fmla="*/ 97637 h 662520"/>
              <a:gd name="connsiteX86" fmla="*/ 687243 w 2255698"/>
              <a:gd name="connsiteY86" fmla="*/ 102374 h 662520"/>
              <a:gd name="connsiteX87" fmla="*/ 657456 w 2255698"/>
              <a:gd name="connsiteY87" fmla="*/ 115117 h 662520"/>
              <a:gd name="connsiteX88" fmla="*/ 634533 w 2255698"/>
              <a:gd name="connsiteY88" fmla="*/ 133668 h 662520"/>
              <a:gd name="connsiteX89" fmla="*/ 617677 w 2255698"/>
              <a:gd name="connsiteY89" fmla="*/ 155828 h 662520"/>
              <a:gd name="connsiteX90" fmla="*/ 539775 w 2255698"/>
              <a:gd name="connsiteY90" fmla="*/ 155828 h 662520"/>
              <a:gd name="connsiteX91" fmla="*/ 539775 w 2255698"/>
              <a:gd name="connsiteY91" fmla="*/ 33807 h 662520"/>
              <a:gd name="connsiteX92" fmla="*/ 584006 w 2255698"/>
              <a:gd name="connsiteY92" fmla="*/ 19813 h 662520"/>
              <a:gd name="connsiteX93" fmla="*/ 631056 w 2255698"/>
              <a:gd name="connsiteY93" fmla="*/ 9159 h 662520"/>
              <a:gd name="connsiteX94" fmla="*/ 681278 w 2255698"/>
              <a:gd name="connsiteY94" fmla="*/ 2378 h 662520"/>
              <a:gd name="connsiteX95" fmla="*/ 735025 w 2255698"/>
              <a:gd name="connsiteY95" fmla="*/ 0 h 662520"/>
              <a:gd name="connsiteX96" fmla="*/ 790395 w 2255698"/>
              <a:gd name="connsiteY96" fmla="*/ 3158 h 662520"/>
              <a:gd name="connsiteX97" fmla="*/ 838689 w 2255698"/>
              <a:gd name="connsiteY97" fmla="*/ 12853 h 662520"/>
              <a:gd name="connsiteX98" fmla="*/ 879380 w 2255698"/>
              <a:gd name="connsiteY98" fmla="*/ 29412 h 662520"/>
              <a:gd name="connsiteX99" fmla="*/ 911943 w 2255698"/>
              <a:gd name="connsiteY99" fmla="*/ 53163 h 662520"/>
              <a:gd name="connsiteX100" fmla="*/ 935853 w 2255698"/>
              <a:gd name="connsiteY100" fmla="*/ 84435 h 662520"/>
              <a:gd name="connsiteX101" fmla="*/ 950584 w 2255698"/>
              <a:gd name="connsiteY101" fmla="*/ 123555 h 662520"/>
              <a:gd name="connsiteX102" fmla="*/ 955611 w 2255698"/>
              <a:gd name="connsiteY102" fmla="*/ 170853 h 662520"/>
              <a:gd name="connsiteX103" fmla="*/ 949453 w 2255698"/>
              <a:gd name="connsiteY103" fmla="*/ 219568 h 662520"/>
              <a:gd name="connsiteX104" fmla="*/ 931581 w 2255698"/>
              <a:gd name="connsiteY104" fmla="*/ 258234 h 662520"/>
              <a:gd name="connsiteX105" fmla="*/ 902895 w 2255698"/>
              <a:gd name="connsiteY105" fmla="*/ 287843 h 662520"/>
              <a:gd name="connsiteX106" fmla="*/ 864296 w 2255698"/>
              <a:gd name="connsiteY106" fmla="*/ 309388 h 662520"/>
              <a:gd name="connsiteX107" fmla="*/ 816686 w 2255698"/>
              <a:gd name="connsiteY107" fmla="*/ 323862 h 662520"/>
              <a:gd name="connsiteX108" fmla="*/ 816686 w 2255698"/>
              <a:gd name="connsiteY108" fmla="*/ 327609 h 662520"/>
              <a:gd name="connsiteX109" fmla="*/ 870681 w 2255698"/>
              <a:gd name="connsiteY109" fmla="*/ 340566 h 662520"/>
              <a:gd name="connsiteX110" fmla="*/ 912283 w 2255698"/>
              <a:gd name="connsiteY110" fmla="*/ 362534 h 662520"/>
              <a:gd name="connsiteX111" fmla="*/ 941719 w 2255698"/>
              <a:gd name="connsiteY111" fmla="*/ 393513 h 662520"/>
              <a:gd name="connsiteX112" fmla="*/ 959215 w 2255698"/>
              <a:gd name="connsiteY112" fmla="*/ 433502 h 662520"/>
              <a:gd name="connsiteX113" fmla="*/ 964996 w 2255698"/>
              <a:gd name="connsiteY113" fmla="*/ 482498 h 662520"/>
              <a:gd name="connsiteX114" fmla="*/ 959936 w 2255698"/>
              <a:gd name="connsiteY114" fmla="*/ 527743 h 662520"/>
              <a:gd name="connsiteX115" fmla="*/ 944659 w 2255698"/>
              <a:gd name="connsiteY115" fmla="*/ 567021 h 662520"/>
              <a:gd name="connsiteX116" fmla="*/ 920122 w 2255698"/>
              <a:gd name="connsiteY116" fmla="*/ 600232 h 662520"/>
              <a:gd name="connsiteX117" fmla="*/ 887285 w 2255698"/>
              <a:gd name="connsiteY117" fmla="*/ 627278 h 662520"/>
              <a:gd name="connsiteX118" fmla="*/ 847106 w 2255698"/>
              <a:gd name="connsiteY118" fmla="*/ 648061 h 662520"/>
              <a:gd name="connsiteX119" fmla="*/ 800544 w 2255698"/>
              <a:gd name="connsiteY119" fmla="*/ 662482 h 662520"/>
              <a:gd name="connsiteX120" fmla="*/ 1360843 w 2255698"/>
              <a:gd name="connsiteY120" fmla="*/ 662495 h 662520"/>
              <a:gd name="connsiteX121" fmla="*/ 1322871 w 2255698"/>
              <a:gd name="connsiteY121" fmla="*/ 649352 h 662520"/>
              <a:gd name="connsiteX122" fmla="*/ 1287296 w 2255698"/>
              <a:gd name="connsiteY122" fmla="*/ 630560 h 662520"/>
              <a:gd name="connsiteX123" fmla="*/ 1254670 w 2255698"/>
              <a:gd name="connsiteY123" fmla="*/ 606062 h 662520"/>
              <a:gd name="connsiteX124" fmla="*/ 1225546 w 2255698"/>
              <a:gd name="connsiteY124" fmla="*/ 575802 h 662520"/>
              <a:gd name="connsiteX125" fmla="*/ 1200477 w 2255698"/>
              <a:gd name="connsiteY125" fmla="*/ 539722 h 662520"/>
              <a:gd name="connsiteX126" fmla="*/ 1180016 w 2255698"/>
              <a:gd name="connsiteY126" fmla="*/ 497766 h 662520"/>
              <a:gd name="connsiteX127" fmla="*/ 1164717 w 2255698"/>
              <a:gd name="connsiteY127" fmla="*/ 449876 h 662520"/>
              <a:gd name="connsiteX128" fmla="*/ 1155131 w 2255698"/>
              <a:gd name="connsiteY128" fmla="*/ 395995 h 662520"/>
              <a:gd name="connsiteX129" fmla="*/ 1151813 w 2255698"/>
              <a:gd name="connsiteY129" fmla="*/ 336067 h 662520"/>
              <a:gd name="connsiteX130" fmla="*/ 1155053 w 2255698"/>
              <a:gd name="connsiteY130" fmla="*/ 276826 h 662520"/>
              <a:gd name="connsiteX131" fmla="*/ 1164415 w 2255698"/>
              <a:gd name="connsiteY131" fmla="*/ 223488 h 662520"/>
              <a:gd name="connsiteX132" fmla="*/ 1179368 w 2255698"/>
              <a:gd name="connsiteY132" fmla="*/ 175997 h 662520"/>
              <a:gd name="connsiteX133" fmla="*/ 1199377 w 2255698"/>
              <a:gd name="connsiteY133" fmla="*/ 134299 h 662520"/>
              <a:gd name="connsiteX134" fmla="*/ 1223910 w 2255698"/>
              <a:gd name="connsiteY134" fmla="*/ 98339 h 662520"/>
              <a:gd name="connsiteX135" fmla="*/ 1252434 w 2255698"/>
              <a:gd name="connsiteY135" fmla="*/ 68062 h 662520"/>
              <a:gd name="connsiteX136" fmla="*/ 1284414 w 2255698"/>
              <a:gd name="connsiteY136" fmla="*/ 43413 h 662520"/>
              <a:gd name="connsiteX137" fmla="*/ 1319318 w 2255698"/>
              <a:gd name="connsiteY137" fmla="*/ 24337 h 662520"/>
              <a:gd name="connsiteX138" fmla="*/ 1356613 w 2255698"/>
              <a:gd name="connsiteY138" fmla="*/ 10780 h 662520"/>
              <a:gd name="connsiteX139" fmla="*/ 1395766 w 2255698"/>
              <a:gd name="connsiteY139" fmla="*/ 2685 h 662520"/>
              <a:gd name="connsiteX140" fmla="*/ 1436243 w 2255698"/>
              <a:gd name="connsiteY140" fmla="*/ 0 h 662520"/>
              <a:gd name="connsiteX141" fmla="*/ 1476722 w 2255698"/>
              <a:gd name="connsiteY141" fmla="*/ 2685 h 662520"/>
              <a:gd name="connsiteX142" fmla="*/ 1515876 w 2255698"/>
              <a:gd name="connsiteY142" fmla="*/ 10780 h 662520"/>
              <a:gd name="connsiteX143" fmla="*/ 1553172 w 2255698"/>
              <a:gd name="connsiteY143" fmla="*/ 24337 h 662520"/>
              <a:gd name="connsiteX144" fmla="*/ 1588076 w 2255698"/>
              <a:gd name="connsiteY144" fmla="*/ 43413 h 662520"/>
              <a:gd name="connsiteX145" fmla="*/ 1620056 w 2255698"/>
              <a:gd name="connsiteY145" fmla="*/ 68062 h 662520"/>
              <a:gd name="connsiteX146" fmla="*/ 1648579 w 2255698"/>
              <a:gd name="connsiteY146" fmla="*/ 98339 h 662520"/>
              <a:gd name="connsiteX147" fmla="*/ 1673111 w 2255698"/>
              <a:gd name="connsiteY147" fmla="*/ 134299 h 662520"/>
              <a:gd name="connsiteX148" fmla="*/ 1693119 w 2255698"/>
              <a:gd name="connsiteY148" fmla="*/ 175997 h 662520"/>
              <a:gd name="connsiteX149" fmla="*/ 1708071 w 2255698"/>
              <a:gd name="connsiteY149" fmla="*/ 223488 h 662520"/>
              <a:gd name="connsiteX150" fmla="*/ 1717433 w 2255698"/>
              <a:gd name="connsiteY150" fmla="*/ 276826 h 662520"/>
              <a:gd name="connsiteX151" fmla="*/ 1720672 w 2255698"/>
              <a:gd name="connsiteY151" fmla="*/ 336067 h 662520"/>
              <a:gd name="connsiteX152" fmla="*/ 1717354 w 2255698"/>
              <a:gd name="connsiteY152" fmla="*/ 395995 h 662520"/>
              <a:gd name="connsiteX153" fmla="*/ 1707768 w 2255698"/>
              <a:gd name="connsiteY153" fmla="*/ 449876 h 662520"/>
              <a:gd name="connsiteX154" fmla="*/ 1692469 w 2255698"/>
              <a:gd name="connsiteY154" fmla="*/ 497766 h 662520"/>
              <a:gd name="connsiteX155" fmla="*/ 1672008 w 2255698"/>
              <a:gd name="connsiteY155" fmla="*/ 539722 h 662520"/>
              <a:gd name="connsiteX156" fmla="*/ 1646939 w 2255698"/>
              <a:gd name="connsiteY156" fmla="*/ 575802 h 662520"/>
              <a:gd name="connsiteX157" fmla="*/ 1617815 w 2255698"/>
              <a:gd name="connsiteY157" fmla="*/ 606062 h 662520"/>
              <a:gd name="connsiteX158" fmla="*/ 1585189 w 2255698"/>
              <a:gd name="connsiteY158" fmla="*/ 630560 h 662520"/>
              <a:gd name="connsiteX159" fmla="*/ 1549614 w 2255698"/>
              <a:gd name="connsiteY159" fmla="*/ 649352 h 662520"/>
              <a:gd name="connsiteX160" fmla="*/ 1511642 w 2255698"/>
              <a:gd name="connsiteY160" fmla="*/ 662495 h 662520"/>
              <a:gd name="connsiteX161" fmla="*/ 1943430 w 2255698"/>
              <a:gd name="connsiteY161" fmla="*/ 662495 h 662520"/>
              <a:gd name="connsiteX162" fmla="*/ 1905459 w 2255698"/>
              <a:gd name="connsiteY162" fmla="*/ 649348 h 662520"/>
              <a:gd name="connsiteX163" fmla="*/ 1869885 w 2255698"/>
              <a:gd name="connsiteY163" fmla="*/ 630555 h 662520"/>
              <a:gd name="connsiteX164" fmla="*/ 1837261 w 2255698"/>
              <a:gd name="connsiteY164" fmla="*/ 606057 h 662520"/>
              <a:gd name="connsiteX165" fmla="*/ 1808138 w 2255698"/>
              <a:gd name="connsiteY165" fmla="*/ 575797 h 662520"/>
              <a:gd name="connsiteX166" fmla="*/ 1783072 w 2255698"/>
              <a:gd name="connsiteY166" fmla="*/ 539718 h 662520"/>
              <a:gd name="connsiteX167" fmla="*/ 1762613 w 2255698"/>
              <a:gd name="connsiteY167" fmla="*/ 497763 h 662520"/>
              <a:gd name="connsiteX168" fmla="*/ 1747315 w 2255698"/>
              <a:gd name="connsiteY168" fmla="*/ 449874 h 662520"/>
              <a:gd name="connsiteX169" fmla="*/ 1737731 w 2255698"/>
              <a:gd name="connsiteY169" fmla="*/ 395995 h 662520"/>
              <a:gd name="connsiteX170" fmla="*/ 1734413 w 2255698"/>
              <a:gd name="connsiteY170" fmla="*/ 336067 h 662520"/>
              <a:gd name="connsiteX171" fmla="*/ 1737652 w 2255698"/>
              <a:gd name="connsiteY171" fmla="*/ 276826 h 662520"/>
              <a:gd name="connsiteX172" fmla="*/ 1747014 w 2255698"/>
              <a:gd name="connsiteY172" fmla="*/ 223488 h 662520"/>
              <a:gd name="connsiteX173" fmla="*/ 1761965 w 2255698"/>
              <a:gd name="connsiteY173" fmla="*/ 175997 h 662520"/>
              <a:gd name="connsiteX174" fmla="*/ 1781973 w 2255698"/>
              <a:gd name="connsiteY174" fmla="*/ 134299 h 662520"/>
              <a:gd name="connsiteX175" fmla="*/ 1806505 w 2255698"/>
              <a:gd name="connsiteY175" fmla="*/ 98339 h 662520"/>
              <a:gd name="connsiteX176" fmla="*/ 1835026 w 2255698"/>
              <a:gd name="connsiteY176" fmla="*/ 68062 h 662520"/>
              <a:gd name="connsiteX177" fmla="*/ 1867005 w 2255698"/>
              <a:gd name="connsiteY177" fmla="*/ 43413 h 662520"/>
              <a:gd name="connsiteX178" fmla="*/ 1901908 w 2255698"/>
              <a:gd name="connsiteY178" fmla="*/ 24337 h 662520"/>
              <a:gd name="connsiteX179" fmla="*/ 1939202 w 2255698"/>
              <a:gd name="connsiteY179" fmla="*/ 10780 h 662520"/>
              <a:gd name="connsiteX180" fmla="*/ 1978353 w 2255698"/>
              <a:gd name="connsiteY180" fmla="*/ 2685 h 662520"/>
              <a:gd name="connsiteX181" fmla="*/ 2018830 w 2255698"/>
              <a:gd name="connsiteY181" fmla="*/ 0 h 662520"/>
              <a:gd name="connsiteX182" fmla="*/ 2059309 w 2255698"/>
              <a:gd name="connsiteY182" fmla="*/ 2685 h 662520"/>
              <a:gd name="connsiteX183" fmla="*/ 2098463 w 2255698"/>
              <a:gd name="connsiteY183" fmla="*/ 10780 h 662520"/>
              <a:gd name="connsiteX184" fmla="*/ 2135759 w 2255698"/>
              <a:gd name="connsiteY184" fmla="*/ 24337 h 662520"/>
              <a:gd name="connsiteX185" fmla="*/ 2170664 w 2255698"/>
              <a:gd name="connsiteY185" fmla="*/ 43413 h 662520"/>
              <a:gd name="connsiteX186" fmla="*/ 2202644 w 2255698"/>
              <a:gd name="connsiteY186" fmla="*/ 68062 h 662520"/>
              <a:gd name="connsiteX187" fmla="*/ 2231166 w 2255698"/>
              <a:gd name="connsiteY187" fmla="*/ 98339 h 662520"/>
              <a:gd name="connsiteX188" fmla="*/ 2255698 w 2255698"/>
              <a:gd name="connsiteY188" fmla="*/ 134299 h 662520"/>
              <a:gd name="connsiteX0" fmla="*/ 74231 w 2231166"/>
              <a:gd name="connsiteY0" fmla="*/ 662482 h 662520"/>
              <a:gd name="connsiteX1" fmla="*/ 60344 w 2231166"/>
              <a:gd name="connsiteY1" fmla="*/ 659582 h 662520"/>
              <a:gd name="connsiteX2" fmla="*/ 47517 w 2231166"/>
              <a:gd name="connsiteY2" fmla="*/ 656437 h 662520"/>
              <a:gd name="connsiteX3" fmla="*/ 35823 w 2231166"/>
              <a:gd name="connsiteY3" fmla="*/ 653092 h 662520"/>
              <a:gd name="connsiteX4" fmla="*/ 25336 w 2231166"/>
              <a:gd name="connsiteY4" fmla="*/ 649592 h 662520"/>
              <a:gd name="connsiteX5" fmla="*/ 25336 w 2231166"/>
              <a:gd name="connsiteY5" fmla="*/ 533196 h 662520"/>
              <a:gd name="connsiteX6" fmla="*/ 104190 w 2231166"/>
              <a:gd name="connsiteY6" fmla="*/ 533196 h 662520"/>
              <a:gd name="connsiteX7" fmla="*/ 116931 w 2231166"/>
              <a:gd name="connsiteY7" fmla="*/ 550133 h 662520"/>
              <a:gd name="connsiteX8" fmla="*/ 135043 w 2231166"/>
              <a:gd name="connsiteY8" fmla="*/ 564522 h 662520"/>
              <a:gd name="connsiteX9" fmla="*/ 160020 w 2231166"/>
              <a:gd name="connsiteY9" fmla="*/ 574514 h 662520"/>
              <a:gd name="connsiteX10" fmla="*/ 193357 w 2231166"/>
              <a:gd name="connsiteY10" fmla="*/ 578256 h 662520"/>
              <a:gd name="connsiteX11" fmla="*/ 233829 w 2231166"/>
              <a:gd name="connsiteY11" fmla="*/ 573672 h 662520"/>
              <a:gd name="connsiteX12" fmla="*/ 297105 w 2231166"/>
              <a:gd name="connsiteY12" fmla="*/ 537246 h 662520"/>
              <a:gd name="connsiteX13" fmla="*/ 320040 w 2231166"/>
              <a:gd name="connsiteY13" fmla="*/ 505568 h 662520"/>
              <a:gd name="connsiteX14" fmla="*/ 337261 w 2231166"/>
              <a:gd name="connsiteY14" fmla="*/ 465022 h 662520"/>
              <a:gd name="connsiteX15" fmla="*/ 348834 w 2231166"/>
              <a:gd name="connsiteY15" fmla="*/ 415691 h 662520"/>
              <a:gd name="connsiteX16" fmla="*/ 354825 w 2231166"/>
              <a:gd name="connsiteY16" fmla="*/ 357657 h 662520"/>
              <a:gd name="connsiteX17" fmla="*/ 325357 w 2231166"/>
              <a:gd name="connsiteY17" fmla="*/ 385098 h 662520"/>
              <a:gd name="connsiteX18" fmla="*/ 289466 w 2231166"/>
              <a:gd name="connsiteY18" fmla="*/ 406117 h 662520"/>
              <a:gd name="connsiteX19" fmla="*/ 247767 w 2231166"/>
              <a:gd name="connsiteY19" fmla="*/ 419568 h 662520"/>
              <a:gd name="connsiteX20" fmla="*/ 200875 w 2231166"/>
              <a:gd name="connsiteY20" fmla="*/ 424306 h 662520"/>
              <a:gd name="connsiteX21" fmla="*/ 153099 w 2231166"/>
              <a:gd name="connsiteY21" fmla="*/ 420031 h 662520"/>
              <a:gd name="connsiteX22" fmla="*/ 110150 w 2231166"/>
              <a:gd name="connsiteY22" fmla="*/ 407348 h 662520"/>
              <a:gd name="connsiteX23" fmla="*/ 72948 w 2231166"/>
              <a:gd name="connsiteY23" fmla="*/ 386472 h 662520"/>
              <a:gd name="connsiteX24" fmla="*/ 42412 w 2231166"/>
              <a:gd name="connsiteY24" fmla="*/ 357614 h 662520"/>
              <a:gd name="connsiteX25" fmla="*/ 19463 w 2231166"/>
              <a:gd name="connsiteY25" fmla="*/ 320990 h 662520"/>
              <a:gd name="connsiteX26" fmla="*/ 5019 w 2231166"/>
              <a:gd name="connsiteY26" fmla="*/ 276814 h 662520"/>
              <a:gd name="connsiteX27" fmla="*/ 0 w 2231166"/>
              <a:gd name="connsiteY27" fmla="*/ 225297 h 662520"/>
              <a:gd name="connsiteX28" fmla="*/ 4447 w 2231166"/>
              <a:gd name="connsiteY28" fmla="*/ 178425 h 662520"/>
              <a:gd name="connsiteX29" fmla="*/ 17453 w 2231166"/>
              <a:gd name="connsiteY29" fmla="*/ 135445 h 662520"/>
              <a:gd name="connsiteX30" fmla="*/ 38511 w 2231166"/>
              <a:gd name="connsiteY30" fmla="*/ 97085 h 662520"/>
              <a:gd name="connsiteX31" fmla="*/ 67116 w 2231166"/>
              <a:gd name="connsiteY31" fmla="*/ 64071 h 662520"/>
              <a:gd name="connsiteX32" fmla="*/ 102760 w 2231166"/>
              <a:gd name="connsiteY32" fmla="*/ 37129 h 662520"/>
              <a:gd name="connsiteX33" fmla="*/ 144939 w 2231166"/>
              <a:gd name="connsiteY33" fmla="*/ 16986 h 662520"/>
              <a:gd name="connsiteX34" fmla="*/ 193146 w 2231166"/>
              <a:gd name="connsiteY34" fmla="*/ 4367 h 662520"/>
              <a:gd name="connsiteX35" fmla="*/ 246875 w 2231166"/>
              <a:gd name="connsiteY35" fmla="*/ 0 h 662520"/>
              <a:gd name="connsiteX36" fmla="*/ 290625 w 2231166"/>
              <a:gd name="connsiteY36" fmla="*/ 2882 h 662520"/>
              <a:gd name="connsiteX37" fmla="*/ 331492 w 2231166"/>
              <a:gd name="connsiteY37" fmla="*/ 11678 h 662520"/>
              <a:gd name="connsiteX38" fmla="*/ 369070 w 2231166"/>
              <a:gd name="connsiteY38" fmla="*/ 26614 h 662520"/>
              <a:gd name="connsiteX39" fmla="*/ 402953 w 2231166"/>
              <a:gd name="connsiteY39" fmla="*/ 47914 h 662520"/>
              <a:gd name="connsiteX40" fmla="*/ 432736 w 2231166"/>
              <a:gd name="connsiteY40" fmla="*/ 75804 h 662520"/>
              <a:gd name="connsiteX41" fmla="*/ 458013 w 2231166"/>
              <a:gd name="connsiteY41" fmla="*/ 110509 h 662520"/>
              <a:gd name="connsiteX42" fmla="*/ 478379 w 2231166"/>
              <a:gd name="connsiteY42" fmla="*/ 152255 h 662520"/>
              <a:gd name="connsiteX43" fmla="*/ 493429 w 2231166"/>
              <a:gd name="connsiteY43" fmla="*/ 201265 h 662520"/>
              <a:gd name="connsiteX44" fmla="*/ 502756 w 2231166"/>
              <a:gd name="connsiteY44" fmla="*/ 257766 h 662520"/>
              <a:gd name="connsiteX45" fmla="*/ 505955 w 2231166"/>
              <a:gd name="connsiteY45" fmla="*/ 321983 h 662520"/>
              <a:gd name="connsiteX46" fmla="*/ 503406 w 2231166"/>
              <a:gd name="connsiteY46" fmla="*/ 376707 h 662520"/>
              <a:gd name="connsiteX47" fmla="*/ 495858 w 2231166"/>
              <a:gd name="connsiteY47" fmla="*/ 427041 h 662520"/>
              <a:gd name="connsiteX48" fmla="*/ 483456 w 2231166"/>
              <a:gd name="connsiteY48" fmla="*/ 472909 h 662520"/>
              <a:gd name="connsiteX49" fmla="*/ 466346 w 2231166"/>
              <a:gd name="connsiteY49" fmla="*/ 514232 h 662520"/>
              <a:gd name="connsiteX50" fmla="*/ 444674 w 2231166"/>
              <a:gd name="connsiteY50" fmla="*/ 550937 h 662520"/>
              <a:gd name="connsiteX51" fmla="*/ 418587 w 2231166"/>
              <a:gd name="connsiteY51" fmla="*/ 582945 h 662520"/>
              <a:gd name="connsiteX52" fmla="*/ 388229 w 2231166"/>
              <a:gd name="connsiteY52" fmla="*/ 610181 h 662520"/>
              <a:gd name="connsiteX53" fmla="*/ 353748 w 2231166"/>
              <a:gd name="connsiteY53" fmla="*/ 632569 h 662520"/>
              <a:gd name="connsiteX54" fmla="*/ 315289 w 2231166"/>
              <a:gd name="connsiteY54" fmla="*/ 650033 h 662520"/>
              <a:gd name="connsiteX55" fmla="*/ 272999 w 2231166"/>
              <a:gd name="connsiteY55" fmla="*/ 662495 h 662520"/>
              <a:gd name="connsiteX56" fmla="*/ 592162 w 2231166"/>
              <a:gd name="connsiteY56" fmla="*/ 662520 h 662520"/>
              <a:gd name="connsiteX57" fmla="*/ 571167 w 2231166"/>
              <a:gd name="connsiteY57" fmla="*/ 658030 h 662520"/>
              <a:gd name="connsiteX58" fmla="*/ 551373 w 2231166"/>
              <a:gd name="connsiteY58" fmla="*/ 652783 h 662520"/>
              <a:gd name="connsiteX59" fmla="*/ 532537 w 2231166"/>
              <a:gd name="connsiteY59" fmla="*/ 646826 h 662520"/>
              <a:gd name="connsiteX60" fmla="*/ 514413 w 2231166"/>
              <a:gd name="connsiteY60" fmla="*/ 640206 h 662520"/>
              <a:gd name="connsiteX61" fmla="*/ 514413 w 2231166"/>
              <a:gd name="connsiteY61" fmla="*/ 516293 h 662520"/>
              <a:gd name="connsiteX62" fmla="*/ 596087 w 2231166"/>
              <a:gd name="connsiteY62" fmla="*/ 516293 h 662520"/>
              <a:gd name="connsiteX63" fmla="*/ 612203 w 2231166"/>
              <a:gd name="connsiteY63" fmla="*/ 539439 h 662520"/>
              <a:gd name="connsiteX64" fmla="*/ 635627 w 2231166"/>
              <a:gd name="connsiteY64" fmla="*/ 559242 h 662520"/>
              <a:gd name="connsiteX65" fmla="*/ 666972 w 2231166"/>
              <a:gd name="connsiteY65" fmla="*/ 573062 h 662520"/>
              <a:gd name="connsiteX66" fmla="*/ 706856 w 2231166"/>
              <a:gd name="connsiteY66" fmla="*/ 578256 h 662520"/>
              <a:gd name="connsiteX67" fmla="*/ 749359 w 2231166"/>
              <a:gd name="connsiteY67" fmla="*/ 571758 h 662520"/>
              <a:gd name="connsiteX68" fmla="*/ 784298 w 2231166"/>
              <a:gd name="connsiteY68" fmla="*/ 552322 h 662520"/>
              <a:gd name="connsiteX69" fmla="*/ 807972 w 2231166"/>
              <a:gd name="connsiteY69" fmla="*/ 520038 h 662520"/>
              <a:gd name="connsiteX70" fmla="*/ 816686 w 2231166"/>
              <a:gd name="connsiteY70" fmla="*/ 474992 h 662520"/>
              <a:gd name="connsiteX71" fmla="*/ 809424 w 2231166"/>
              <a:gd name="connsiteY71" fmla="*/ 430240 h 662520"/>
              <a:gd name="connsiteX72" fmla="*/ 787466 w 2231166"/>
              <a:gd name="connsiteY72" fmla="*/ 398602 h 662520"/>
              <a:gd name="connsiteX73" fmla="*/ 750549 w 2231166"/>
              <a:gd name="connsiteY73" fmla="*/ 379812 h 662520"/>
              <a:gd name="connsiteX74" fmla="*/ 698411 w 2231166"/>
              <a:gd name="connsiteY74" fmla="*/ 373608 h 662520"/>
              <a:gd name="connsiteX75" fmla="*/ 649592 w 2231166"/>
              <a:gd name="connsiteY75" fmla="*/ 373608 h 662520"/>
              <a:gd name="connsiteX76" fmla="*/ 649592 w 2231166"/>
              <a:gd name="connsiteY76" fmla="*/ 286308 h 662520"/>
              <a:gd name="connsiteX77" fmla="*/ 690892 w 2231166"/>
              <a:gd name="connsiteY77" fmla="*/ 286308 h 662520"/>
              <a:gd name="connsiteX78" fmla="*/ 744563 w 2231166"/>
              <a:gd name="connsiteY78" fmla="*/ 280133 h 662520"/>
              <a:gd name="connsiteX79" fmla="*/ 783007 w 2231166"/>
              <a:gd name="connsiteY79" fmla="*/ 261550 h 662520"/>
              <a:gd name="connsiteX80" fmla="*/ 806137 w 2231166"/>
              <a:gd name="connsiteY80" fmla="*/ 230469 h 662520"/>
              <a:gd name="connsiteX81" fmla="*/ 813866 w 2231166"/>
              <a:gd name="connsiteY81" fmla="*/ 186804 h 662520"/>
              <a:gd name="connsiteX82" fmla="*/ 808513 w 2231166"/>
              <a:gd name="connsiteY82" fmla="*/ 149115 h 662520"/>
              <a:gd name="connsiteX83" fmla="*/ 792160 w 2231166"/>
              <a:gd name="connsiteY83" fmla="*/ 121104 h 662520"/>
              <a:gd name="connsiteX84" fmla="*/ 764365 w 2231166"/>
              <a:gd name="connsiteY84" fmla="*/ 103651 h 662520"/>
              <a:gd name="connsiteX85" fmla="*/ 724687 w 2231166"/>
              <a:gd name="connsiteY85" fmla="*/ 97637 h 662520"/>
              <a:gd name="connsiteX86" fmla="*/ 687243 w 2231166"/>
              <a:gd name="connsiteY86" fmla="*/ 102374 h 662520"/>
              <a:gd name="connsiteX87" fmla="*/ 657456 w 2231166"/>
              <a:gd name="connsiteY87" fmla="*/ 115117 h 662520"/>
              <a:gd name="connsiteX88" fmla="*/ 634533 w 2231166"/>
              <a:gd name="connsiteY88" fmla="*/ 133668 h 662520"/>
              <a:gd name="connsiteX89" fmla="*/ 617677 w 2231166"/>
              <a:gd name="connsiteY89" fmla="*/ 155828 h 662520"/>
              <a:gd name="connsiteX90" fmla="*/ 539775 w 2231166"/>
              <a:gd name="connsiteY90" fmla="*/ 155828 h 662520"/>
              <a:gd name="connsiteX91" fmla="*/ 539775 w 2231166"/>
              <a:gd name="connsiteY91" fmla="*/ 33807 h 662520"/>
              <a:gd name="connsiteX92" fmla="*/ 584006 w 2231166"/>
              <a:gd name="connsiteY92" fmla="*/ 19813 h 662520"/>
              <a:gd name="connsiteX93" fmla="*/ 631056 w 2231166"/>
              <a:gd name="connsiteY93" fmla="*/ 9159 h 662520"/>
              <a:gd name="connsiteX94" fmla="*/ 681278 w 2231166"/>
              <a:gd name="connsiteY94" fmla="*/ 2378 h 662520"/>
              <a:gd name="connsiteX95" fmla="*/ 735025 w 2231166"/>
              <a:gd name="connsiteY95" fmla="*/ 0 h 662520"/>
              <a:gd name="connsiteX96" fmla="*/ 790395 w 2231166"/>
              <a:gd name="connsiteY96" fmla="*/ 3158 h 662520"/>
              <a:gd name="connsiteX97" fmla="*/ 838689 w 2231166"/>
              <a:gd name="connsiteY97" fmla="*/ 12853 h 662520"/>
              <a:gd name="connsiteX98" fmla="*/ 879380 w 2231166"/>
              <a:gd name="connsiteY98" fmla="*/ 29412 h 662520"/>
              <a:gd name="connsiteX99" fmla="*/ 911943 w 2231166"/>
              <a:gd name="connsiteY99" fmla="*/ 53163 h 662520"/>
              <a:gd name="connsiteX100" fmla="*/ 935853 w 2231166"/>
              <a:gd name="connsiteY100" fmla="*/ 84435 h 662520"/>
              <a:gd name="connsiteX101" fmla="*/ 950584 w 2231166"/>
              <a:gd name="connsiteY101" fmla="*/ 123555 h 662520"/>
              <a:gd name="connsiteX102" fmla="*/ 955611 w 2231166"/>
              <a:gd name="connsiteY102" fmla="*/ 170853 h 662520"/>
              <a:gd name="connsiteX103" fmla="*/ 949453 w 2231166"/>
              <a:gd name="connsiteY103" fmla="*/ 219568 h 662520"/>
              <a:gd name="connsiteX104" fmla="*/ 931581 w 2231166"/>
              <a:gd name="connsiteY104" fmla="*/ 258234 h 662520"/>
              <a:gd name="connsiteX105" fmla="*/ 902895 w 2231166"/>
              <a:gd name="connsiteY105" fmla="*/ 287843 h 662520"/>
              <a:gd name="connsiteX106" fmla="*/ 864296 w 2231166"/>
              <a:gd name="connsiteY106" fmla="*/ 309388 h 662520"/>
              <a:gd name="connsiteX107" fmla="*/ 816686 w 2231166"/>
              <a:gd name="connsiteY107" fmla="*/ 323862 h 662520"/>
              <a:gd name="connsiteX108" fmla="*/ 816686 w 2231166"/>
              <a:gd name="connsiteY108" fmla="*/ 327609 h 662520"/>
              <a:gd name="connsiteX109" fmla="*/ 870681 w 2231166"/>
              <a:gd name="connsiteY109" fmla="*/ 340566 h 662520"/>
              <a:gd name="connsiteX110" fmla="*/ 912283 w 2231166"/>
              <a:gd name="connsiteY110" fmla="*/ 362534 h 662520"/>
              <a:gd name="connsiteX111" fmla="*/ 941719 w 2231166"/>
              <a:gd name="connsiteY111" fmla="*/ 393513 h 662520"/>
              <a:gd name="connsiteX112" fmla="*/ 959215 w 2231166"/>
              <a:gd name="connsiteY112" fmla="*/ 433502 h 662520"/>
              <a:gd name="connsiteX113" fmla="*/ 964996 w 2231166"/>
              <a:gd name="connsiteY113" fmla="*/ 482498 h 662520"/>
              <a:gd name="connsiteX114" fmla="*/ 959936 w 2231166"/>
              <a:gd name="connsiteY114" fmla="*/ 527743 h 662520"/>
              <a:gd name="connsiteX115" fmla="*/ 944659 w 2231166"/>
              <a:gd name="connsiteY115" fmla="*/ 567021 h 662520"/>
              <a:gd name="connsiteX116" fmla="*/ 920122 w 2231166"/>
              <a:gd name="connsiteY116" fmla="*/ 600232 h 662520"/>
              <a:gd name="connsiteX117" fmla="*/ 887285 w 2231166"/>
              <a:gd name="connsiteY117" fmla="*/ 627278 h 662520"/>
              <a:gd name="connsiteX118" fmla="*/ 847106 w 2231166"/>
              <a:gd name="connsiteY118" fmla="*/ 648061 h 662520"/>
              <a:gd name="connsiteX119" fmla="*/ 800544 w 2231166"/>
              <a:gd name="connsiteY119" fmla="*/ 662482 h 662520"/>
              <a:gd name="connsiteX120" fmla="*/ 1360843 w 2231166"/>
              <a:gd name="connsiteY120" fmla="*/ 662495 h 662520"/>
              <a:gd name="connsiteX121" fmla="*/ 1322871 w 2231166"/>
              <a:gd name="connsiteY121" fmla="*/ 649352 h 662520"/>
              <a:gd name="connsiteX122" fmla="*/ 1287296 w 2231166"/>
              <a:gd name="connsiteY122" fmla="*/ 630560 h 662520"/>
              <a:gd name="connsiteX123" fmla="*/ 1254670 w 2231166"/>
              <a:gd name="connsiteY123" fmla="*/ 606062 h 662520"/>
              <a:gd name="connsiteX124" fmla="*/ 1225546 w 2231166"/>
              <a:gd name="connsiteY124" fmla="*/ 575802 h 662520"/>
              <a:gd name="connsiteX125" fmla="*/ 1200477 w 2231166"/>
              <a:gd name="connsiteY125" fmla="*/ 539722 h 662520"/>
              <a:gd name="connsiteX126" fmla="*/ 1180016 w 2231166"/>
              <a:gd name="connsiteY126" fmla="*/ 497766 h 662520"/>
              <a:gd name="connsiteX127" fmla="*/ 1164717 w 2231166"/>
              <a:gd name="connsiteY127" fmla="*/ 449876 h 662520"/>
              <a:gd name="connsiteX128" fmla="*/ 1155131 w 2231166"/>
              <a:gd name="connsiteY128" fmla="*/ 395995 h 662520"/>
              <a:gd name="connsiteX129" fmla="*/ 1151813 w 2231166"/>
              <a:gd name="connsiteY129" fmla="*/ 336067 h 662520"/>
              <a:gd name="connsiteX130" fmla="*/ 1155053 w 2231166"/>
              <a:gd name="connsiteY130" fmla="*/ 276826 h 662520"/>
              <a:gd name="connsiteX131" fmla="*/ 1164415 w 2231166"/>
              <a:gd name="connsiteY131" fmla="*/ 223488 h 662520"/>
              <a:gd name="connsiteX132" fmla="*/ 1179368 w 2231166"/>
              <a:gd name="connsiteY132" fmla="*/ 175997 h 662520"/>
              <a:gd name="connsiteX133" fmla="*/ 1199377 w 2231166"/>
              <a:gd name="connsiteY133" fmla="*/ 134299 h 662520"/>
              <a:gd name="connsiteX134" fmla="*/ 1223910 w 2231166"/>
              <a:gd name="connsiteY134" fmla="*/ 98339 h 662520"/>
              <a:gd name="connsiteX135" fmla="*/ 1252434 w 2231166"/>
              <a:gd name="connsiteY135" fmla="*/ 68062 h 662520"/>
              <a:gd name="connsiteX136" fmla="*/ 1284414 w 2231166"/>
              <a:gd name="connsiteY136" fmla="*/ 43413 h 662520"/>
              <a:gd name="connsiteX137" fmla="*/ 1319318 w 2231166"/>
              <a:gd name="connsiteY137" fmla="*/ 24337 h 662520"/>
              <a:gd name="connsiteX138" fmla="*/ 1356613 w 2231166"/>
              <a:gd name="connsiteY138" fmla="*/ 10780 h 662520"/>
              <a:gd name="connsiteX139" fmla="*/ 1395766 w 2231166"/>
              <a:gd name="connsiteY139" fmla="*/ 2685 h 662520"/>
              <a:gd name="connsiteX140" fmla="*/ 1436243 w 2231166"/>
              <a:gd name="connsiteY140" fmla="*/ 0 h 662520"/>
              <a:gd name="connsiteX141" fmla="*/ 1476722 w 2231166"/>
              <a:gd name="connsiteY141" fmla="*/ 2685 h 662520"/>
              <a:gd name="connsiteX142" fmla="*/ 1515876 w 2231166"/>
              <a:gd name="connsiteY142" fmla="*/ 10780 h 662520"/>
              <a:gd name="connsiteX143" fmla="*/ 1553172 w 2231166"/>
              <a:gd name="connsiteY143" fmla="*/ 24337 h 662520"/>
              <a:gd name="connsiteX144" fmla="*/ 1588076 w 2231166"/>
              <a:gd name="connsiteY144" fmla="*/ 43413 h 662520"/>
              <a:gd name="connsiteX145" fmla="*/ 1620056 w 2231166"/>
              <a:gd name="connsiteY145" fmla="*/ 68062 h 662520"/>
              <a:gd name="connsiteX146" fmla="*/ 1648579 w 2231166"/>
              <a:gd name="connsiteY146" fmla="*/ 98339 h 662520"/>
              <a:gd name="connsiteX147" fmla="*/ 1673111 w 2231166"/>
              <a:gd name="connsiteY147" fmla="*/ 134299 h 662520"/>
              <a:gd name="connsiteX148" fmla="*/ 1693119 w 2231166"/>
              <a:gd name="connsiteY148" fmla="*/ 175997 h 662520"/>
              <a:gd name="connsiteX149" fmla="*/ 1708071 w 2231166"/>
              <a:gd name="connsiteY149" fmla="*/ 223488 h 662520"/>
              <a:gd name="connsiteX150" fmla="*/ 1717433 w 2231166"/>
              <a:gd name="connsiteY150" fmla="*/ 276826 h 662520"/>
              <a:gd name="connsiteX151" fmla="*/ 1720672 w 2231166"/>
              <a:gd name="connsiteY151" fmla="*/ 336067 h 662520"/>
              <a:gd name="connsiteX152" fmla="*/ 1717354 w 2231166"/>
              <a:gd name="connsiteY152" fmla="*/ 395995 h 662520"/>
              <a:gd name="connsiteX153" fmla="*/ 1707768 w 2231166"/>
              <a:gd name="connsiteY153" fmla="*/ 449876 h 662520"/>
              <a:gd name="connsiteX154" fmla="*/ 1692469 w 2231166"/>
              <a:gd name="connsiteY154" fmla="*/ 497766 h 662520"/>
              <a:gd name="connsiteX155" fmla="*/ 1672008 w 2231166"/>
              <a:gd name="connsiteY155" fmla="*/ 539722 h 662520"/>
              <a:gd name="connsiteX156" fmla="*/ 1646939 w 2231166"/>
              <a:gd name="connsiteY156" fmla="*/ 575802 h 662520"/>
              <a:gd name="connsiteX157" fmla="*/ 1617815 w 2231166"/>
              <a:gd name="connsiteY157" fmla="*/ 606062 h 662520"/>
              <a:gd name="connsiteX158" fmla="*/ 1585189 w 2231166"/>
              <a:gd name="connsiteY158" fmla="*/ 630560 h 662520"/>
              <a:gd name="connsiteX159" fmla="*/ 1549614 w 2231166"/>
              <a:gd name="connsiteY159" fmla="*/ 649352 h 662520"/>
              <a:gd name="connsiteX160" fmla="*/ 1511642 w 2231166"/>
              <a:gd name="connsiteY160" fmla="*/ 662495 h 662520"/>
              <a:gd name="connsiteX161" fmla="*/ 1943430 w 2231166"/>
              <a:gd name="connsiteY161" fmla="*/ 662495 h 662520"/>
              <a:gd name="connsiteX162" fmla="*/ 1905459 w 2231166"/>
              <a:gd name="connsiteY162" fmla="*/ 649348 h 662520"/>
              <a:gd name="connsiteX163" fmla="*/ 1869885 w 2231166"/>
              <a:gd name="connsiteY163" fmla="*/ 630555 h 662520"/>
              <a:gd name="connsiteX164" fmla="*/ 1837261 w 2231166"/>
              <a:gd name="connsiteY164" fmla="*/ 606057 h 662520"/>
              <a:gd name="connsiteX165" fmla="*/ 1808138 w 2231166"/>
              <a:gd name="connsiteY165" fmla="*/ 575797 h 662520"/>
              <a:gd name="connsiteX166" fmla="*/ 1783072 w 2231166"/>
              <a:gd name="connsiteY166" fmla="*/ 539718 h 662520"/>
              <a:gd name="connsiteX167" fmla="*/ 1762613 w 2231166"/>
              <a:gd name="connsiteY167" fmla="*/ 497763 h 662520"/>
              <a:gd name="connsiteX168" fmla="*/ 1747315 w 2231166"/>
              <a:gd name="connsiteY168" fmla="*/ 449874 h 662520"/>
              <a:gd name="connsiteX169" fmla="*/ 1737731 w 2231166"/>
              <a:gd name="connsiteY169" fmla="*/ 395995 h 662520"/>
              <a:gd name="connsiteX170" fmla="*/ 1734413 w 2231166"/>
              <a:gd name="connsiteY170" fmla="*/ 336067 h 662520"/>
              <a:gd name="connsiteX171" fmla="*/ 1737652 w 2231166"/>
              <a:gd name="connsiteY171" fmla="*/ 276826 h 662520"/>
              <a:gd name="connsiteX172" fmla="*/ 1747014 w 2231166"/>
              <a:gd name="connsiteY172" fmla="*/ 223488 h 662520"/>
              <a:gd name="connsiteX173" fmla="*/ 1761965 w 2231166"/>
              <a:gd name="connsiteY173" fmla="*/ 175997 h 662520"/>
              <a:gd name="connsiteX174" fmla="*/ 1781973 w 2231166"/>
              <a:gd name="connsiteY174" fmla="*/ 134299 h 662520"/>
              <a:gd name="connsiteX175" fmla="*/ 1806505 w 2231166"/>
              <a:gd name="connsiteY175" fmla="*/ 98339 h 662520"/>
              <a:gd name="connsiteX176" fmla="*/ 1835026 w 2231166"/>
              <a:gd name="connsiteY176" fmla="*/ 68062 h 662520"/>
              <a:gd name="connsiteX177" fmla="*/ 1867005 w 2231166"/>
              <a:gd name="connsiteY177" fmla="*/ 43413 h 662520"/>
              <a:gd name="connsiteX178" fmla="*/ 1901908 w 2231166"/>
              <a:gd name="connsiteY178" fmla="*/ 24337 h 662520"/>
              <a:gd name="connsiteX179" fmla="*/ 1939202 w 2231166"/>
              <a:gd name="connsiteY179" fmla="*/ 10780 h 662520"/>
              <a:gd name="connsiteX180" fmla="*/ 1978353 w 2231166"/>
              <a:gd name="connsiteY180" fmla="*/ 2685 h 662520"/>
              <a:gd name="connsiteX181" fmla="*/ 2018830 w 2231166"/>
              <a:gd name="connsiteY181" fmla="*/ 0 h 662520"/>
              <a:gd name="connsiteX182" fmla="*/ 2059309 w 2231166"/>
              <a:gd name="connsiteY182" fmla="*/ 2685 h 662520"/>
              <a:gd name="connsiteX183" fmla="*/ 2098463 w 2231166"/>
              <a:gd name="connsiteY183" fmla="*/ 10780 h 662520"/>
              <a:gd name="connsiteX184" fmla="*/ 2135759 w 2231166"/>
              <a:gd name="connsiteY184" fmla="*/ 24337 h 662520"/>
              <a:gd name="connsiteX185" fmla="*/ 2170664 w 2231166"/>
              <a:gd name="connsiteY185" fmla="*/ 43413 h 662520"/>
              <a:gd name="connsiteX186" fmla="*/ 2202644 w 2231166"/>
              <a:gd name="connsiteY186" fmla="*/ 68062 h 662520"/>
              <a:gd name="connsiteX187" fmla="*/ 2231166 w 2231166"/>
              <a:gd name="connsiteY187" fmla="*/ 98339 h 662520"/>
              <a:gd name="connsiteX0" fmla="*/ 74231 w 2202644"/>
              <a:gd name="connsiteY0" fmla="*/ 662482 h 662520"/>
              <a:gd name="connsiteX1" fmla="*/ 60344 w 2202644"/>
              <a:gd name="connsiteY1" fmla="*/ 659582 h 662520"/>
              <a:gd name="connsiteX2" fmla="*/ 47517 w 2202644"/>
              <a:gd name="connsiteY2" fmla="*/ 656437 h 662520"/>
              <a:gd name="connsiteX3" fmla="*/ 35823 w 2202644"/>
              <a:gd name="connsiteY3" fmla="*/ 653092 h 662520"/>
              <a:gd name="connsiteX4" fmla="*/ 25336 w 2202644"/>
              <a:gd name="connsiteY4" fmla="*/ 649592 h 662520"/>
              <a:gd name="connsiteX5" fmla="*/ 25336 w 2202644"/>
              <a:gd name="connsiteY5" fmla="*/ 533196 h 662520"/>
              <a:gd name="connsiteX6" fmla="*/ 104190 w 2202644"/>
              <a:gd name="connsiteY6" fmla="*/ 533196 h 662520"/>
              <a:gd name="connsiteX7" fmla="*/ 116931 w 2202644"/>
              <a:gd name="connsiteY7" fmla="*/ 550133 h 662520"/>
              <a:gd name="connsiteX8" fmla="*/ 135043 w 2202644"/>
              <a:gd name="connsiteY8" fmla="*/ 564522 h 662520"/>
              <a:gd name="connsiteX9" fmla="*/ 160020 w 2202644"/>
              <a:gd name="connsiteY9" fmla="*/ 574514 h 662520"/>
              <a:gd name="connsiteX10" fmla="*/ 193357 w 2202644"/>
              <a:gd name="connsiteY10" fmla="*/ 578256 h 662520"/>
              <a:gd name="connsiteX11" fmla="*/ 233829 w 2202644"/>
              <a:gd name="connsiteY11" fmla="*/ 573672 h 662520"/>
              <a:gd name="connsiteX12" fmla="*/ 297105 w 2202644"/>
              <a:gd name="connsiteY12" fmla="*/ 537246 h 662520"/>
              <a:gd name="connsiteX13" fmla="*/ 320040 w 2202644"/>
              <a:gd name="connsiteY13" fmla="*/ 505568 h 662520"/>
              <a:gd name="connsiteX14" fmla="*/ 337261 w 2202644"/>
              <a:gd name="connsiteY14" fmla="*/ 465022 h 662520"/>
              <a:gd name="connsiteX15" fmla="*/ 348834 w 2202644"/>
              <a:gd name="connsiteY15" fmla="*/ 415691 h 662520"/>
              <a:gd name="connsiteX16" fmla="*/ 354825 w 2202644"/>
              <a:gd name="connsiteY16" fmla="*/ 357657 h 662520"/>
              <a:gd name="connsiteX17" fmla="*/ 325357 w 2202644"/>
              <a:gd name="connsiteY17" fmla="*/ 385098 h 662520"/>
              <a:gd name="connsiteX18" fmla="*/ 289466 w 2202644"/>
              <a:gd name="connsiteY18" fmla="*/ 406117 h 662520"/>
              <a:gd name="connsiteX19" fmla="*/ 247767 w 2202644"/>
              <a:gd name="connsiteY19" fmla="*/ 419568 h 662520"/>
              <a:gd name="connsiteX20" fmla="*/ 200875 w 2202644"/>
              <a:gd name="connsiteY20" fmla="*/ 424306 h 662520"/>
              <a:gd name="connsiteX21" fmla="*/ 153099 w 2202644"/>
              <a:gd name="connsiteY21" fmla="*/ 420031 h 662520"/>
              <a:gd name="connsiteX22" fmla="*/ 110150 w 2202644"/>
              <a:gd name="connsiteY22" fmla="*/ 407348 h 662520"/>
              <a:gd name="connsiteX23" fmla="*/ 72948 w 2202644"/>
              <a:gd name="connsiteY23" fmla="*/ 386472 h 662520"/>
              <a:gd name="connsiteX24" fmla="*/ 42412 w 2202644"/>
              <a:gd name="connsiteY24" fmla="*/ 357614 h 662520"/>
              <a:gd name="connsiteX25" fmla="*/ 19463 w 2202644"/>
              <a:gd name="connsiteY25" fmla="*/ 320990 h 662520"/>
              <a:gd name="connsiteX26" fmla="*/ 5019 w 2202644"/>
              <a:gd name="connsiteY26" fmla="*/ 276814 h 662520"/>
              <a:gd name="connsiteX27" fmla="*/ 0 w 2202644"/>
              <a:gd name="connsiteY27" fmla="*/ 225297 h 662520"/>
              <a:gd name="connsiteX28" fmla="*/ 4447 w 2202644"/>
              <a:gd name="connsiteY28" fmla="*/ 178425 h 662520"/>
              <a:gd name="connsiteX29" fmla="*/ 17453 w 2202644"/>
              <a:gd name="connsiteY29" fmla="*/ 135445 h 662520"/>
              <a:gd name="connsiteX30" fmla="*/ 38511 w 2202644"/>
              <a:gd name="connsiteY30" fmla="*/ 97085 h 662520"/>
              <a:gd name="connsiteX31" fmla="*/ 67116 w 2202644"/>
              <a:gd name="connsiteY31" fmla="*/ 64071 h 662520"/>
              <a:gd name="connsiteX32" fmla="*/ 102760 w 2202644"/>
              <a:gd name="connsiteY32" fmla="*/ 37129 h 662520"/>
              <a:gd name="connsiteX33" fmla="*/ 144939 w 2202644"/>
              <a:gd name="connsiteY33" fmla="*/ 16986 h 662520"/>
              <a:gd name="connsiteX34" fmla="*/ 193146 w 2202644"/>
              <a:gd name="connsiteY34" fmla="*/ 4367 h 662520"/>
              <a:gd name="connsiteX35" fmla="*/ 246875 w 2202644"/>
              <a:gd name="connsiteY35" fmla="*/ 0 h 662520"/>
              <a:gd name="connsiteX36" fmla="*/ 290625 w 2202644"/>
              <a:gd name="connsiteY36" fmla="*/ 2882 h 662520"/>
              <a:gd name="connsiteX37" fmla="*/ 331492 w 2202644"/>
              <a:gd name="connsiteY37" fmla="*/ 11678 h 662520"/>
              <a:gd name="connsiteX38" fmla="*/ 369070 w 2202644"/>
              <a:gd name="connsiteY38" fmla="*/ 26614 h 662520"/>
              <a:gd name="connsiteX39" fmla="*/ 402953 w 2202644"/>
              <a:gd name="connsiteY39" fmla="*/ 47914 h 662520"/>
              <a:gd name="connsiteX40" fmla="*/ 432736 w 2202644"/>
              <a:gd name="connsiteY40" fmla="*/ 75804 h 662520"/>
              <a:gd name="connsiteX41" fmla="*/ 458013 w 2202644"/>
              <a:gd name="connsiteY41" fmla="*/ 110509 h 662520"/>
              <a:gd name="connsiteX42" fmla="*/ 478379 w 2202644"/>
              <a:gd name="connsiteY42" fmla="*/ 152255 h 662520"/>
              <a:gd name="connsiteX43" fmla="*/ 493429 w 2202644"/>
              <a:gd name="connsiteY43" fmla="*/ 201265 h 662520"/>
              <a:gd name="connsiteX44" fmla="*/ 502756 w 2202644"/>
              <a:gd name="connsiteY44" fmla="*/ 257766 h 662520"/>
              <a:gd name="connsiteX45" fmla="*/ 505955 w 2202644"/>
              <a:gd name="connsiteY45" fmla="*/ 321983 h 662520"/>
              <a:gd name="connsiteX46" fmla="*/ 503406 w 2202644"/>
              <a:gd name="connsiteY46" fmla="*/ 376707 h 662520"/>
              <a:gd name="connsiteX47" fmla="*/ 495858 w 2202644"/>
              <a:gd name="connsiteY47" fmla="*/ 427041 h 662520"/>
              <a:gd name="connsiteX48" fmla="*/ 483456 w 2202644"/>
              <a:gd name="connsiteY48" fmla="*/ 472909 h 662520"/>
              <a:gd name="connsiteX49" fmla="*/ 466346 w 2202644"/>
              <a:gd name="connsiteY49" fmla="*/ 514232 h 662520"/>
              <a:gd name="connsiteX50" fmla="*/ 444674 w 2202644"/>
              <a:gd name="connsiteY50" fmla="*/ 550937 h 662520"/>
              <a:gd name="connsiteX51" fmla="*/ 418587 w 2202644"/>
              <a:gd name="connsiteY51" fmla="*/ 582945 h 662520"/>
              <a:gd name="connsiteX52" fmla="*/ 388229 w 2202644"/>
              <a:gd name="connsiteY52" fmla="*/ 610181 h 662520"/>
              <a:gd name="connsiteX53" fmla="*/ 353748 w 2202644"/>
              <a:gd name="connsiteY53" fmla="*/ 632569 h 662520"/>
              <a:gd name="connsiteX54" fmla="*/ 315289 w 2202644"/>
              <a:gd name="connsiteY54" fmla="*/ 650033 h 662520"/>
              <a:gd name="connsiteX55" fmla="*/ 272999 w 2202644"/>
              <a:gd name="connsiteY55" fmla="*/ 662495 h 662520"/>
              <a:gd name="connsiteX56" fmla="*/ 592162 w 2202644"/>
              <a:gd name="connsiteY56" fmla="*/ 662520 h 662520"/>
              <a:gd name="connsiteX57" fmla="*/ 571167 w 2202644"/>
              <a:gd name="connsiteY57" fmla="*/ 658030 h 662520"/>
              <a:gd name="connsiteX58" fmla="*/ 551373 w 2202644"/>
              <a:gd name="connsiteY58" fmla="*/ 652783 h 662520"/>
              <a:gd name="connsiteX59" fmla="*/ 532537 w 2202644"/>
              <a:gd name="connsiteY59" fmla="*/ 646826 h 662520"/>
              <a:gd name="connsiteX60" fmla="*/ 514413 w 2202644"/>
              <a:gd name="connsiteY60" fmla="*/ 640206 h 662520"/>
              <a:gd name="connsiteX61" fmla="*/ 514413 w 2202644"/>
              <a:gd name="connsiteY61" fmla="*/ 516293 h 662520"/>
              <a:gd name="connsiteX62" fmla="*/ 596087 w 2202644"/>
              <a:gd name="connsiteY62" fmla="*/ 516293 h 662520"/>
              <a:gd name="connsiteX63" fmla="*/ 612203 w 2202644"/>
              <a:gd name="connsiteY63" fmla="*/ 539439 h 662520"/>
              <a:gd name="connsiteX64" fmla="*/ 635627 w 2202644"/>
              <a:gd name="connsiteY64" fmla="*/ 559242 h 662520"/>
              <a:gd name="connsiteX65" fmla="*/ 666972 w 2202644"/>
              <a:gd name="connsiteY65" fmla="*/ 573062 h 662520"/>
              <a:gd name="connsiteX66" fmla="*/ 706856 w 2202644"/>
              <a:gd name="connsiteY66" fmla="*/ 578256 h 662520"/>
              <a:gd name="connsiteX67" fmla="*/ 749359 w 2202644"/>
              <a:gd name="connsiteY67" fmla="*/ 571758 h 662520"/>
              <a:gd name="connsiteX68" fmla="*/ 784298 w 2202644"/>
              <a:gd name="connsiteY68" fmla="*/ 552322 h 662520"/>
              <a:gd name="connsiteX69" fmla="*/ 807972 w 2202644"/>
              <a:gd name="connsiteY69" fmla="*/ 520038 h 662520"/>
              <a:gd name="connsiteX70" fmla="*/ 816686 w 2202644"/>
              <a:gd name="connsiteY70" fmla="*/ 474992 h 662520"/>
              <a:gd name="connsiteX71" fmla="*/ 809424 w 2202644"/>
              <a:gd name="connsiteY71" fmla="*/ 430240 h 662520"/>
              <a:gd name="connsiteX72" fmla="*/ 787466 w 2202644"/>
              <a:gd name="connsiteY72" fmla="*/ 398602 h 662520"/>
              <a:gd name="connsiteX73" fmla="*/ 750549 w 2202644"/>
              <a:gd name="connsiteY73" fmla="*/ 379812 h 662520"/>
              <a:gd name="connsiteX74" fmla="*/ 698411 w 2202644"/>
              <a:gd name="connsiteY74" fmla="*/ 373608 h 662520"/>
              <a:gd name="connsiteX75" fmla="*/ 649592 w 2202644"/>
              <a:gd name="connsiteY75" fmla="*/ 373608 h 662520"/>
              <a:gd name="connsiteX76" fmla="*/ 649592 w 2202644"/>
              <a:gd name="connsiteY76" fmla="*/ 286308 h 662520"/>
              <a:gd name="connsiteX77" fmla="*/ 690892 w 2202644"/>
              <a:gd name="connsiteY77" fmla="*/ 286308 h 662520"/>
              <a:gd name="connsiteX78" fmla="*/ 744563 w 2202644"/>
              <a:gd name="connsiteY78" fmla="*/ 280133 h 662520"/>
              <a:gd name="connsiteX79" fmla="*/ 783007 w 2202644"/>
              <a:gd name="connsiteY79" fmla="*/ 261550 h 662520"/>
              <a:gd name="connsiteX80" fmla="*/ 806137 w 2202644"/>
              <a:gd name="connsiteY80" fmla="*/ 230469 h 662520"/>
              <a:gd name="connsiteX81" fmla="*/ 813866 w 2202644"/>
              <a:gd name="connsiteY81" fmla="*/ 186804 h 662520"/>
              <a:gd name="connsiteX82" fmla="*/ 808513 w 2202644"/>
              <a:gd name="connsiteY82" fmla="*/ 149115 h 662520"/>
              <a:gd name="connsiteX83" fmla="*/ 792160 w 2202644"/>
              <a:gd name="connsiteY83" fmla="*/ 121104 h 662520"/>
              <a:gd name="connsiteX84" fmla="*/ 764365 w 2202644"/>
              <a:gd name="connsiteY84" fmla="*/ 103651 h 662520"/>
              <a:gd name="connsiteX85" fmla="*/ 724687 w 2202644"/>
              <a:gd name="connsiteY85" fmla="*/ 97637 h 662520"/>
              <a:gd name="connsiteX86" fmla="*/ 687243 w 2202644"/>
              <a:gd name="connsiteY86" fmla="*/ 102374 h 662520"/>
              <a:gd name="connsiteX87" fmla="*/ 657456 w 2202644"/>
              <a:gd name="connsiteY87" fmla="*/ 115117 h 662520"/>
              <a:gd name="connsiteX88" fmla="*/ 634533 w 2202644"/>
              <a:gd name="connsiteY88" fmla="*/ 133668 h 662520"/>
              <a:gd name="connsiteX89" fmla="*/ 617677 w 2202644"/>
              <a:gd name="connsiteY89" fmla="*/ 155828 h 662520"/>
              <a:gd name="connsiteX90" fmla="*/ 539775 w 2202644"/>
              <a:gd name="connsiteY90" fmla="*/ 155828 h 662520"/>
              <a:gd name="connsiteX91" fmla="*/ 539775 w 2202644"/>
              <a:gd name="connsiteY91" fmla="*/ 33807 h 662520"/>
              <a:gd name="connsiteX92" fmla="*/ 584006 w 2202644"/>
              <a:gd name="connsiteY92" fmla="*/ 19813 h 662520"/>
              <a:gd name="connsiteX93" fmla="*/ 631056 w 2202644"/>
              <a:gd name="connsiteY93" fmla="*/ 9159 h 662520"/>
              <a:gd name="connsiteX94" fmla="*/ 681278 w 2202644"/>
              <a:gd name="connsiteY94" fmla="*/ 2378 h 662520"/>
              <a:gd name="connsiteX95" fmla="*/ 735025 w 2202644"/>
              <a:gd name="connsiteY95" fmla="*/ 0 h 662520"/>
              <a:gd name="connsiteX96" fmla="*/ 790395 w 2202644"/>
              <a:gd name="connsiteY96" fmla="*/ 3158 h 662520"/>
              <a:gd name="connsiteX97" fmla="*/ 838689 w 2202644"/>
              <a:gd name="connsiteY97" fmla="*/ 12853 h 662520"/>
              <a:gd name="connsiteX98" fmla="*/ 879380 w 2202644"/>
              <a:gd name="connsiteY98" fmla="*/ 29412 h 662520"/>
              <a:gd name="connsiteX99" fmla="*/ 911943 w 2202644"/>
              <a:gd name="connsiteY99" fmla="*/ 53163 h 662520"/>
              <a:gd name="connsiteX100" fmla="*/ 935853 w 2202644"/>
              <a:gd name="connsiteY100" fmla="*/ 84435 h 662520"/>
              <a:gd name="connsiteX101" fmla="*/ 950584 w 2202644"/>
              <a:gd name="connsiteY101" fmla="*/ 123555 h 662520"/>
              <a:gd name="connsiteX102" fmla="*/ 955611 w 2202644"/>
              <a:gd name="connsiteY102" fmla="*/ 170853 h 662520"/>
              <a:gd name="connsiteX103" fmla="*/ 949453 w 2202644"/>
              <a:gd name="connsiteY103" fmla="*/ 219568 h 662520"/>
              <a:gd name="connsiteX104" fmla="*/ 931581 w 2202644"/>
              <a:gd name="connsiteY104" fmla="*/ 258234 h 662520"/>
              <a:gd name="connsiteX105" fmla="*/ 902895 w 2202644"/>
              <a:gd name="connsiteY105" fmla="*/ 287843 h 662520"/>
              <a:gd name="connsiteX106" fmla="*/ 864296 w 2202644"/>
              <a:gd name="connsiteY106" fmla="*/ 309388 h 662520"/>
              <a:gd name="connsiteX107" fmla="*/ 816686 w 2202644"/>
              <a:gd name="connsiteY107" fmla="*/ 323862 h 662520"/>
              <a:gd name="connsiteX108" fmla="*/ 816686 w 2202644"/>
              <a:gd name="connsiteY108" fmla="*/ 327609 h 662520"/>
              <a:gd name="connsiteX109" fmla="*/ 870681 w 2202644"/>
              <a:gd name="connsiteY109" fmla="*/ 340566 h 662520"/>
              <a:gd name="connsiteX110" fmla="*/ 912283 w 2202644"/>
              <a:gd name="connsiteY110" fmla="*/ 362534 h 662520"/>
              <a:gd name="connsiteX111" fmla="*/ 941719 w 2202644"/>
              <a:gd name="connsiteY111" fmla="*/ 393513 h 662520"/>
              <a:gd name="connsiteX112" fmla="*/ 959215 w 2202644"/>
              <a:gd name="connsiteY112" fmla="*/ 433502 h 662520"/>
              <a:gd name="connsiteX113" fmla="*/ 964996 w 2202644"/>
              <a:gd name="connsiteY113" fmla="*/ 482498 h 662520"/>
              <a:gd name="connsiteX114" fmla="*/ 959936 w 2202644"/>
              <a:gd name="connsiteY114" fmla="*/ 527743 h 662520"/>
              <a:gd name="connsiteX115" fmla="*/ 944659 w 2202644"/>
              <a:gd name="connsiteY115" fmla="*/ 567021 h 662520"/>
              <a:gd name="connsiteX116" fmla="*/ 920122 w 2202644"/>
              <a:gd name="connsiteY116" fmla="*/ 600232 h 662520"/>
              <a:gd name="connsiteX117" fmla="*/ 887285 w 2202644"/>
              <a:gd name="connsiteY117" fmla="*/ 627278 h 662520"/>
              <a:gd name="connsiteX118" fmla="*/ 847106 w 2202644"/>
              <a:gd name="connsiteY118" fmla="*/ 648061 h 662520"/>
              <a:gd name="connsiteX119" fmla="*/ 800544 w 2202644"/>
              <a:gd name="connsiteY119" fmla="*/ 662482 h 662520"/>
              <a:gd name="connsiteX120" fmla="*/ 1360843 w 2202644"/>
              <a:gd name="connsiteY120" fmla="*/ 662495 h 662520"/>
              <a:gd name="connsiteX121" fmla="*/ 1322871 w 2202644"/>
              <a:gd name="connsiteY121" fmla="*/ 649352 h 662520"/>
              <a:gd name="connsiteX122" fmla="*/ 1287296 w 2202644"/>
              <a:gd name="connsiteY122" fmla="*/ 630560 h 662520"/>
              <a:gd name="connsiteX123" fmla="*/ 1254670 w 2202644"/>
              <a:gd name="connsiteY123" fmla="*/ 606062 h 662520"/>
              <a:gd name="connsiteX124" fmla="*/ 1225546 w 2202644"/>
              <a:gd name="connsiteY124" fmla="*/ 575802 h 662520"/>
              <a:gd name="connsiteX125" fmla="*/ 1200477 w 2202644"/>
              <a:gd name="connsiteY125" fmla="*/ 539722 h 662520"/>
              <a:gd name="connsiteX126" fmla="*/ 1180016 w 2202644"/>
              <a:gd name="connsiteY126" fmla="*/ 497766 h 662520"/>
              <a:gd name="connsiteX127" fmla="*/ 1164717 w 2202644"/>
              <a:gd name="connsiteY127" fmla="*/ 449876 h 662520"/>
              <a:gd name="connsiteX128" fmla="*/ 1155131 w 2202644"/>
              <a:gd name="connsiteY128" fmla="*/ 395995 h 662520"/>
              <a:gd name="connsiteX129" fmla="*/ 1151813 w 2202644"/>
              <a:gd name="connsiteY129" fmla="*/ 336067 h 662520"/>
              <a:gd name="connsiteX130" fmla="*/ 1155053 w 2202644"/>
              <a:gd name="connsiteY130" fmla="*/ 276826 h 662520"/>
              <a:gd name="connsiteX131" fmla="*/ 1164415 w 2202644"/>
              <a:gd name="connsiteY131" fmla="*/ 223488 h 662520"/>
              <a:gd name="connsiteX132" fmla="*/ 1179368 w 2202644"/>
              <a:gd name="connsiteY132" fmla="*/ 175997 h 662520"/>
              <a:gd name="connsiteX133" fmla="*/ 1199377 w 2202644"/>
              <a:gd name="connsiteY133" fmla="*/ 134299 h 662520"/>
              <a:gd name="connsiteX134" fmla="*/ 1223910 w 2202644"/>
              <a:gd name="connsiteY134" fmla="*/ 98339 h 662520"/>
              <a:gd name="connsiteX135" fmla="*/ 1252434 w 2202644"/>
              <a:gd name="connsiteY135" fmla="*/ 68062 h 662520"/>
              <a:gd name="connsiteX136" fmla="*/ 1284414 w 2202644"/>
              <a:gd name="connsiteY136" fmla="*/ 43413 h 662520"/>
              <a:gd name="connsiteX137" fmla="*/ 1319318 w 2202644"/>
              <a:gd name="connsiteY137" fmla="*/ 24337 h 662520"/>
              <a:gd name="connsiteX138" fmla="*/ 1356613 w 2202644"/>
              <a:gd name="connsiteY138" fmla="*/ 10780 h 662520"/>
              <a:gd name="connsiteX139" fmla="*/ 1395766 w 2202644"/>
              <a:gd name="connsiteY139" fmla="*/ 2685 h 662520"/>
              <a:gd name="connsiteX140" fmla="*/ 1436243 w 2202644"/>
              <a:gd name="connsiteY140" fmla="*/ 0 h 662520"/>
              <a:gd name="connsiteX141" fmla="*/ 1476722 w 2202644"/>
              <a:gd name="connsiteY141" fmla="*/ 2685 h 662520"/>
              <a:gd name="connsiteX142" fmla="*/ 1515876 w 2202644"/>
              <a:gd name="connsiteY142" fmla="*/ 10780 h 662520"/>
              <a:gd name="connsiteX143" fmla="*/ 1553172 w 2202644"/>
              <a:gd name="connsiteY143" fmla="*/ 24337 h 662520"/>
              <a:gd name="connsiteX144" fmla="*/ 1588076 w 2202644"/>
              <a:gd name="connsiteY144" fmla="*/ 43413 h 662520"/>
              <a:gd name="connsiteX145" fmla="*/ 1620056 w 2202644"/>
              <a:gd name="connsiteY145" fmla="*/ 68062 h 662520"/>
              <a:gd name="connsiteX146" fmla="*/ 1648579 w 2202644"/>
              <a:gd name="connsiteY146" fmla="*/ 98339 h 662520"/>
              <a:gd name="connsiteX147" fmla="*/ 1673111 w 2202644"/>
              <a:gd name="connsiteY147" fmla="*/ 134299 h 662520"/>
              <a:gd name="connsiteX148" fmla="*/ 1693119 w 2202644"/>
              <a:gd name="connsiteY148" fmla="*/ 175997 h 662520"/>
              <a:gd name="connsiteX149" fmla="*/ 1708071 w 2202644"/>
              <a:gd name="connsiteY149" fmla="*/ 223488 h 662520"/>
              <a:gd name="connsiteX150" fmla="*/ 1717433 w 2202644"/>
              <a:gd name="connsiteY150" fmla="*/ 276826 h 662520"/>
              <a:gd name="connsiteX151" fmla="*/ 1720672 w 2202644"/>
              <a:gd name="connsiteY151" fmla="*/ 336067 h 662520"/>
              <a:gd name="connsiteX152" fmla="*/ 1717354 w 2202644"/>
              <a:gd name="connsiteY152" fmla="*/ 395995 h 662520"/>
              <a:gd name="connsiteX153" fmla="*/ 1707768 w 2202644"/>
              <a:gd name="connsiteY153" fmla="*/ 449876 h 662520"/>
              <a:gd name="connsiteX154" fmla="*/ 1692469 w 2202644"/>
              <a:gd name="connsiteY154" fmla="*/ 497766 h 662520"/>
              <a:gd name="connsiteX155" fmla="*/ 1672008 w 2202644"/>
              <a:gd name="connsiteY155" fmla="*/ 539722 h 662520"/>
              <a:gd name="connsiteX156" fmla="*/ 1646939 w 2202644"/>
              <a:gd name="connsiteY156" fmla="*/ 575802 h 662520"/>
              <a:gd name="connsiteX157" fmla="*/ 1617815 w 2202644"/>
              <a:gd name="connsiteY157" fmla="*/ 606062 h 662520"/>
              <a:gd name="connsiteX158" fmla="*/ 1585189 w 2202644"/>
              <a:gd name="connsiteY158" fmla="*/ 630560 h 662520"/>
              <a:gd name="connsiteX159" fmla="*/ 1549614 w 2202644"/>
              <a:gd name="connsiteY159" fmla="*/ 649352 h 662520"/>
              <a:gd name="connsiteX160" fmla="*/ 1511642 w 2202644"/>
              <a:gd name="connsiteY160" fmla="*/ 662495 h 662520"/>
              <a:gd name="connsiteX161" fmla="*/ 1943430 w 2202644"/>
              <a:gd name="connsiteY161" fmla="*/ 662495 h 662520"/>
              <a:gd name="connsiteX162" fmla="*/ 1905459 w 2202644"/>
              <a:gd name="connsiteY162" fmla="*/ 649348 h 662520"/>
              <a:gd name="connsiteX163" fmla="*/ 1869885 w 2202644"/>
              <a:gd name="connsiteY163" fmla="*/ 630555 h 662520"/>
              <a:gd name="connsiteX164" fmla="*/ 1837261 w 2202644"/>
              <a:gd name="connsiteY164" fmla="*/ 606057 h 662520"/>
              <a:gd name="connsiteX165" fmla="*/ 1808138 w 2202644"/>
              <a:gd name="connsiteY165" fmla="*/ 575797 h 662520"/>
              <a:gd name="connsiteX166" fmla="*/ 1783072 w 2202644"/>
              <a:gd name="connsiteY166" fmla="*/ 539718 h 662520"/>
              <a:gd name="connsiteX167" fmla="*/ 1762613 w 2202644"/>
              <a:gd name="connsiteY167" fmla="*/ 497763 h 662520"/>
              <a:gd name="connsiteX168" fmla="*/ 1747315 w 2202644"/>
              <a:gd name="connsiteY168" fmla="*/ 449874 h 662520"/>
              <a:gd name="connsiteX169" fmla="*/ 1737731 w 2202644"/>
              <a:gd name="connsiteY169" fmla="*/ 395995 h 662520"/>
              <a:gd name="connsiteX170" fmla="*/ 1734413 w 2202644"/>
              <a:gd name="connsiteY170" fmla="*/ 336067 h 662520"/>
              <a:gd name="connsiteX171" fmla="*/ 1737652 w 2202644"/>
              <a:gd name="connsiteY171" fmla="*/ 276826 h 662520"/>
              <a:gd name="connsiteX172" fmla="*/ 1747014 w 2202644"/>
              <a:gd name="connsiteY172" fmla="*/ 223488 h 662520"/>
              <a:gd name="connsiteX173" fmla="*/ 1761965 w 2202644"/>
              <a:gd name="connsiteY173" fmla="*/ 175997 h 662520"/>
              <a:gd name="connsiteX174" fmla="*/ 1781973 w 2202644"/>
              <a:gd name="connsiteY174" fmla="*/ 134299 h 662520"/>
              <a:gd name="connsiteX175" fmla="*/ 1806505 w 2202644"/>
              <a:gd name="connsiteY175" fmla="*/ 98339 h 662520"/>
              <a:gd name="connsiteX176" fmla="*/ 1835026 w 2202644"/>
              <a:gd name="connsiteY176" fmla="*/ 68062 h 662520"/>
              <a:gd name="connsiteX177" fmla="*/ 1867005 w 2202644"/>
              <a:gd name="connsiteY177" fmla="*/ 43413 h 662520"/>
              <a:gd name="connsiteX178" fmla="*/ 1901908 w 2202644"/>
              <a:gd name="connsiteY178" fmla="*/ 24337 h 662520"/>
              <a:gd name="connsiteX179" fmla="*/ 1939202 w 2202644"/>
              <a:gd name="connsiteY179" fmla="*/ 10780 h 662520"/>
              <a:gd name="connsiteX180" fmla="*/ 1978353 w 2202644"/>
              <a:gd name="connsiteY180" fmla="*/ 2685 h 662520"/>
              <a:gd name="connsiteX181" fmla="*/ 2018830 w 2202644"/>
              <a:gd name="connsiteY181" fmla="*/ 0 h 662520"/>
              <a:gd name="connsiteX182" fmla="*/ 2059309 w 2202644"/>
              <a:gd name="connsiteY182" fmla="*/ 2685 h 662520"/>
              <a:gd name="connsiteX183" fmla="*/ 2098463 w 2202644"/>
              <a:gd name="connsiteY183" fmla="*/ 10780 h 662520"/>
              <a:gd name="connsiteX184" fmla="*/ 2135759 w 2202644"/>
              <a:gd name="connsiteY184" fmla="*/ 24337 h 662520"/>
              <a:gd name="connsiteX185" fmla="*/ 2170664 w 2202644"/>
              <a:gd name="connsiteY185" fmla="*/ 43413 h 662520"/>
              <a:gd name="connsiteX186" fmla="*/ 2202644 w 2202644"/>
              <a:gd name="connsiteY186" fmla="*/ 68062 h 662520"/>
              <a:gd name="connsiteX0" fmla="*/ 74231 w 2170664"/>
              <a:gd name="connsiteY0" fmla="*/ 662482 h 662520"/>
              <a:gd name="connsiteX1" fmla="*/ 60344 w 2170664"/>
              <a:gd name="connsiteY1" fmla="*/ 659582 h 662520"/>
              <a:gd name="connsiteX2" fmla="*/ 47517 w 2170664"/>
              <a:gd name="connsiteY2" fmla="*/ 656437 h 662520"/>
              <a:gd name="connsiteX3" fmla="*/ 35823 w 2170664"/>
              <a:gd name="connsiteY3" fmla="*/ 653092 h 662520"/>
              <a:gd name="connsiteX4" fmla="*/ 25336 w 2170664"/>
              <a:gd name="connsiteY4" fmla="*/ 649592 h 662520"/>
              <a:gd name="connsiteX5" fmla="*/ 25336 w 2170664"/>
              <a:gd name="connsiteY5" fmla="*/ 533196 h 662520"/>
              <a:gd name="connsiteX6" fmla="*/ 104190 w 2170664"/>
              <a:gd name="connsiteY6" fmla="*/ 533196 h 662520"/>
              <a:gd name="connsiteX7" fmla="*/ 116931 w 2170664"/>
              <a:gd name="connsiteY7" fmla="*/ 550133 h 662520"/>
              <a:gd name="connsiteX8" fmla="*/ 135043 w 2170664"/>
              <a:gd name="connsiteY8" fmla="*/ 564522 h 662520"/>
              <a:gd name="connsiteX9" fmla="*/ 160020 w 2170664"/>
              <a:gd name="connsiteY9" fmla="*/ 574514 h 662520"/>
              <a:gd name="connsiteX10" fmla="*/ 193357 w 2170664"/>
              <a:gd name="connsiteY10" fmla="*/ 578256 h 662520"/>
              <a:gd name="connsiteX11" fmla="*/ 233829 w 2170664"/>
              <a:gd name="connsiteY11" fmla="*/ 573672 h 662520"/>
              <a:gd name="connsiteX12" fmla="*/ 297105 w 2170664"/>
              <a:gd name="connsiteY12" fmla="*/ 537246 h 662520"/>
              <a:gd name="connsiteX13" fmla="*/ 320040 w 2170664"/>
              <a:gd name="connsiteY13" fmla="*/ 505568 h 662520"/>
              <a:gd name="connsiteX14" fmla="*/ 337261 w 2170664"/>
              <a:gd name="connsiteY14" fmla="*/ 465022 h 662520"/>
              <a:gd name="connsiteX15" fmla="*/ 348834 w 2170664"/>
              <a:gd name="connsiteY15" fmla="*/ 415691 h 662520"/>
              <a:gd name="connsiteX16" fmla="*/ 354825 w 2170664"/>
              <a:gd name="connsiteY16" fmla="*/ 357657 h 662520"/>
              <a:gd name="connsiteX17" fmla="*/ 325357 w 2170664"/>
              <a:gd name="connsiteY17" fmla="*/ 385098 h 662520"/>
              <a:gd name="connsiteX18" fmla="*/ 289466 w 2170664"/>
              <a:gd name="connsiteY18" fmla="*/ 406117 h 662520"/>
              <a:gd name="connsiteX19" fmla="*/ 247767 w 2170664"/>
              <a:gd name="connsiteY19" fmla="*/ 419568 h 662520"/>
              <a:gd name="connsiteX20" fmla="*/ 200875 w 2170664"/>
              <a:gd name="connsiteY20" fmla="*/ 424306 h 662520"/>
              <a:gd name="connsiteX21" fmla="*/ 153099 w 2170664"/>
              <a:gd name="connsiteY21" fmla="*/ 420031 h 662520"/>
              <a:gd name="connsiteX22" fmla="*/ 110150 w 2170664"/>
              <a:gd name="connsiteY22" fmla="*/ 407348 h 662520"/>
              <a:gd name="connsiteX23" fmla="*/ 72948 w 2170664"/>
              <a:gd name="connsiteY23" fmla="*/ 386472 h 662520"/>
              <a:gd name="connsiteX24" fmla="*/ 42412 w 2170664"/>
              <a:gd name="connsiteY24" fmla="*/ 357614 h 662520"/>
              <a:gd name="connsiteX25" fmla="*/ 19463 w 2170664"/>
              <a:gd name="connsiteY25" fmla="*/ 320990 h 662520"/>
              <a:gd name="connsiteX26" fmla="*/ 5019 w 2170664"/>
              <a:gd name="connsiteY26" fmla="*/ 276814 h 662520"/>
              <a:gd name="connsiteX27" fmla="*/ 0 w 2170664"/>
              <a:gd name="connsiteY27" fmla="*/ 225297 h 662520"/>
              <a:gd name="connsiteX28" fmla="*/ 4447 w 2170664"/>
              <a:gd name="connsiteY28" fmla="*/ 178425 h 662520"/>
              <a:gd name="connsiteX29" fmla="*/ 17453 w 2170664"/>
              <a:gd name="connsiteY29" fmla="*/ 135445 h 662520"/>
              <a:gd name="connsiteX30" fmla="*/ 38511 w 2170664"/>
              <a:gd name="connsiteY30" fmla="*/ 97085 h 662520"/>
              <a:gd name="connsiteX31" fmla="*/ 67116 w 2170664"/>
              <a:gd name="connsiteY31" fmla="*/ 64071 h 662520"/>
              <a:gd name="connsiteX32" fmla="*/ 102760 w 2170664"/>
              <a:gd name="connsiteY32" fmla="*/ 37129 h 662520"/>
              <a:gd name="connsiteX33" fmla="*/ 144939 w 2170664"/>
              <a:gd name="connsiteY33" fmla="*/ 16986 h 662520"/>
              <a:gd name="connsiteX34" fmla="*/ 193146 w 2170664"/>
              <a:gd name="connsiteY34" fmla="*/ 4367 h 662520"/>
              <a:gd name="connsiteX35" fmla="*/ 246875 w 2170664"/>
              <a:gd name="connsiteY35" fmla="*/ 0 h 662520"/>
              <a:gd name="connsiteX36" fmla="*/ 290625 w 2170664"/>
              <a:gd name="connsiteY36" fmla="*/ 2882 h 662520"/>
              <a:gd name="connsiteX37" fmla="*/ 331492 w 2170664"/>
              <a:gd name="connsiteY37" fmla="*/ 11678 h 662520"/>
              <a:gd name="connsiteX38" fmla="*/ 369070 w 2170664"/>
              <a:gd name="connsiteY38" fmla="*/ 26614 h 662520"/>
              <a:gd name="connsiteX39" fmla="*/ 402953 w 2170664"/>
              <a:gd name="connsiteY39" fmla="*/ 47914 h 662520"/>
              <a:gd name="connsiteX40" fmla="*/ 432736 w 2170664"/>
              <a:gd name="connsiteY40" fmla="*/ 75804 h 662520"/>
              <a:gd name="connsiteX41" fmla="*/ 458013 w 2170664"/>
              <a:gd name="connsiteY41" fmla="*/ 110509 h 662520"/>
              <a:gd name="connsiteX42" fmla="*/ 478379 w 2170664"/>
              <a:gd name="connsiteY42" fmla="*/ 152255 h 662520"/>
              <a:gd name="connsiteX43" fmla="*/ 493429 w 2170664"/>
              <a:gd name="connsiteY43" fmla="*/ 201265 h 662520"/>
              <a:gd name="connsiteX44" fmla="*/ 502756 w 2170664"/>
              <a:gd name="connsiteY44" fmla="*/ 257766 h 662520"/>
              <a:gd name="connsiteX45" fmla="*/ 505955 w 2170664"/>
              <a:gd name="connsiteY45" fmla="*/ 321983 h 662520"/>
              <a:gd name="connsiteX46" fmla="*/ 503406 w 2170664"/>
              <a:gd name="connsiteY46" fmla="*/ 376707 h 662520"/>
              <a:gd name="connsiteX47" fmla="*/ 495858 w 2170664"/>
              <a:gd name="connsiteY47" fmla="*/ 427041 h 662520"/>
              <a:gd name="connsiteX48" fmla="*/ 483456 w 2170664"/>
              <a:gd name="connsiteY48" fmla="*/ 472909 h 662520"/>
              <a:gd name="connsiteX49" fmla="*/ 466346 w 2170664"/>
              <a:gd name="connsiteY49" fmla="*/ 514232 h 662520"/>
              <a:gd name="connsiteX50" fmla="*/ 444674 w 2170664"/>
              <a:gd name="connsiteY50" fmla="*/ 550937 h 662520"/>
              <a:gd name="connsiteX51" fmla="*/ 418587 w 2170664"/>
              <a:gd name="connsiteY51" fmla="*/ 582945 h 662520"/>
              <a:gd name="connsiteX52" fmla="*/ 388229 w 2170664"/>
              <a:gd name="connsiteY52" fmla="*/ 610181 h 662520"/>
              <a:gd name="connsiteX53" fmla="*/ 353748 w 2170664"/>
              <a:gd name="connsiteY53" fmla="*/ 632569 h 662520"/>
              <a:gd name="connsiteX54" fmla="*/ 315289 w 2170664"/>
              <a:gd name="connsiteY54" fmla="*/ 650033 h 662520"/>
              <a:gd name="connsiteX55" fmla="*/ 272999 w 2170664"/>
              <a:gd name="connsiteY55" fmla="*/ 662495 h 662520"/>
              <a:gd name="connsiteX56" fmla="*/ 592162 w 2170664"/>
              <a:gd name="connsiteY56" fmla="*/ 662520 h 662520"/>
              <a:gd name="connsiteX57" fmla="*/ 571167 w 2170664"/>
              <a:gd name="connsiteY57" fmla="*/ 658030 h 662520"/>
              <a:gd name="connsiteX58" fmla="*/ 551373 w 2170664"/>
              <a:gd name="connsiteY58" fmla="*/ 652783 h 662520"/>
              <a:gd name="connsiteX59" fmla="*/ 532537 w 2170664"/>
              <a:gd name="connsiteY59" fmla="*/ 646826 h 662520"/>
              <a:gd name="connsiteX60" fmla="*/ 514413 w 2170664"/>
              <a:gd name="connsiteY60" fmla="*/ 640206 h 662520"/>
              <a:gd name="connsiteX61" fmla="*/ 514413 w 2170664"/>
              <a:gd name="connsiteY61" fmla="*/ 516293 h 662520"/>
              <a:gd name="connsiteX62" fmla="*/ 596087 w 2170664"/>
              <a:gd name="connsiteY62" fmla="*/ 516293 h 662520"/>
              <a:gd name="connsiteX63" fmla="*/ 612203 w 2170664"/>
              <a:gd name="connsiteY63" fmla="*/ 539439 h 662520"/>
              <a:gd name="connsiteX64" fmla="*/ 635627 w 2170664"/>
              <a:gd name="connsiteY64" fmla="*/ 559242 h 662520"/>
              <a:gd name="connsiteX65" fmla="*/ 666972 w 2170664"/>
              <a:gd name="connsiteY65" fmla="*/ 573062 h 662520"/>
              <a:gd name="connsiteX66" fmla="*/ 706856 w 2170664"/>
              <a:gd name="connsiteY66" fmla="*/ 578256 h 662520"/>
              <a:gd name="connsiteX67" fmla="*/ 749359 w 2170664"/>
              <a:gd name="connsiteY67" fmla="*/ 571758 h 662520"/>
              <a:gd name="connsiteX68" fmla="*/ 784298 w 2170664"/>
              <a:gd name="connsiteY68" fmla="*/ 552322 h 662520"/>
              <a:gd name="connsiteX69" fmla="*/ 807972 w 2170664"/>
              <a:gd name="connsiteY69" fmla="*/ 520038 h 662520"/>
              <a:gd name="connsiteX70" fmla="*/ 816686 w 2170664"/>
              <a:gd name="connsiteY70" fmla="*/ 474992 h 662520"/>
              <a:gd name="connsiteX71" fmla="*/ 809424 w 2170664"/>
              <a:gd name="connsiteY71" fmla="*/ 430240 h 662520"/>
              <a:gd name="connsiteX72" fmla="*/ 787466 w 2170664"/>
              <a:gd name="connsiteY72" fmla="*/ 398602 h 662520"/>
              <a:gd name="connsiteX73" fmla="*/ 750549 w 2170664"/>
              <a:gd name="connsiteY73" fmla="*/ 379812 h 662520"/>
              <a:gd name="connsiteX74" fmla="*/ 698411 w 2170664"/>
              <a:gd name="connsiteY74" fmla="*/ 373608 h 662520"/>
              <a:gd name="connsiteX75" fmla="*/ 649592 w 2170664"/>
              <a:gd name="connsiteY75" fmla="*/ 373608 h 662520"/>
              <a:gd name="connsiteX76" fmla="*/ 649592 w 2170664"/>
              <a:gd name="connsiteY76" fmla="*/ 286308 h 662520"/>
              <a:gd name="connsiteX77" fmla="*/ 690892 w 2170664"/>
              <a:gd name="connsiteY77" fmla="*/ 286308 h 662520"/>
              <a:gd name="connsiteX78" fmla="*/ 744563 w 2170664"/>
              <a:gd name="connsiteY78" fmla="*/ 280133 h 662520"/>
              <a:gd name="connsiteX79" fmla="*/ 783007 w 2170664"/>
              <a:gd name="connsiteY79" fmla="*/ 261550 h 662520"/>
              <a:gd name="connsiteX80" fmla="*/ 806137 w 2170664"/>
              <a:gd name="connsiteY80" fmla="*/ 230469 h 662520"/>
              <a:gd name="connsiteX81" fmla="*/ 813866 w 2170664"/>
              <a:gd name="connsiteY81" fmla="*/ 186804 h 662520"/>
              <a:gd name="connsiteX82" fmla="*/ 808513 w 2170664"/>
              <a:gd name="connsiteY82" fmla="*/ 149115 h 662520"/>
              <a:gd name="connsiteX83" fmla="*/ 792160 w 2170664"/>
              <a:gd name="connsiteY83" fmla="*/ 121104 h 662520"/>
              <a:gd name="connsiteX84" fmla="*/ 764365 w 2170664"/>
              <a:gd name="connsiteY84" fmla="*/ 103651 h 662520"/>
              <a:gd name="connsiteX85" fmla="*/ 724687 w 2170664"/>
              <a:gd name="connsiteY85" fmla="*/ 97637 h 662520"/>
              <a:gd name="connsiteX86" fmla="*/ 687243 w 2170664"/>
              <a:gd name="connsiteY86" fmla="*/ 102374 h 662520"/>
              <a:gd name="connsiteX87" fmla="*/ 657456 w 2170664"/>
              <a:gd name="connsiteY87" fmla="*/ 115117 h 662520"/>
              <a:gd name="connsiteX88" fmla="*/ 634533 w 2170664"/>
              <a:gd name="connsiteY88" fmla="*/ 133668 h 662520"/>
              <a:gd name="connsiteX89" fmla="*/ 617677 w 2170664"/>
              <a:gd name="connsiteY89" fmla="*/ 155828 h 662520"/>
              <a:gd name="connsiteX90" fmla="*/ 539775 w 2170664"/>
              <a:gd name="connsiteY90" fmla="*/ 155828 h 662520"/>
              <a:gd name="connsiteX91" fmla="*/ 539775 w 2170664"/>
              <a:gd name="connsiteY91" fmla="*/ 33807 h 662520"/>
              <a:gd name="connsiteX92" fmla="*/ 584006 w 2170664"/>
              <a:gd name="connsiteY92" fmla="*/ 19813 h 662520"/>
              <a:gd name="connsiteX93" fmla="*/ 631056 w 2170664"/>
              <a:gd name="connsiteY93" fmla="*/ 9159 h 662520"/>
              <a:gd name="connsiteX94" fmla="*/ 681278 w 2170664"/>
              <a:gd name="connsiteY94" fmla="*/ 2378 h 662520"/>
              <a:gd name="connsiteX95" fmla="*/ 735025 w 2170664"/>
              <a:gd name="connsiteY95" fmla="*/ 0 h 662520"/>
              <a:gd name="connsiteX96" fmla="*/ 790395 w 2170664"/>
              <a:gd name="connsiteY96" fmla="*/ 3158 h 662520"/>
              <a:gd name="connsiteX97" fmla="*/ 838689 w 2170664"/>
              <a:gd name="connsiteY97" fmla="*/ 12853 h 662520"/>
              <a:gd name="connsiteX98" fmla="*/ 879380 w 2170664"/>
              <a:gd name="connsiteY98" fmla="*/ 29412 h 662520"/>
              <a:gd name="connsiteX99" fmla="*/ 911943 w 2170664"/>
              <a:gd name="connsiteY99" fmla="*/ 53163 h 662520"/>
              <a:gd name="connsiteX100" fmla="*/ 935853 w 2170664"/>
              <a:gd name="connsiteY100" fmla="*/ 84435 h 662520"/>
              <a:gd name="connsiteX101" fmla="*/ 950584 w 2170664"/>
              <a:gd name="connsiteY101" fmla="*/ 123555 h 662520"/>
              <a:gd name="connsiteX102" fmla="*/ 955611 w 2170664"/>
              <a:gd name="connsiteY102" fmla="*/ 170853 h 662520"/>
              <a:gd name="connsiteX103" fmla="*/ 949453 w 2170664"/>
              <a:gd name="connsiteY103" fmla="*/ 219568 h 662520"/>
              <a:gd name="connsiteX104" fmla="*/ 931581 w 2170664"/>
              <a:gd name="connsiteY104" fmla="*/ 258234 h 662520"/>
              <a:gd name="connsiteX105" fmla="*/ 902895 w 2170664"/>
              <a:gd name="connsiteY105" fmla="*/ 287843 h 662520"/>
              <a:gd name="connsiteX106" fmla="*/ 864296 w 2170664"/>
              <a:gd name="connsiteY106" fmla="*/ 309388 h 662520"/>
              <a:gd name="connsiteX107" fmla="*/ 816686 w 2170664"/>
              <a:gd name="connsiteY107" fmla="*/ 323862 h 662520"/>
              <a:gd name="connsiteX108" fmla="*/ 816686 w 2170664"/>
              <a:gd name="connsiteY108" fmla="*/ 327609 h 662520"/>
              <a:gd name="connsiteX109" fmla="*/ 870681 w 2170664"/>
              <a:gd name="connsiteY109" fmla="*/ 340566 h 662520"/>
              <a:gd name="connsiteX110" fmla="*/ 912283 w 2170664"/>
              <a:gd name="connsiteY110" fmla="*/ 362534 h 662520"/>
              <a:gd name="connsiteX111" fmla="*/ 941719 w 2170664"/>
              <a:gd name="connsiteY111" fmla="*/ 393513 h 662520"/>
              <a:gd name="connsiteX112" fmla="*/ 959215 w 2170664"/>
              <a:gd name="connsiteY112" fmla="*/ 433502 h 662520"/>
              <a:gd name="connsiteX113" fmla="*/ 964996 w 2170664"/>
              <a:gd name="connsiteY113" fmla="*/ 482498 h 662520"/>
              <a:gd name="connsiteX114" fmla="*/ 959936 w 2170664"/>
              <a:gd name="connsiteY114" fmla="*/ 527743 h 662520"/>
              <a:gd name="connsiteX115" fmla="*/ 944659 w 2170664"/>
              <a:gd name="connsiteY115" fmla="*/ 567021 h 662520"/>
              <a:gd name="connsiteX116" fmla="*/ 920122 w 2170664"/>
              <a:gd name="connsiteY116" fmla="*/ 600232 h 662520"/>
              <a:gd name="connsiteX117" fmla="*/ 887285 w 2170664"/>
              <a:gd name="connsiteY117" fmla="*/ 627278 h 662520"/>
              <a:gd name="connsiteX118" fmla="*/ 847106 w 2170664"/>
              <a:gd name="connsiteY118" fmla="*/ 648061 h 662520"/>
              <a:gd name="connsiteX119" fmla="*/ 800544 w 2170664"/>
              <a:gd name="connsiteY119" fmla="*/ 662482 h 662520"/>
              <a:gd name="connsiteX120" fmla="*/ 1360843 w 2170664"/>
              <a:gd name="connsiteY120" fmla="*/ 662495 h 662520"/>
              <a:gd name="connsiteX121" fmla="*/ 1322871 w 2170664"/>
              <a:gd name="connsiteY121" fmla="*/ 649352 h 662520"/>
              <a:gd name="connsiteX122" fmla="*/ 1287296 w 2170664"/>
              <a:gd name="connsiteY122" fmla="*/ 630560 h 662520"/>
              <a:gd name="connsiteX123" fmla="*/ 1254670 w 2170664"/>
              <a:gd name="connsiteY123" fmla="*/ 606062 h 662520"/>
              <a:gd name="connsiteX124" fmla="*/ 1225546 w 2170664"/>
              <a:gd name="connsiteY124" fmla="*/ 575802 h 662520"/>
              <a:gd name="connsiteX125" fmla="*/ 1200477 w 2170664"/>
              <a:gd name="connsiteY125" fmla="*/ 539722 h 662520"/>
              <a:gd name="connsiteX126" fmla="*/ 1180016 w 2170664"/>
              <a:gd name="connsiteY126" fmla="*/ 497766 h 662520"/>
              <a:gd name="connsiteX127" fmla="*/ 1164717 w 2170664"/>
              <a:gd name="connsiteY127" fmla="*/ 449876 h 662520"/>
              <a:gd name="connsiteX128" fmla="*/ 1155131 w 2170664"/>
              <a:gd name="connsiteY128" fmla="*/ 395995 h 662520"/>
              <a:gd name="connsiteX129" fmla="*/ 1151813 w 2170664"/>
              <a:gd name="connsiteY129" fmla="*/ 336067 h 662520"/>
              <a:gd name="connsiteX130" fmla="*/ 1155053 w 2170664"/>
              <a:gd name="connsiteY130" fmla="*/ 276826 h 662520"/>
              <a:gd name="connsiteX131" fmla="*/ 1164415 w 2170664"/>
              <a:gd name="connsiteY131" fmla="*/ 223488 h 662520"/>
              <a:gd name="connsiteX132" fmla="*/ 1179368 w 2170664"/>
              <a:gd name="connsiteY132" fmla="*/ 175997 h 662520"/>
              <a:gd name="connsiteX133" fmla="*/ 1199377 w 2170664"/>
              <a:gd name="connsiteY133" fmla="*/ 134299 h 662520"/>
              <a:gd name="connsiteX134" fmla="*/ 1223910 w 2170664"/>
              <a:gd name="connsiteY134" fmla="*/ 98339 h 662520"/>
              <a:gd name="connsiteX135" fmla="*/ 1252434 w 2170664"/>
              <a:gd name="connsiteY135" fmla="*/ 68062 h 662520"/>
              <a:gd name="connsiteX136" fmla="*/ 1284414 w 2170664"/>
              <a:gd name="connsiteY136" fmla="*/ 43413 h 662520"/>
              <a:gd name="connsiteX137" fmla="*/ 1319318 w 2170664"/>
              <a:gd name="connsiteY137" fmla="*/ 24337 h 662520"/>
              <a:gd name="connsiteX138" fmla="*/ 1356613 w 2170664"/>
              <a:gd name="connsiteY138" fmla="*/ 10780 h 662520"/>
              <a:gd name="connsiteX139" fmla="*/ 1395766 w 2170664"/>
              <a:gd name="connsiteY139" fmla="*/ 2685 h 662520"/>
              <a:gd name="connsiteX140" fmla="*/ 1436243 w 2170664"/>
              <a:gd name="connsiteY140" fmla="*/ 0 h 662520"/>
              <a:gd name="connsiteX141" fmla="*/ 1476722 w 2170664"/>
              <a:gd name="connsiteY141" fmla="*/ 2685 h 662520"/>
              <a:gd name="connsiteX142" fmla="*/ 1515876 w 2170664"/>
              <a:gd name="connsiteY142" fmla="*/ 10780 h 662520"/>
              <a:gd name="connsiteX143" fmla="*/ 1553172 w 2170664"/>
              <a:gd name="connsiteY143" fmla="*/ 24337 h 662520"/>
              <a:gd name="connsiteX144" fmla="*/ 1588076 w 2170664"/>
              <a:gd name="connsiteY144" fmla="*/ 43413 h 662520"/>
              <a:gd name="connsiteX145" fmla="*/ 1620056 w 2170664"/>
              <a:gd name="connsiteY145" fmla="*/ 68062 h 662520"/>
              <a:gd name="connsiteX146" fmla="*/ 1648579 w 2170664"/>
              <a:gd name="connsiteY146" fmla="*/ 98339 h 662520"/>
              <a:gd name="connsiteX147" fmla="*/ 1673111 w 2170664"/>
              <a:gd name="connsiteY147" fmla="*/ 134299 h 662520"/>
              <a:gd name="connsiteX148" fmla="*/ 1693119 w 2170664"/>
              <a:gd name="connsiteY148" fmla="*/ 175997 h 662520"/>
              <a:gd name="connsiteX149" fmla="*/ 1708071 w 2170664"/>
              <a:gd name="connsiteY149" fmla="*/ 223488 h 662520"/>
              <a:gd name="connsiteX150" fmla="*/ 1717433 w 2170664"/>
              <a:gd name="connsiteY150" fmla="*/ 276826 h 662520"/>
              <a:gd name="connsiteX151" fmla="*/ 1720672 w 2170664"/>
              <a:gd name="connsiteY151" fmla="*/ 336067 h 662520"/>
              <a:gd name="connsiteX152" fmla="*/ 1717354 w 2170664"/>
              <a:gd name="connsiteY152" fmla="*/ 395995 h 662520"/>
              <a:gd name="connsiteX153" fmla="*/ 1707768 w 2170664"/>
              <a:gd name="connsiteY153" fmla="*/ 449876 h 662520"/>
              <a:gd name="connsiteX154" fmla="*/ 1692469 w 2170664"/>
              <a:gd name="connsiteY154" fmla="*/ 497766 h 662520"/>
              <a:gd name="connsiteX155" fmla="*/ 1672008 w 2170664"/>
              <a:gd name="connsiteY155" fmla="*/ 539722 h 662520"/>
              <a:gd name="connsiteX156" fmla="*/ 1646939 w 2170664"/>
              <a:gd name="connsiteY156" fmla="*/ 575802 h 662520"/>
              <a:gd name="connsiteX157" fmla="*/ 1617815 w 2170664"/>
              <a:gd name="connsiteY157" fmla="*/ 606062 h 662520"/>
              <a:gd name="connsiteX158" fmla="*/ 1585189 w 2170664"/>
              <a:gd name="connsiteY158" fmla="*/ 630560 h 662520"/>
              <a:gd name="connsiteX159" fmla="*/ 1549614 w 2170664"/>
              <a:gd name="connsiteY159" fmla="*/ 649352 h 662520"/>
              <a:gd name="connsiteX160" fmla="*/ 1511642 w 2170664"/>
              <a:gd name="connsiteY160" fmla="*/ 662495 h 662520"/>
              <a:gd name="connsiteX161" fmla="*/ 1943430 w 2170664"/>
              <a:gd name="connsiteY161" fmla="*/ 662495 h 662520"/>
              <a:gd name="connsiteX162" fmla="*/ 1905459 w 2170664"/>
              <a:gd name="connsiteY162" fmla="*/ 649348 h 662520"/>
              <a:gd name="connsiteX163" fmla="*/ 1869885 w 2170664"/>
              <a:gd name="connsiteY163" fmla="*/ 630555 h 662520"/>
              <a:gd name="connsiteX164" fmla="*/ 1837261 w 2170664"/>
              <a:gd name="connsiteY164" fmla="*/ 606057 h 662520"/>
              <a:gd name="connsiteX165" fmla="*/ 1808138 w 2170664"/>
              <a:gd name="connsiteY165" fmla="*/ 575797 h 662520"/>
              <a:gd name="connsiteX166" fmla="*/ 1783072 w 2170664"/>
              <a:gd name="connsiteY166" fmla="*/ 539718 h 662520"/>
              <a:gd name="connsiteX167" fmla="*/ 1762613 w 2170664"/>
              <a:gd name="connsiteY167" fmla="*/ 497763 h 662520"/>
              <a:gd name="connsiteX168" fmla="*/ 1747315 w 2170664"/>
              <a:gd name="connsiteY168" fmla="*/ 449874 h 662520"/>
              <a:gd name="connsiteX169" fmla="*/ 1737731 w 2170664"/>
              <a:gd name="connsiteY169" fmla="*/ 395995 h 662520"/>
              <a:gd name="connsiteX170" fmla="*/ 1734413 w 2170664"/>
              <a:gd name="connsiteY170" fmla="*/ 336067 h 662520"/>
              <a:gd name="connsiteX171" fmla="*/ 1737652 w 2170664"/>
              <a:gd name="connsiteY171" fmla="*/ 276826 h 662520"/>
              <a:gd name="connsiteX172" fmla="*/ 1747014 w 2170664"/>
              <a:gd name="connsiteY172" fmla="*/ 223488 h 662520"/>
              <a:gd name="connsiteX173" fmla="*/ 1761965 w 2170664"/>
              <a:gd name="connsiteY173" fmla="*/ 175997 h 662520"/>
              <a:gd name="connsiteX174" fmla="*/ 1781973 w 2170664"/>
              <a:gd name="connsiteY174" fmla="*/ 134299 h 662520"/>
              <a:gd name="connsiteX175" fmla="*/ 1806505 w 2170664"/>
              <a:gd name="connsiteY175" fmla="*/ 98339 h 662520"/>
              <a:gd name="connsiteX176" fmla="*/ 1835026 w 2170664"/>
              <a:gd name="connsiteY176" fmla="*/ 68062 h 662520"/>
              <a:gd name="connsiteX177" fmla="*/ 1867005 w 2170664"/>
              <a:gd name="connsiteY177" fmla="*/ 43413 h 662520"/>
              <a:gd name="connsiteX178" fmla="*/ 1901908 w 2170664"/>
              <a:gd name="connsiteY178" fmla="*/ 24337 h 662520"/>
              <a:gd name="connsiteX179" fmla="*/ 1939202 w 2170664"/>
              <a:gd name="connsiteY179" fmla="*/ 10780 h 662520"/>
              <a:gd name="connsiteX180" fmla="*/ 1978353 w 2170664"/>
              <a:gd name="connsiteY180" fmla="*/ 2685 h 662520"/>
              <a:gd name="connsiteX181" fmla="*/ 2018830 w 2170664"/>
              <a:gd name="connsiteY181" fmla="*/ 0 h 662520"/>
              <a:gd name="connsiteX182" fmla="*/ 2059309 w 2170664"/>
              <a:gd name="connsiteY182" fmla="*/ 2685 h 662520"/>
              <a:gd name="connsiteX183" fmla="*/ 2098463 w 2170664"/>
              <a:gd name="connsiteY183" fmla="*/ 10780 h 662520"/>
              <a:gd name="connsiteX184" fmla="*/ 2135759 w 2170664"/>
              <a:gd name="connsiteY184" fmla="*/ 24337 h 662520"/>
              <a:gd name="connsiteX185" fmla="*/ 2170664 w 2170664"/>
              <a:gd name="connsiteY185" fmla="*/ 43413 h 662520"/>
              <a:gd name="connsiteX0" fmla="*/ 74231 w 2170664"/>
              <a:gd name="connsiteY0" fmla="*/ 662482 h 662520"/>
              <a:gd name="connsiteX1" fmla="*/ 60344 w 2170664"/>
              <a:gd name="connsiteY1" fmla="*/ 659582 h 662520"/>
              <a:gd name="connsiteX2" fmla="*/ 47517 w 2170664"/>
              <a:gd name="connsiteY2" fmla="*/ 656437 h 662520"/>
              <a:gd name="connsiteX3" fmla="*/ 35823 w 2170664"/>
              <a:gd name="connsiteY3" fmla="*/ 653092 h 662520"/>
              <a:gd name="connsiteX4" fmla="*/ 25336 w 2170664"/>
              <a:gd name="connsiteY4" fmla="*/ 649592 h 662520"/>
              <a:gd name="connsiteX5" fmla="*/ 25336 w 2170664"/>
              <a:gd name="connsiteY5" fmla="*/ 533196 h 662520"/>
              <a:gd name="connsiteX6" fmla="*/ 104190 w 2170664"/>
              <a:gd name="connsiteY6" fmla="*/ 533196 h 662520"/>
              <a:gd name="connsiteX7" fmla="*/ 116931 w 2170664"/>
              <a:gd name="connsiteY7" fmla="*/ 550133 h 662520"/>
              <a:gd name="connsiteX8" fmla="*/ 135043 w 2170664"/>
              <a:gd name="connsiteY8" fmla="*/ 564522 h 662520"/>
              <a:gd name="connsiteX9" fmla="*/ 160020 w 2170664"/>
              <a:gd name="connsiteY9" fmla="*/ 574514 h 662520"/>
              <a:gd name="connsiteX10" fmla="*/ 193357 w 2170664"/>
              <a:gd name="connsiteY10" fmla="*/ 578256 h 662520"/>
              <a:gd name="connsiteX11" fmla="*/ 233829 w 2170664"/>
              <a:gd name="connsiteY11" fmla="*/ 573672 h 662520"/>
              <a:gd name="connsiteX12" fmla="*/ 297105 w 2170664"/>
              <a:gd name="connsiteY12" fmla="*/ 537246 h 662520"/>
              <a:gd name="connsiteX13" fmla="*/ 320040 w 2170664"/>
              <a:gd name="connsiteY13" fmla="*/ 505568 h 662520"/>
              <a:gd name="connsiteX14" fmla="*/ 337261 w 2170664"/>
              <a:gd name="connsiteY14" fmla="*/ 465022 h 662520"/>
              <a:gd name="connsiteX15" fmla="*/ 348834 w 2170664"/>
              <a:gd name="connsiteY15" fmla="*/ 415691 h 662520"/>
              <a:gd name="connsiteX16" fmla="*/ 354825 w 2170664"/>
              <a:gd name="connsiteY16" fmla="*/ 357657 h 662520"/>
              <a:gd name="connsiteX17" fmla="*/ 325357 w 2170664"/>
              <a:gd name="connsiteY17" fmla="*/ 385098 h 662520"/>
              <a:gd name="connsiteX18" fmla="*/ 289466 w 2170664"/>
              <a:gd name="connsiteY18" fmla="*/ 406117 h 662520"/>
              <a:gd name="connsiteX19" fmla="*/ 247767 w 2170664"/>
              <a:gd name="connsiteY19" fmla="*/ 419568 h 662520"/>
              <a:gd name="connsiteX20" fmla="*/ 200875 w 2170664"/>
              <a:gd name="connsiteY20" fmla="*/ 424306 h 662520"/>
              <a:gd name="connsiteX21" fmla="*/ 153099 w 2170664"/>
              <a:gd name="connsiteY21" fmla="*/ 420031 h 662520"/>
              <a:gd name="connsiteX22" fmla="*/ 110150 w 2170664"/>
              <a:gd name="connsiteY22" fmla="*/ 407348 h 662520"/>
              <a:gd name="connsiteX23" fmla="*/ 72948 w 2170664"/>
              <a:gd name="connsiteY23" fmla="*/ 386472 h 662520"/>
              <a:gd name="connsiteX24" fmla="*/ 42412 w 2170664"/>
              <a:gd name="connsiteY24" fmla="*/ 357614 h 662520"/>
              <a:gd name="connsiteX25" fmla="*/ 19463 w 2170664"/>
              <a:gd name="connsiteY25" fmla="*/ 320990 h 662520"/>
              <a:gd name="connsiteX26" fmla="*/ 5019 w 2170664"/>
              <a:gd name="connsiteY26" fmla="*/ 276814 h 662520"/>
              <a:gd name="connsiteX27" fmla="*/ 0 w 2170664"/>
              <a:gd name="connsiteY27" fmla="*/ 225297 h 662520"/>
              <a:gd name="connsiteX28" fmla="*/ 4447 w 2170664"/>
              <a:gd name="connsiteY28" fmla="*/ 178425 h 662520"/>
              <a:gd name="connsiteX29" fmla="*/ 17453 w 2170664"/>
              <a:gd name="connsiteY29" fmla="*/ 135445 h 662520"/>
              <a:gd name="connsiteX30" fmla="*/ 38511 w 2170664"/>
              <a:gd name="connsiteY30" fmla="*/ 97085 h 662520"/>
              <a:gd name="connsiteX31" fmla="*/ 67116 w 2170664"/>
              <a:gd name="connsiteY31" fmla="*/ 64071 h 662520"/>
              <a:gd name="connsiteX32" fmla="*/ 102760 w 2170664"/>
              <a:gd name="connsiteY32" fmla="*/ 37129 h 662520"/>
              <a:gd name="connsiteX33" fmla="*/ 144939 w 2170664"/>
              <a:gd name="connsiteY33" fmla="*/ 16986 h 662520"/>
              <a:gd name="connsiteX34" fmla="*/ 193146 w 2170664"/>
              <a:gd name="connsiteY34" fmla="*/ 4367 h 662520"/>
              <a:gd name="connsiteX35" fmla="*/ 246875 w 2170664"/>
              <a:gd name="connsiteY35" fmla="*/ 0 h 662520"/>
              <a:gd name="connsiteX36" fmla="*/ 290625 w 2170664"/>
              <a:gd name="connsiteY36" fmla="*/ 2882 h 662520"/>
              <a:gd name="connsiteX37" fmla="*/ 331492 w 2170664"/>
              <a:gd name="connsiteY37" fmla="*/ 11678 h 662520"/>
              <a:gd name="connsiteX38" fmla="*/ 369070 w 2170664"/>
              <a:gd name="connsiteY38" fmla="*/ 26614 h 662520"/>
              <a:gd name="connsiteX39" fmla="*/ 402953 w 2170664"/>
              <a:gd name="connsiteY39" fmla="*/ 47914 h 662520"/>
              <a:gd name="connsiteX40" fmla="*/ 432736 w 2170664"/>
              <a:gd name="connsiteY40" fmla="*/ 75804 h 662520"/>
              <a:gd name="connsiteX41" fmla="*/ 458013 w 2170664"/>
              <a:gd name="connsiteY41" fmla="*/ 110509 h 662520"/>
              <a:gd name="connsiteX42" fmla="*/ 478379 w 2170664"/>
              <a:gd name="connsiteY42" fmla="*/ 152255 h 662520"/>
              <a:gd name="connsiteX43" fmla="*/ 493429 w 2170664"/>
              <a:gd name="connsiteY43" fmla="*/ 201265 h 662520"/>
              <a:gd name="connsiteX44" fmla="*/ 502756 w 2170664"/>
              <a:gd name="connsiteY44" fmla="*/ 257766 h 662520"/>
              <a:gd name="connsiteX45" fmla="*/ 505955 w 2170664"/>
              <a:gd name="connsiteY45" fmla="*/ 321983 h 662520"/>
              <a:gd name="connsiteX46" fmla="*/ 503406 w 2170664"/>
              <a:gd name="connsiteY46" fmla="*/ 376707 h 662520"/>
              <a:gd name="connsiteX47" fmla="*/ 495858 w 2170664"/>
              <a:gd name="connsiteY47" fmla="*/ 427041 h 662520"/>
              <a:gd name="connsiteX48" fmla="*/ 483456 w 2170664"/>
              <a:gd name="connsiteY48" fmla="*/ 472909 h 662520"/>
              <a:gd name="connsiteX49" fmla="*/ 466346 w 2170664"/>
              <a:gd name="connsiteY49" fmla="*/ 514232 h 662520"/>
              <a:gd name="connsiteX50" fmla="*/ 444674 w 2170664"/>
              <a:gd name="connsiteY50" fmla="*/ 550937 h 662520"/>
              <a:gd name="connsiteX51" fmla="*/ 418587 w 2170664"/>
              <a:gd name="connsiteY51" fmla="*/ 582945 h 662520"/>
              <a:gd name="connsiteX52" fmla="*/ 388229 w 2170664"/>
              <a:gd name="connsiteY52" fmla="*/ 610181 h 662520"/>
              <a:gd name="connsiteX53" fmla="*/ 353748 w 2170664"/>
              <a:gd name="connsiteY53" fmla="*/ 632569 h 662520"/>
              <a:gd name="connsiteX54" fmla="*/ 315289 w 2170664"/>
              <a:gd name="connsiteY54" fmla="*/ 650033 h 662520"/>
              <a:gd name="connsiteX55" fmla="*/ 272999 w 2170664"/>
              <a:gd name="connsiteY55" fmla="*/ 662495 h 662520"/>
              <a:gd name="connsiteX56" fmla="*/ 592162 w 2170664"/>
              <a:gd name="connsiteY56" fmla="*/ 662520 h 662520"/>
              <a:gd name="connsiteX57" fmla="*/ 571167 w 2170664"/>
              <a:gd name="connsiteY57" fmla="*/ 658030 h 662520"/>
              <a:gd name="connsiteX58" fmla="*/ 551373 w 2170664"/>
              <a:gd name="connsiteY58" fmla="*/ 652783 h 662520"/>
              <a:gd name="connsiteX59" fmla="*/ 532537 w 2170664"/>
              <a:gd name="connsiteY59" fmla="*/ 646826 h 662520"/>
              <a:gd name="connsiteX60" fmla="*/ 514413 w 2170664"/>
              <a:gd name="connsiteY60" fmla="*/ 640206 h 662520"/>
              <a:gd name="connsiteX61" fmla="*/ 514413 w 2170664"/>
              <a:gd name="connsiteY61" fmla="*/ 516293 h 662520"/>
              <a:gd name="connsiteX62" fmla="*/ 596087 w 2170664"/>
              <a:gd name="connsiteY62" fmla="*/ 516293 h 662520"/>
              <a:gd name="connsiteX63" fmla="*/ 612203 w 2170664"/>
              <a:gd name="connsiteY63" fmla="*/ 539439 h 662520"/>
              <a:gd name="connsiteX64" fmla="*/ 635627 w 2170664"/>
              <a:gd name="connsiteY64" fmla="*/ 559242 h 662520"/>
              <a:gd name="connsiteX65" fmla="*/ 666972 w 2170664"/>
              <a:gd name="connsiteY65" fmla="*/ 573062 h 662520"/>
              <a:gd name="connsiteX66" fmla="*/ 706856 w 2170664"/>
              <a:gd name="connsiteY66" fmla="*/ 578256 h 662520"/>
              <a:gd name="connsiteX67" fmla="*/ 749359 w 2170664"/>
              <a:gd name="connsiteY67" fmla="*/ 571758 h 662520"/>
              <a:gd name="connsiteX68" fmla="*/ 784298 w 2170664"/>
              <a:gd name="connsiteY68" fmla="*/ 552322 h 662520"/>
              <a:gd name="connsiteX69" fmla="*/ 807972 w 2170664"/>
              <a:gd name="connsiteY69" fmla="*/ 520038 h 662520"/>
              <a:gd name="connsiteX70" fmla="*/ 816686 w 2170664"/>
              <a:gd name="connsiteY70" fmla="*/ 474992 h 662520"/>
              <a:gd name="connsiteX71" fmla="*/ 809424 w 2170664"/>
              <a:gd name="connsiteY71" fmla="*/ 430240 h 662520"/>
              <a:gd name="connsiteX72" fmla="*/ 787466 w 2170664"/>
              <a:gd name="connsiteY72" fmla="*/ 398602 h 662520"/>
              <a:gd name="connsiteX73" fmla="*/ 750549 w 2170664"/>
              <a:gd name="connsiteY73" fmla="*/ 379812 h 662520"/>
              <a:gd name="connsiteX74" fmla="*/ 698411 w 2170664"/>
              <a:gd name="connsiteY74" fmla="*/ 373608 h 662520"/>
              <a:gd name="connsiteX75" fmla="*/ 649592 w 2170664"/>
              <a:gd name="connsiteY75" fmla="*/ 373608 h 662520"/>
              <a:gd name="connsiteX76" fmla="*/ 649592 w 2170664"/>
              <a:gd name="connsiteY76" fmla="*/ 286308 h 662520"/>
              <a:gd name="connsiteX77" fmla="*/ 690892 w 2170664"/>
              <a:gd name="connsiteY77" fmla="*/ 286308 h 662520"/>
              <a:gd name="connsiteX78" fmla="*/ 744563 w 2170664"/>
              <a:gd name="connsiteY78" fmla="*/ 280133 h 662520"/>
              <a:gd name="connsiteX79" fmla="*/ 783007 w 2170664"/>
              <a:gd name="connsiteY79" fmla="*/ 261550 h 662520"/>
              <a:gd name="connsiteX80" fmla="*/ 806137 w 2170664"/>
              <a:gd name="connsiteY80" fmla="*/ 230469 h 662520"/>
              <a:gd name="connsiteX81" fmla="*/ 813866 w 2170664"/>
              <a:gd name="connsiteY81" fmla="*/ 186804 h 662520"/>
              <a:gd name="connsiteX82" fmla="*/ 808513 w 2170664"/>
              <a:gd name="connsiteY82" fmla="*/ 149115 h 662520"/>
              <a:gd name="connsiteX83" fmla="*/ 792160 w 2170664"/>
              <a:gd name="connsiteY83" fmla="*/ 121104 h 662520"/>
              <a:gd name="connsiteX84" fmla="*/ 764365 w 2170664"/>
              <a:gd name="connsiteY84" fmla="*/ 103651 h 662520"/>
              <a:gd name="connsiteX85" fmla="*/ 724687 w 2170664"/>
              <a:gd name="connsiteY85" fmla="*/ 97637 h 662520"/>
              <a:gd name="connsiteX86" fmla="*/ 687243 w 2170664"/>
              <a:gd name="connsiteY86" fmla="*/ 102374 h 662520"/>
              <a:gd name="connsiteX87" fmla="*/ 657456 w 2170664"/>
              <a:gd name="connsiteY87" fmla="*/ 115117 h 662520"/>
              <a:gd name="connsiteX88" fmla="*/ 634533 w 2170664"/>
              <a:gd name="connsiteY88" fmla="*/ 133668 h 662520"/>
              <a:gd name="connsiteX89" fmla="*/ 617677 w 2170664"/>
              <a:gd name="connsiteY89" fmla="*/ 155828 h 662520"/>
              <a:gd name="connsiteX90" fmla="*/ 539775 w 2170664"/>
              <a:gd name="connsiteY90" fmla="*/ 155828 h 662520"/>
              <a:gd name="connsiteX91" fmla="*/ 539775 w 2170664"/>
              <a:gd name="connsiteY91" fmla="*/ 33807 h 662520"/>
              <a:gd name="connsiteX92" fmla="*/ 584006 w 2170664"/>
              <a:gd name="connsiteY92" fmla="*/ 19813 h 662520"/>
              <a:gd name="connsiteX93" fmla="*/ 631056 w 2170664"/>
              <a:gd name="connsiteY93" fmla="*/ 9159 h 662520"/>
              <a:gd name="connsiteX94" fmla="*/ 681278 w 2170664"/>
              <a:gd name="connsiteY94" fmla="*/ 2378 h 662520"/>
              <a:gd name="connsiteX95" fmla="*/ 735025 w 2170664"/>
              <a:gd name="connsiteY95" fmla="*/ 0 h 662520"/>
              <a:gd name="connsiteX96" fmla="*/ 790395 w 2170664"/>
              <a:gd name="connsiteY96" fmla="*/ 3158 h 662520"/>
              <a:gd name="connsiteX97" fmla="*/ 838689 w 2170664"/>
              <a:gd name="connsiteY97" fmla="*/ 12853 h 662520"/>
              <a:gd name="connsiteX98" fmla="*/ 879380 w 2170664"/>
              <a:gd name="connsiteY98" fmla="*/ 29412 h 662520"/>
              <a:gd name="connsiteX99" fmla="*/ 911943 w 2170664"/>
              <a:gd name="connsiteY99" fmla="*/ 53163 h 662520"/>
              <a:gd name="connsiteX100" fmla="*/ 935853 w 2170664"/>
              <a:gd name="connsiteY100" fmla="*/ 84435 h 662520"/>
              <a:gd name="connsiteX101" fmla="*/ 950584 w 2170664"/>
              <a:gd name="connsiteY101" fmla="*/ 123555 h 662520"/>
              <a:gd name="connsiteX102" fmla="*/ 955611 w 2170664"/>
              <a:gd name="connsiteY102" fmla="*/ 170853 h 662520"/>
              <a:gd name="connsiteX103" fmla="*/ 949453 w 2170664"/>
              <a:gd name="connsiteY103" fmla="*/ 219568 h 662520"/>
              <a:gd name="connsiteX104" fmla="*/ 931581 w 2170664"/>
              <a:gd name="connsiteY104" fmla="*/ 258234 h 662520"/>
              <a:gd name="connsiteX105" fmla="*/ 902895 w 2170664"/>
              <a:gd name="connsiteY105" fmla="*/ 287843 h 662520"/>
              <a:gd name="connsiteX106" fmla="*/ 864296 w 2170664"/>
              <a:gd name="connsiteY106" fmla="*/ 309388 h 662520"/>
              <a:gd name="connsiteX107" fmla="*/ 816686 w 2170664"/>
              <a:gd name="connsiteY107" fmla="*/ 323862 h 662520"/>
              <a:gd name="connsiteX108" fmla="*/ 816686 w 2170664"/>
              <a:gd name="connsiteY108" fmla="*/ 327609 h 662520"/>
              <a:gd name="connsiteX109" fmla="*/ 870681 w 2170664"/>
              <a:gd name="connsiteY109" fmla="*/ 340566 h 662520"/>
              <a:gd name="connsiteX110" fmla="*/ 912283 w 2170664"/>
              <a:gd name="connsiteY110" fmla="*/ 362534 h 662520"/>
              <a:gd name="connsiteX111" fmla="*/ 941719 w 2170664"/>
              <a:gd name="connsiteY111" fmla="*/ 393513 h 662520"/>
              <a:gd name="connsiteX112" fmla="*/ 959215 w 2170664"/>
              <a:gd name="connsiteY112" fmla="*/ 433502 h 662520"/>
              <a:gd name="connsiteX113" fmla="*/ 964996 w 2170664"/>
              <a:gd name="connsiteY113" fmla="*/ 482498 h 662520"/>
              <a:gd name="connsiteX114" fmla="*/ 959936 w 2170664"/>
              <a:gd name="connsiteY114" fmla="*/ 527743 h 662520"/>
              <a:gd name="connsiteX115" fmla="*/ 944659 w 2170664"/>
              <a:gd name="connsiteY115" fmla="*/ 567021 h 662520"/>
              <a:gd name="connsiteX116" fmla="*/ 920122 w 2170664"/>
              <a:gd name="connsiteY116" fmla="*/ 600232 h 662520"/>
              <a:gd name="connsiteX117" fmla="*/ 887285 w 2170664"/>
              <a:gd name="connsiteY117" fmla="*/ 627278 h 662520"/>
              <a:gd name="connsiteX118" fmla="*/ 847106 w 2170664"/>
              <a:gd name="connsiteY118" fmla="*/ 648061 h 662520"/>
              <a:gd name="connsiteX119" fmla="*/ 800544 w 2170664"/>
              <a:gd name="connsiteY119" fmla="*/ 662482 h 662520"/>
              <a:gd name="connsiteX120" fmla="*/ 1360843 w 2170664"/>
              <a:gd name="connsiteY120" fmla="*/ 662495 h 662520"/>
              <a:gd name="connsiteX121" fmla="*/ 1322871 w 2170664"/>
              <a:gd name="connsiteY121" fmla="*/ 649352 h 662520"/>
              <a:gd name="connsiteX122" fmla="*/ 1287296 w 2170664"/>
              <a:gd name="connsiteY122" fmla="*/ 630560 h 662520"/>
              <a:gd name="connsiteX123" fmla="*/ 1254670 w 2170664"/>
              <a:gd name="connsiteY123" fmla="*/ 606062 h 662520"/>
              <a:gd name="connsiteX124" fmla="*/ 1225546 w 2170664"/>
              <a:gd name="connsiteY124" fmla="*/ 575802 h 662520"/>
              <a:gd name="connsiteX125" fmla="*/ 1200477 w 2170664"/>
              <a:gd name="connsiteY125" fmla="*/ 539722 h 662520"/>
              <a:gd name="connsiteX126" fmla="*/ 1180016 w 2170664"/>
              <a:gd name="connsiteY126" fmla="*/ 497766 h 662520"/>
              <a:gd name="connsiteX127" fmla="*/ 1164717 w 2170664"/>
              <a:gd name="connsiteY127" fmla="*/ 449876 h 662520"/>
              <a:gd name="connsiteX128" fmla="*/ 1155131 w 2170664"/>
              <a:gd name="connsiteY128" fmla="*/ 395995 h 662520"/>
              <a:gd name="connsiteX129" fmla="*/ 1151813 w 2170664"/>
              <a:gd name="connsiteY129" fmla="*/ 336067 h 662520"/>
              <a:gd name="connsiteX130" fmla="*/ 1155053 w 2170664"/>
              <a:gd name="connsiteY130" fmla="*/ 276826 h 662520"/>
              <a:gd name="connsiteX131" fmla="*/ 1164415 w 2170664"/>
              <a:gd name="connsiteY131" fmla="*/ 223488 h 662520"/>
              <a:gd name="connsiteX132" fmla="*/ 1179368 w 2170664"/>
              <a:gd name="connsiteY132" fmla="*/ 175997 h 662520"/>
              <a:gd name="connsiteX133" fmla="*/ 1199377 w 2170664"/>
              <a:gd name="connsiteY133" fmla="*/ 134299 h 662520"/>
              <a:gd name="connsiteX134" fmla="*/ 1223910 w 2170664"/>
              <a:gd name="connsiteY134" fmla="*/ 98339 h 662520"/>
              <a:gd name="connsiteX135" fmla="*/ 1252434 w 2170664"/>
              <a:gd name="connsiteY135" fmla="*/ 68062 h 662520"/>
              <a:gd name="connsiteX136" fmla="*/ 1284414 w 2170664"/>
              <a:gd name="connsiteY136" fmla="*/ 43413 h 662520"/>
              <a:gd name="connsiteX137" fmla="*/ 1319318 w 2170664"/>
              <a:gd name="connsiteY137" fmla="*/ 24337 h 662520"/>
              <a:gd name="connsiteX138" fmla="*/ 1356613 w 2170664"/>
              <a:gd name="connsiteY138" fmla="*/ 10780 h 662520"/>
              <a:gd name="connsiteX139" fmla="*/ 1395766 w 2170664"/>
              <a:gd name="connsiteY139" fmla="*/ 2685 h 662520"/>
              <a:gd name="connsiteX140" fmla="*/ 1436243 w 2170664"/>
              <a:gd name="connsiteY140" fmla="*/ 0 h 662520"/>
              <a:gd name="connsiteX141" fmla="*/ 1476722 w 2170664"/>
              <a:gd name="connsiteY141" fmla="*/ 2685 h 662520"/>
              <a:gd name="connsiteX142" fmla="*/ 1515876 w 2170664"/>
              <a:gd name="connsiteY142" fmla="*/ 10780 h 662520"/>
              <a:gd name="connsiteX143" fmla="*/ 1553172 w 2170664"/>
              <a:gd name="connsiteY143" fmla="*/ 24337 h 662520"/>
              <a:gd name="connsiteX144" fmla="*/ 1588076 w 2170664"/>
              <a:gd name="connsiteY144" fmla="*/ 43413 h 662520"/>
              <a:gd name="connsiteX145" fmla="*/ 1620056 w 2170664"/>
              <a:gd name="connsiteY145" fmla="*/ 68062 h 662520"/>
              <a:gd name="connsiteX146" fmla="*/ 1648579 w 2170664"/>
              <a:gd name="connsiteY146" fmla="*/ 98339 h 662520"/>
              <a:gd name="connsiteX147" fmla="*/ 1673111 w 2170664"/>
              <a:gd name="connsiteY147" fmla="*/ 134299 h 662520"/>
              <a:gd name="connsiteX148" fmla="*/ 1693119 w 2170664"/>
              <a:gd name="connsiteY148" fmla="*/ 175997 h 662520"/>
              <a:gd name="connsiteX149" fmla="*/ 1708071 w 2170664"/>
              <a:gd name="connsiteY149" fmla="*/ 223488 h 662520"/>
              <a:gd name="connsiteX150" fmla="*/ 1717433 w 2170664"/>
              <a:gd name="connsiteY150" fmla="*/ 276826 h 662520"/>
              <a:gd name="connsiteX151" fmla="*/ 1720672 w 2170664"/>
              <a:gd name="connsiteY151" fmla="*/ 336067 h 662520"/>
              <a:gd name="connsiteX152" fmla="*/ 1717354 w 2170664"/>
              <a:gd name="connsiteY152" fmla="*/ 395995 h 662520"/>
              <a:gd name="connsiteX153" fmla="*/ 1707768 w 2170664"/>
              <a:gd name="connsiteY153" fmla="*/ 449876 h 662520"/>
              <a:gd name="connsiteX154" fmla="*/ 1692469 w 2170664"/>
              <a:gd name="connsiteY154" fmla="*/ 497766 h 662520"/>
              <a:gd name="connsiteX155" fmla="*/ 1672008 w 2170664"/>
              <a:gd name="connsiteY155" fmla="*/ 539722 h 662520"/>
              <a:gd name="connsiteX156" fmla="*/ 1646939 w 2170664"/>
              <a:gd name="connsiteY156" fmla="*/ 575802 h 662520"/>
              <a:gd name="connsiteX157" fmla="*/ 1617815 w 2170664"/>
              <a:gd name="connsiteY157" fmla="*/ 606062 h 662520"/>
              <a:gd name="connsiteX158" fmla="*/ 1585189 w 2170664"/>
              <a:gd name="connsiteY158" fmla="*/ 630560 h 662520"/>
              <a:gd name="connsiteX159" fmla="*/ 1549614 w 2170664"/>
              <a:gd name="connsiteY159" fmla="*/ 649352 h 662520"/>
              <a:gd name="connsiteX160" fmla="*/ 1511642 w 2170664"/>
              <a:gd name="connsiteY160" fmla="*/ 662495 h 662520"/>
              <a:gd name="connsiteX161" fmla="*/ 1943430 w 2170664"/>
              <a:gd name="connsiteY161" fmla="*/ 662495 h 662520"/>
              <a:gd name="connsiteX162" fmla="*/ 1905459 w 2170664"/>
              <a:gd name="connsiteY162" fmla="*/ 649348 h 662520"/>
              <a:gd name="connsiteX163" fmla="*/ 1869885 w 2170664"/>
              <a:gd name="connsiteY163" fmla="*/ 630555 h 662520"/>
              <a:gd name="connsiteX164" fmla="*/ 1837261 w 2170664"/>
              <a:gd name="connsiteY164" fmla="*/ 606057 h 662520"/>
              <a:gd name="connsiteX165" fmla="*/ 1808138 w 2170664"/>
              <a:gd name="connsiteY165" fmla="*/ 575797 h 662520"/>
              <a:gd name="connsiteX166" fmla="*/ 1783072 w 2170664"/>
              <a:gd name="connsiteY166" fmla="*/ 539718 h 662520"/>
              <a:gd name="connsiteX167" fmla="*/ 1762613 w 2170664"/>
              <a:gd name="connsiteY167" fmla="*/ 497763 h 662520"/>
              <a:gd name="connsiteX168" fmla="*/ 1747315 w 2170664"/>
              <a:gd name="connsiteY168" fmla="*/ 449874 h 662520"/>
              <a:gd name="connsiteX169" fmla="*/ 1737731 w 2170664"/>
              <a:gd name="connsiteY169" fmla="*/ 395995 h 662520"/>
              <a:gd name="connsiteX170" fmla="*/ 1734413 w 2170664"/>
              <a:gd name="connsiteY170" fmla="*/ 336067 h 662520"/>
              <a:gd name="connsiteX171" fmla="*/ 1737652 w 2170664"/>
              <a:gd name="connsiteY171" fmla="*/ 276826 h 662520"/>
              <a:gd name="connsiteX172" fmla="*/ 1747014 w 2170664"/>
              <a:gd name="connsiteY172" fmla="*/ 223488 h 662520"/>
              <a:gd name="connsiteX173" fmla="*/ 1761965 w 2170664"/>
              <a:gd name="connsiteY173" fmla="*/ 175997 h 662520"/>
              <a:gd name="connsiteX174" fmla="*/ 1781973 w 2170664"/>
              <a:gd name="connsiteY174" fmla="*/ 134299 h 662520"/>
              <a:gd name="connsiteX175" fmla="*/ 1806505 w 2170664"/>
              <a:gd name="connsiteY175" fmla="*/ 98339 h 662520"/>
              <a:gd name="connsiteX176" fmla="*/ 1835026 w 2170664"/>
              <a:gd name="connsiteY176" fmla="*/ 68062 h 662520"/>
              <a:gd name="connsiteX177" fmla="*/ 1867005 w 2170664"/>
              <a:gd name="connsiteY177" fmla="*/ 43413 h 662520"/>
              <a:gd name="connsiteX178" fmla="*/ 1901908 w 2170664"/>
              <a:gd name="connsiteY178" fmla="*/ 24337 h 662520"/>
              <a:gd name="connsiteX179" fmla="*/ 1939202 w 2170664"/>
              <a:gd name="connsiteY179" fmla="*/ 10780 h 662520"/>
              <a:gd name="connsiteX180" fmla="*/ 1978353 w 2170664"/>
              <a:gd name="connsiteY180" fmla="*/ 2685 h 662520"/>
              <a:gd name="connsiteX181" fmla="*/ 2018830 w 2170664"/>
              <a:gd name="connsiteY181" fmla="*/ 0 h 662520"/>
              <a:gd name="connsiteX182" fmla="*/ 2059309 w 2170664"/>
              <a:gd name="connsiteY182" fmla="*/ 2685 h 662520"/>
              <a:gd name="connsiteX183" fmla="*/ 2098463 w 2170664"/>
              <a:gd name="connsiteY183" fmla="*/ 10780 h 662520"/>
              <a:gd name="connsiteX184" fmla="*/ 2135759 w 2170664"/>
              <a:gd name="connsiteY184" fmla="*/ 24337 h 662520"/>
              <a:gd name="connsiteX185" fmla="*/ 2170664 w 2170664"/>
              <a:gd name="connsiteY185" fmla="*/ 43413 h 662520"/>
              <a:gd name="connsiteX0" fmla="*/ 74231 w 2135759"/>
              <a:gd name="connsiteY0" fmla="*/ 662482 h 662520"/>
              <a:gd name="connsiteX1" fmla="*/ 60344 w 2135759"/>
              <a:gd name="connsiteY1" fmla="*/ 659582 h 662520"/>
              <a:gd name="connsiteX2" fmla="*/ 47517 w 2135759"/>
              <a:gd name="connsiteY2" fmla="*/ 656437 h 662520"/>
              <a:gd name="connsiteX3" fmla="*/ 35823 w 2135759"/>
              <a:gd name="connsiteY3" fmla="*/ 653092 h 662520"/>
              <a:gd name="connsiteX4" fmla="*/ 25336 w 2135759"/>
              <a:gd name="connsiteY4" fmla="*/ 649592 h 662520"/>
              <a:gd name="connsiteX5" fmla="*/ 25336 w 2135759"/>
              <a:gd name="connsiteY5" fmla="*/ 533196 h 662520"/>
              <a:gd name="connsiteX6" fmla="*/ 104190 w 2135759"/>
              <a:gd name="connsiteY6" fmla="*/ 533196 h 662520"/>
              <a:gd name="connsiteX7" fmla="*/ 116931 w 2135759"/>
              <a:gd name="connsiteY7" fmla="*/ 550133 h 662520"/>
              <a:gd name="connsiteX8" fmla="*/ 135043 w 2135759"/>
              <a:gd name="connsiteY8" fmla="*/ 564522 h 662520"/>
              <a:gd name="connsiteX9" fmla="*/ 160020 w 2135759"/>
              <a:gd name="connsiteY9" fmla="*/ 574514 h 662520"/>
              <a:gd name="connsiteX10" fmla="*/ 193357 w 2135759"/>
              <a:gd name="connsiteY10" fmla="*/ 578256 h 662520"/>
              <a:gd name="connsiteX11" fmla="*/ 233829 w 2135759"/>
              <a:gd name="connsiteY11" fmla="*/ 573672 h 662520"/>
              <a:gd name="connsiteX12" fmla="*/ 297105 w 2135759"/>
              <a:gd name="connsiteY12" fmla="*/ 537246 h 662520"/>
              <a:gd name="connsiteX13" fmla="*/ 320040 w 2135759"/>
              <a:gd name="connsiteY13" fmla="*/ 505568 h 662520"/>
              <a:gd name="connsiteX14" fmla="*/ 337261 w 2135759"/>
              <a:gd name="connsiteY14" fmla="*/ 465022 h 662520"/>
              <a:gd name="connsiteX15" fmla="*/ 348834 w 2135759"/>
              <a:gd name="connsiteY15" fmla="*/ 415691 h 662520"/>
              <a:gd name="connsiteX16" fmla="*/ 354825 w 2135759"/>
              <a:gd name="connsiteY16" fmla="*/ 357657 h 662520"/>
              <a:gd name="connsiteX17" fmla="*/ 325357 w 2135759"/>
              <a:gd name="connsiteY17" fmla="*/ 385098 h 662520"/>
              <a:gd name="connsiteX18" fmla="*/ 289466 w 2135759"/>
              <a:gd name="connsiteY18" fmla="*/ 406117 h 662520"/>
              <a:gd name="connsiteX19" fmla="*/ 247767 w 2135759"/>
              <a:gd name="connsiteY19" fmla="*/ 419568 h 662520"/>
              <a:gd name="connsiteX20" fmla="*/ 200875 w 2135759"/>
              <a:gd name="connsiteY20" fmla="*/ 424306 h 662520"/>
              <a:gd name="connsiteX21" fmla="*/ 153099 w 2135759"/>
              <a:gd name="connsiteY21" fmla="*/ 420031 h 662520"/>
              <a:gd name="connsiteX22" fmla="*/ 110150 w 2135759"/>
              <a:gd name="connsiteY22" fmla="*/ 407348 h 662520"/>
              <a:gd name="connsiteX23" fmla="*/ 72948 w 2135759"/>
              <a:gd name="connsiteY23" fmla="*/ 386472 h 662520"/>
              <a:gd name="connsiteX24" fmla="*/ 42412 w 2135759"/>
              <a:gd name="connsiteY24" fmla="*/ 357614 h 662520"/>
              <a:gd name="connsiteX25" fmla="*/ 19463 w 2135759"/>
              <a:gd name="connsiteY25" fmla="*/ 320990 h 662520"/>
              <a:gd name="connsiteX26" fmla="*/ 5019 w 2135759"/>
              <a:gd name="connsiteY26" fmla="*/ 276814 h 662520"/>
              <a:gd name="connsiteX27" fmla="*/ 0 w 2135759"/>
              <a:gd name="connsiteY27" fmla="*/ 225297 h 662520"/>
              <a:gd name="connsiteX28" fmla="*/ 4447 w 2135759"/>
              <a:gd name="connsiteY28" fmla="*/ 178425 h 662520"/>
              <a:gd name="connsiteX29" fmla="*/ 17453 w 2135759"/>
              <a:gd name="connsiteY29" fmla="*/ 135445 h 662520"/>
              <a:gd name="connsiteX30" fmla="*/ 38511 w 2135759"/>
              <a:gd name="connsiteY30" fmla="*/ 97085 h 662520"/>
              <a:gd name="connsiteX31" fmla="*/ 67116 w 2135759"/>
              <a:gd name="connsiteY31" fmla="*/ 64071 h 662520"/>
              <a:gd name="connsiteX32" fmla="*/ 102760 w 2135759"/>
              <a:gd name="connsiteY32" fmla="*/ 37129 h 662520"/>
              <a:gd name="connsiteX33" fmla="*/ 144939 w 2135759"/>
              <a:gd name="connsiteY33" fmla="*/ 16986 h 662520"/>
              <a:gd name="connsiteX34" fmla="*/ 193146 w 2135759"/>
              <a:gd name="connsiteY34" fmla="*/ 4367 h 662520"/>
              <a:gd name="connsiteX35" fmla="*/ 246875 w 2135759"/>
              <a:gd name="connsiteY35" fmla="*/ 0 h 662520"/>
              <a:gd name="connsiteX36" fmla="*/ 290625 w 2135759"/>
              <a:gd name="connsiteY36" fmla="*/ 2882 h 662520"/>
              <a:gd name="connsiteX37" fmla="*/ 331492 w 2135759"/>
              <a:gd name="connsiteY37" fmla="*/ 11678 h 662520"/>
              <a:gd name="connsiteX38" fmla="*/ 369070 w 2135759"/>
              <a:gd name="connsiteY38" fmla="*/ 26614 h 662520"/>
              <a:gd name="connsiteX39" fmla="*/ 402953 w 2135759"/>
              <a:gd name="connsiteY39" fmla="*/ 47914 h 662520"/>
              <a:gd name="connsiteX40" fmla="*/ 432736 w 2135759"/>
              <a:gd name="connsiteY40" fmla="*/ 75804 h 662520"/>
              <a:gd name="connsiteX41" fmla="*/ 458013 w 2135759"/>
              <a:gd name="connsiteY41" fmla="*/ 110509 h 662520"/>
              <a:gd name="connsiteX42" fmla="*/ 478379 w 2135759"/>
              <a:gd name="connsiteY42" fmla="*/ 152255 h 662520"/>
              <a:gd name="connsiteX43" fmla="*/ 493429 w 2135759"/>
              <a:gd name="connsiteY43" fmla="*/ 201265 h 662520"/>
              <a:gd name="connsiteX44" fmla="*/ 502756 w 2135759"/>
              <a:gd name="connsiteY44" fmla="*/ 257766 h 662520"/>
              <a:gd name="connsiteX45" fmla="*/ 505955 w 2135759"/>
              <a:gd name="connsiteY45" fmla="*/ 321983 h 662520"/>
              <a:gd name="connsiteX46" fmla="*/ 503406 w 2135759"/>
              <a:gd name="connsiteY46" fmla="*/ 376707 h 662520"/>
              <a:gd name="connsiteX47" fmla="*/ 495858 w 2135759"/>
              <a:gd name="connsiteY47" fmla="*/ 427041 h 662520"/>
              <a:gd name="connsiteX48" fmla="*/ 483456 w 2135759"/>
              <a:gd name="connsiteY48" fmla="*/ 472909 h 662520"/>
              <a:gd name="connsiteX49" fmla="*/ 466346 w 2135759"/>
              <a:gd name="connsiteY49" fmla="*/ 514232 h 662520"/>
              <a:gd name="connsiteX50" fmla="*/ 444674 w 2135759"/>
              <a:gd name="connsiteY50" fmla="*/ 550937 h 662520"/>
              <a:gd name="connsiteX51" fmla="*/ 418587 w 2135759"/>
              <a:gd name="connsiteY51" fmla="*/ 582945 h 662520"/>
              <a:gd name="connsiteX52" fmla="*/ 388229 w 2135759"/>
              <a:gd name="connsiteY52" fmla="*/ 610181 h 662520"/>
              <a:gd name="connsiteX53" fmla="*/ 353748 w 2135759"/>
              <a:gd name="connsiteY53" fmla="*/ 632569 h 662520"/>
              <a:gd name="connsiteX54" fmla="*/ 315289 w 2135759"/>
              <a:gd name="connsiteY54" fmla="*/ 650033 h 662520"/>
              <a:gd name="connsiteX55" fmla="*/ 272999 w 2135759"/>
              <a:gd name="connsiteY55" fmla="*/ 662495 h 662520"/>
              <a:gd name="connsiteX56" fmla="*/ 592162 w 2135759"/>
              <a:gd name="connsiteY56" fmla="*/ 662520 h 662520"/>
              <a:gd name="connsiteX57" fmla="*/ 571167 w 2135759"/>
              <a:gd name="connsiteY57" fmla="*/ 658030 h 662520"/>
              <a:gd name="connsiteX58" fmla="*/ 551373 w 2135759"/>
              <a:gd name="connsiteY58" fmla="*/ 652783 h 662520"/>
              <a:gd name="connsiteX59" fmla="*/ 532537 w 2135759"/>
              <a:gd name="connsiteY59" fmla="*/ 646826 h 662520"/>
              <a:gd name="connsiteX60" fmla="*/ 514413 w 2135759"/>
              <a:gd name="connsiteY60" fmla="*/ 640206 h 662520"/>
              <a:gd name="connsiteX61" fmla="*/ 514413 w 2135759"/>
              <a:gd name="connsiteY61" fmla="*/ 516293 h 662520"/>
              <a:gd name="connsiteX62" fmla="*/ 596087 w 2135759"/>
              <a:gd name="connsiteY62" fmla="*/ 516293 h 662520"/>
              <a:gd name="connsiteX63" fmla="*/ 612203 w 2135759"/>
              <a:gd name="connsiteY63" fmla="*/ 539439 h 662520"/>
              <a:gd name="connsiteX64" fmla="*/ 635627 w 2135759"/>
              <a:gd name="connsiteY64" fmla="*/ 559242 h 662520"/>
              <a:gd name="connsiteX65" fmla="*/ 666972 w 2135759"/>
              <a:gd name="connsiteY65" fmla="*/ 573062 h 662520"/>
              <a:gd name="connsiteX66" fmla="*/ 706856 w 2135759"/>
              <a:gd name="connsiteY66" fmla="*/ 578256 h 662520"/>
              <a:gd name="connsiteX67" fmla="*/ 749359 w 2135759"/>
              <a:gd name="connsiteY67" fmla="*/ 571758 h 662520"/>
              <a:gd name="connsiteX68" fmla="*/ 784298 w 2135759"/>
              <a:gd name="connsiteY68" fmla="*/ 552322 h 662520"/>
              <a:gd name="connsiteX69" fmla="*/ 807972 w 2135759"/>
              <a:gd name="connsiteY69" fmla="*/ 520038 h 662520"/>
              <a:gd name="connsiteX70" fmla="*/ 816686 w 2135759"/>
              <a:gd name="connsiteY70" fmla="*/ 474992 h 662520"/>
              <a:gd name="connsiteX71" fmla="*/ 809424 w 2135759"/>
              <a:gd name="connsiteY71" fmla="*/ 430240 h 662520"/>
              <a:gd name="connsiteX72" fmla="*/ 787466 w 2135759"/>
              <a:gd name="connsiteY72" fmla="*/ 398602 h 662520"/>
              <a:gd name="connsiteX73" fmla="*/ 750549 w 2135759"/>
              <a:gd name="connsiteY73" fmla="*/ 379812 h 662520"/>
              <a:gd name="connsiteX74" fmla="*/ 698411 w 2135759"/>
              <a:gd name="connsiteY74" fmla="*/ 373608 h 662520"/>
              <a:gd name="connsiteX75" fmla="*/ 649592 w 2135759"/>
              <a:gd name="connsiteY75" fmla="*/ 373608 h 662520"/>
              <a:gd name="connsiteX76" fmla="*/ 649592 w 2135759"/>
              <a:gd name="connsiteY76" fmla="*/ 286308 h 662520"/>
              <a:gd name="connsiteX77" fmla="*/ 690892 w 2135759"/>
              <a:gd name="connsiteY77" fmla="*/ 286308 h 662520"/>
              <a:gd name="connsiteX78" fmla="*/ 744563 w 2135759"/>
              <a:gd name="connsiteY78" fmla="*/ 280133 h 662520"/>
              <a:gd name="connsiteX79" fmla="*/ 783007 w 2135759"/>
              <a:gd name="connsiteY79" fmla="*/ 261550 h 662520"/>
              <a:gd name="connsiteX80" fmla="*/ 806137 w 2135759"/>
              <a:gd name="connsiteY80" fmla="*/ 230469 h 662520"/>
              <a:gd name="connsiteX81" fmla="*/ 813866 w 2135759"/>
              <a:gd name="connsiteY81" fmla="*/ 186804 h 662520"/>
              <a:gd name="connsiteX82" fmla="*/ 808513 w 2135759"/>
              <a:gd name="connsiteY82" fmla="*/ 149115 h 662520"/>
              <a:gd name="connsiteX83" fmla="*/ 792160 w 2135759"/>
              <a:gd name="connsiteY83" fmla="*/ 121104 h 662520"/>
              <a:gd name="connsiteX84" fmla="*/ 764365 w 2135759"/>
              <a:gd name="connsiteY84" fmla="*/ 103651 h 662520"/>
              <a:gd name="connsiteX85" fmla="*/ 724687 w 2135759"/>
              <a:gd name="connsiteY85" fmla="*/ 97637 h 662520"/>
              <a:gd name="connsiteX86" fmla="*/ 687243 w 2135759"/>
              <a:gd name="connsiteY86" fmla="*/ 102374 h 662520"/>
              <a:gd name="connsiteX87" fmla="*/ 657456 w 2135759"/>
              <a:gd name="connsiteY87" fmla="*/ 115117 h 662520"/>
              <a:gd name="connsiteX88" fmla="*/ 634533 w 2135759"/>
              <a:gd name="connsiteY88" fmla="*/ 133668 h 662520"/>
              <a:gd name="connsiteX89" fmla="*/ 617677 w 2135759"/>
              <a:gd name="connsiteY89" fmla="*/ 155828 h 662520"/>
              <a:gd name="connsiteX90" fmla="*/ 539775 w 2135759"/>
              <a:gd name="connsiteY90" fmla="*/ 155828 h 662520"/>
              <a:gd name="connsiteX91" fmla="*/ 539775 w 2135759"/>
              <a:gd name="connsiteY91" fmla="*/ 33807 h 662520"/>
              <a:gd name="connsiteX92" fmla="*/ 584006 w 2135759"/>
              <a:gd name="connsiteY92" fmla="*/ 19813 h 662520"/>
              <a:gd name="connsiteX93" fmla="*/ 631056 w 2135759"/>
              <a:gd name="connsiteY93" fmla="*/ 9159 h 662520"/>
              <a:gd name="connsiteX94" fmla="*/ 681278 w 2135759"/>
              <a:gd name="connsiteY94" fmla="*/ 2378 h 662520"/>
              <a:gd name="connsiteX95" fmla="*/ 735025 w 2135759"/>
              <a:gd name="connsiteY95" fmla="*/ 0 h 662520"/>
              <a:gd name="connsiteX96" fmla="*/ 790395 w 2135759"/>
              <a:gd name="connsiteY96" fmla="*/ 3158 h 662520"/>
              <a:gd name="connsiteX97" fmla="*/ 838689 w 2135759"/>
              <a:gd name="connsiteY97" fmla="*/ 12853 h 662520"/>
              <a:gd name="connsiteX98" fmla="*/ 879380 w 2135759"/>
              <a:gd name="connsiteY98" fmla="*/ 29412 h 662520"/>
              <a:gd name="connsiteX99" fmla="*/ 911943 w 2135759"/>
              <a:gd name="connsiteY99" fmla="*/ 53163 h 662520"/>
              <a:gd name="connsiteX100" fmla="*/ 935853 w 2135759"/>
              <a:gd name="connsiteY100" fmla="*/ 84435 h 662520"/>
              <a:gd name="connsiteX101" fmla="*/ 950584 w 2135759"/>
              <a:gd name="connsiteY101" fmla="*/ 123555 h 662520"/>
              <a:gd name="connsiteX102" fmla="*/ 955611 w 2135759"/>
              <a:gd name="connsiteY102" fmla="*/ 170853 h 662520"/>
              <a:gd name="connsiteX103" fmla="*/ 949453 w 2135759"/>
              <a:gd name="connsiteY103" fmla="*/ 219568 h 662520"/>
              <a:gd name="connsiteX104" fmla="*/ 931581 w 2135759"/>
              <a:gd name="connsiteY104" fmla="*/ 258234 h 662520"/>
              <a:gd name="connsiteX105" fmla="*/ 902895 w 2135759"/>
              <a:gd name="connsiteY105" fmla="*/ 287843 h 662520"/>
              <a:gd name="connsiteX106" fmla="*/ 864296 w 2135759"/>
              <a:gd name="connsiteY106" fmla="*/ 309388 h 662520"/>
              <a:gd name="connsiteX107" fmla="*/ 816686 w 2135759"/>
              <a:gd name="connsiteY107" fmla="*/ 323862 h 662520"/>
              <a:gd name="connsiteX108" fmla="*/ 816686 w 2135759"/>
              <a:gd name="connsiteY108" fmla="*/ 327609 h 662520"/>
              <a:gd name="connsiteX109" fmla="*/ 870681 w 2135759"/>
              <a:gd name="connsiteY109" fmla="*/ 340566 h 662520"/>
              <a:gd name="connsiteX110" fmla="*/ 912283 w 2135759"/>
              <a:gd name="connsiteY110" fmla="*/ 362534 h 662520"/>
              <a:gd name="connsiteX111" fmla="*/ 941719 w 2135759"/>
              <a:gd name="connsiteY111" fmla="*/ 393513 h 662520"/>
              <a:gd name="connsiteX112" fmla="*/ 959215 w 2135759"/>
              <a:gd name="connsiteY112" fmla="*/ 433502 h 662520"/>
              <a:gd name="connsiteX113" fmla="*/ 964996 w 2135759"/>
              <a:gd name="connsiteY113" fmla="*/ 482498 h 662520"/>
              <a:gd name="connsiteX114" fmla="*/ 959936 w 2135759"/>
              <a:gd name="connsiteY114" fmla="*/ 527743 h 662520"/>
              <a:gd name="connsiteX115" fmla="*/ 944659 w 2135759"/>
              <a:gd name="connsiteY115" fmla="*/ 567021 h 662520"/>
              <a:gd name="connsiteX116" fmla="*/ 920122 w 2135759"/>
              <a:gd name="connsiteY116" fmla="*/ 600232 h 662520"/>
              <a:gd name="connsiteX117" fmla="*/ 887285 w 2135759"/>
              <a:gd name="connsiteY117" fmla="*/ 627278 h 662520"/>
              <a:gd name="connsiteX118" fmla="*/ 847106 w 2135759"/>
              <a:gd name="connsiteY118" fmla="*/ 648061 h 662520"/>
              <a:gd name="connsiteX119" fmla="*/ 800544 w 2135759"/>
              <a:gd name="connsiteY119" fmla="*/ 662482 h 662520"/>
              <a:gd name="connsiteX120" fmla="*/ 1360843 w 2135759"/>
              <a:gd name="connsiteY120" fmla="*/ 662495 h 662520"/>
              <a:gd name="connsiteX121" fmla="*/ 1322871 w 2135759"/>
              <a:gd name="connsiteY121" fmla="*/ 649352 h 662520"/>
              <a:gd name="connsiteX122" fmla="*/ 1287296 w 2135759"/>
              <a:gd name="connsiteY122" fmla="*/ 630560 h 662520"/>
              <a:gd name="connsiteX123" fmla="*/ 1254670 w 2135759"/>
              <a:gd name="connsiteY123" fmla="*/ 606062 h 662520"/>
              <a:gd name="connsiteX124" fmla="*/ 1225546 w 2135759"/>
              <a:gd name="connsiteY124" fmla="*/ 575802 h 662520"/>
              <a:gd name="connsiteX125" fmla="*/ 1200477 w 2135759"/>
              <a:gd name="connsiteY125" fmla="*/ 539722 h 662520"/>
              <a:gd name="connsiteX126" fmla="*/ 1180016 w 2135759"/>
              <a:gd name="connsiteY126" fmla="*/ 497766 h 662520"/>
              <a:gd name="connsiteX127" fmla="*/ 1164717 w 2135759"/>
              <a:gd name="connsiteY127" fmla="*/ 449876 h 662520"/>
              <a:gd name="connsiteX128" fmla="*/ 1155131 w 2135759"/>
              <a:gd name="connsiteY128" fmla="*/ 395995 h 662520"/>
              <a:gd name="connsiteX129" fmla="*/ 1151813 w 2135759"/>
              <a:gd name="connsiteY129" fmla="*/ 336067 h 662520"/>
              <a:gd name="connsiteX130" fmla="*/ 1155053 w 2135759"/>
              <a:gd name="connsiteY130" fmla="*/ 276826 h 662520"/>
              <a:gd name="connsiteX131" fmla="*/ 1164415 w 2135759"/>
              <a:gd name="connsiteY131" fmla="*/ 223488 h 662520"/>
              <a:gd name="connsiteX132" fmla="*/ 1179368 w 2135759"/>
              <a:gd name="connsiteY132" fmla="*/ 175997 h 662520"/>
              <a:gd name="connsiteX133" fmla="*/ 1199377 w 2135759"/>
              <a:gd name="connsiteY133" fmla="*/ 134299 h 662520"/>
              <a:gd name="connsiteX134" fmla="*/ 1223910 w 2135759"/>
              <a:gd name="connsiteY134" fmla="*/ 98339 h 662520"/>
              <a:gd name="connsiteX135" fmla="*/ 1252434 w 2135759"/>
              <a:gd name="connsiteY135" fmla="*/ 68062 h 662520"/>
              <a:gd name="connsiteX136" fmla="*/ 1284414 w 2135759"/>
              <a:gd name="connsiteY136" fmla="*/ 43413 h 662520"/>
              <a:gd name="connsiteX137" fmla="*/ 1319318 w 2135759"/>
              <a:gd name="connsiteY137" fmla="*/ 24337 h 662520"/>
              <a:gd name="connsiteX138" fmla="*/ 1356613 w 2135759"/>
              <a:gd name="connsiteY138" fmla="*/ 10780 h 662520"/>
              <a:gd name="connsiteX139" fmla="*/ 1395766 w 2135759"/>
              <a:gd name="connsiteY139" fmla="*/ 2685 h 662520"/>
              <a:gd name="connsiteX140" fmla="*/ 1436243 w 2135759"/>
              <a:gd name="connsiteY140" fmla="*/ 0 h 662520"/>
              <a:gd name="connsiteX141" fmla="*/ 1476722 w 2135759"/>
              <a:gd name="connsiteY141" fmla="*/ 2685 h 662520"/>
              <a:gd name="connsiteX142" fmla="*/ 1515876 w 2135759"/>
              <a:gd name="connsiteY142" fmla="*/ 10780 h 662520"/>
              <a:gd name="connsiteX143" fmla="*/ 1553172 w 2135759"/>
              <a:gd name="connsiteY143" fmla="*/ 24337 h 662520"/>
              <a:gd name="connsiteX144" fmla="*/ 1588076 w 2135759"/>
              <a:gd name="connsiteY144" fmla="*/ 43413 h 662520"/>
              <a:gd name="connsiteX145" fmla="*/ 1620056 w 2135759"/>
              <a:gd name="connsiteY145" fmla="*/ 68062 h 662520"/>
              <a:gd name="connsiteX146" fmla="*/ 1648579 w 2135759"/>
              <a:gd name="connsiteY146" fmla="*/ 98339 h 662520"/>
              <a:gd name="connsiteX147" fmla="*/ 1673111 w 2135759"/>
              <a:gd name="connsiteY147" fmla="*/ 134299 h 662520"/>
              <a:gd name="connsiteX148" fmla="*/ 1693119 w 2135759"/>
              <a:gd name="connsiteY148" fmla="*/ 175997 h 662520"/>
              <a:gd name="connsiteX149" fmla="*/ 1708071 w 2135759"/>
              <a:gd name="connsiteY149" fmla="*/ 223488 h 662520"/>
              <a:gd name="connsiteX150" fmla="*/ 1717433 w 2135759"/>
              <a:gd name="connsiteY150" fmla="*/ 276826 h 662520"/>
              <a:gd name="connsiteX151" fmla="*/ 1720672 w 2135759"/>
              <a:gd name="connsiteY151" fmla="*/ 336067 h 662520"/>
              <a:gd name="connsiteX152" fmla="*/ 1717354 w 2135759"/>
              <a:gd name="connsiteY152" fmla="*/ 395995 h 662520"/>
              <a:gd name="connsiteX153" fmla="*/ 1707768 w 2135759"/>
              <a:gd name="connsiteY153" fmla="*/ 449876 h 662520"/>
              <a:gd name="connsiteX154" fmla="*/ 1692469 w 2135759"/>
              <a:gd name="connsiteY154" fmla="*/ 497766 h 662520"/>
              <a:gd name="connsiteX155" fmla="*/ 1672008 w 2135759"/>
              <a:gd name="connsiteY155" fmla="*/ 539722 h 662520"/>
              <a:gd name="connsiteX156" fmla="*/ 1646939 w 2135759"/>
              <a:gd name="connsiteY156" fmla="*/ 575802 h 662520"/>
              <a:gd name="connsiteX157" fmla="*/ 1617815 w 2135759"/>
              <a:gd name="connsiteY157" fmla="*/ 606062 h 662520"/>
              <a:gd name="connsiteX158" fmla="*/ 1585189 w 2135759"/>
              <a:gd name="connsiteY158" fmla="*/ 630560 h 662520"/>
              <a:gd name="connsiteX159" fmla="*/ 1549614 w 2135759"/>
              <a:gd name="connsiteY159" fmla="*/ 649352 h 662520"/>
              <a:gd name="connsiteX160" fmla="*/ 1511642 w 2135759"/>
              <a:gd name="connsiteY160" fmla="*/ 662495 h 662520"/>
              <a:gd name="connsiteX161" fmla="*/ 1943430 w 2135759"/>
              <a:gd name="connsiteY161" fmla="*/ 662495 h 662520"/>
              <a:gd name="connsiteX162" fmla="*/ 1905459 w 2135759"/>
              <a:gd name="connsiteY162" fmla="*/ 649348 h 662520"/>
              <a:gd name="connsiteX163" fmla="*/ 1869885 w 2135759"/>
              <a:gd name="connsiteY163" fmla="*/ 630555 h 662520"/>
              <a:gd name="connsiteX164" fmla="*/ 1837261 w 2135759"/>
              <a:gd name="connsiteY164" fmla="*/ 606057 h 662520"/>
              <a:gd name="connsiteX165" fmla="*/ 1808138 w 2135759"/>
              <a:gd name="connsiteY165" fmla="*/ 575797 h 662520"/>
              <a:gd name="connsiteX166" fmla="*/ 1783072 w 2135759"/>
              <a:gd name="connsiteY166" fmla="*/ 539718 h 662520"/>
              <a:gd name="connsiteX167" fmla="*/ 1762613 w 2135759"/>
              <a:gd name="connsiteY167" fmla="*/ 497763 h 662520"/>
              <a:gd name="connsiteX168" fmla="*/ 1747315 w 2135759"/>
              <a:gd name="connsiteY168" fmla="*/ 449874 h 662520"/>
              <a:gd name="connsiteX169" fmla="*/ 1737731 w 2135759"/>
              <a:gd name="connsiteY169" fmla="*/ 395995 h 662520"/>
              <a:gd name="connsiteX170" fmla="*/ 1734413 w 2135759"/>
              <a:gd name="connsiteY170" fmla="*/ 336067 h 662520"/>
              <a:gd name="connsiteX171" fmla="*/ 1737652 w 2135759"/>
              <a:gd name="connsiteY171" fmla="*/ 276826 h 662520"/>
              <a:gd name="connsiteX172" fmla="*/ 1747014 w 2135759"/>
              <a:gd name="connsiteY172" fmla="*/ 223488 h 662520"/>
              <a:gd name="connsiteX173" fmla="*/ 1761965 w 2135759"/>
              <a:gd name="connsiteY173" fmla="*/ 175997 h 662520"/>
              <a:gd name="connsiteX174" fmla="*/ 1781973 w 2135759"/>
              <a:gd name="connsiteY174" fmla="*/ 134299 h 662520"/>
              <a:gd name="connsiteX175" fmla="*/ 1806505 w 2135759"/>
              <a:gd name="connsiteY175" fmla="*/ 98339 h 662520"/>
              <a:gd name="connsiteX176" fmla="*/ 1835026 w 2135759"/>
              <a:gd name="connsiteY176" fmla="*/ 68062 h 662520"/>
              <a:gd name="connsiteX177" fmla="*/ 1867005 w 2135759"/>
              <a:gd name="connsiteY177" fmla="*/ 43413 h 662520"/>
              <a:gd name="connsiteX178" fmla="*/ 1901908 w 2135759"/>
              <a:gd name="connsiteY178" fmla="*/ 24337 h 662520"/>
              <a:gd name="connsiteX179" fmla="*/ 1939202 w 2135759"/>
              <a:gd name="connsiteY179" fmla="*/ 10780 h 662520"/>
              <a:gd name="connsiteX180" fmla="*/ 1978353 w 2135759"/>
              <a:gd name="connsiteY180" fmla="*/ 2685 h 662520"/>
              <a:gd name="connsiteX181" fmla="*/ 2018830 w 2135759"/>
              <a:gd name="connsiteY181" fmla="*/ 0 h 662520"/>
              <a:gd name="connsiteX182" fmla="*/ 2059309 w 2135759"/>
              <a:gd name="connsiteY182" fmla="*/ 2685 h 662520"/>
              <a:gd name="connsiteX183" fmla="*/ 2098463 w 2135759"/>
              <a:gd name="connsiteY183" fmla="*/ 10780 h 662520"/>
              <a:gd name="connsiteX184" fmla="*/ 2135759 w 2135759"/>
              <a:gd name="connsiteY184" fmla="*/ 24337 h 662520"/>
              <a:gd name="connsiteX0" fmla="*/ 74231 w 2098463"/>
              <a:gd name="connsiteY0" fmla="*/ 662482 h 662520"/>
              <a:gd name="connsiteX1" fmla="*/ 60344 w 2098463"/>
              <a:gd name="connsiteY1" fmla="*/ 659582 h 662520"/>
              <a:gd name="connsiteX2" fmla="*/ 47517 w 2098463"/>
              <a:gd name="connsiteY2" fmla="*/ 656437 h 662520"/>
              <a:gd name="connsiteX3" fmla="*/ 35823 w 2098463"/>
              <a:gd name="connsiteY3" fmla="*/ 653092 h 662520"/>
              <a:gd name="connsiteX4" fmla="*/ 25336 w 2098463"/>
              <a:gd name="connsiteY4" fmla="*/ 649592 h 662520"/>
              <a:gd name="connsiteX5" fmla="*/ 25336 w 2098463"/>
              <a:gd name="connsiteY5" fmla="*/ 533196 h 662520"/>
              <a:gd name="connsiteX6" fmla="*/ 104190 w 2098463"/>
              <a:gd name="connsiteY6" fmla="*/ 533196 h 662520"/>
              <a:gd name="connsiteX7" fmla="*/ 116931 w 2098463"/>
              <a:gd name="connsiteY7" fmla="*/ 550133 h 662520"/>
              <a:gd name="connsiteX8" fmla="*/ 135043 w 2098463"/>
              <a:gd name="connsiteY8" fmla="*/ 564522 h 662520"/>
              <a:gd name="connsiteX9" fmla="*/ 160020 w 2098463"/>
              <a:gd name="connsiteY9" fmla="*/ 574514 h 662520"/>
              <a:gd name="connsiteX10" fmla="*/ 193357 w 2098463"/>
              <a:gd name="connsiteY10" fmla="*/ 578256 h 662520"/>
              <a:gd name="connsiteX11" fmla="*/ 233829 w 2098463"/>
              <a:gd name="connsiteY11" fmla="*/ 573672 h 662520"/>
              <a:gd name="connsiteX12" fmla="*/ 297105 w 2098463"/>
              <a:gd name="connsiteY12" fmla="*/ 537246 h 662520"/>
              <a:gd name="connsiteX13" fmla="*/ 320040 w 2098463"/>
              <a:gd name="connsiteY13" fmla="*/ 505568 h 662520"/>
              <a:gd name="connsiteX14" fmla="*/ 337261 w 2098463"/>
              <a:gd name="connsiteY14" fmla="*/ 465022 h 662520"/>
              <a:gd name="connsiteX15" fmla="*/ 348834 w 2098463"/>
              <a:gd name="connsiteY15" fmla="*/ 415691 h 662520"/>
              <a:gd name="connsiteX16" fmla="*/ 354825 w 2098463"/>
              <a:gd name="connsiteY16" fmla="*/ 357657 h 662520"/>
              <a:gd name="connsiteX17" fmla="*/ 325357 w 2098463"/>
              <a:gd name="connsiteY17" fmla="*/ 385098 h 662520"/>
              <a:gd name="connsiteX18" fmla="*/ 289466 w 2098463"/>
              <a:gd name="connsiteY18" fmla="*/ 406117 h 662520"/>
              <a:gd name="connsiteX19" fmla="*/ 247767 w 2098463"/>
              <a:gd name="connsiteY19" fmla="*/ 419568 h 662520"/>
              <a:gd name="connsiteX20" fmla="*/ 200875 w 2098463"/>
              <a:gd name="connsiteY20" fmla="*/ 424306 h 662520"/>
              <a:gd name="connsiteX21" fmla="*/ 153099 w 2098463"/>
              <a:gd name="connsiteY21" fmla="*/ 420031 h 662520"/>
              <a:gd name="connsiteX22" fmla="*/ 110150 w 2098463"/>
              <a:gd name="connsiteY22" fmla="*/ 407348 h 662520"/>
              <a:gd name="connsiteX23" fmla="*/ 72948 w 2098463"/>
              <a:gd name="connsiteY23" fmla="*/ 386472 h 662520"/>
              <a:gd name="connsiteX24" fmla="*/ 42412 w 2098463"/>
              <a:gd name="connsiteY24" fmla="*/ 357614 h 662520"/>
              <a:gd name="connsiteX25" fmla="*/ 19463 w 2098463"/>
              <a:gd name="connsiteY25" fmla="*/ 320990 h 662520"/>
              <a:gd name="connsiteX26" fmla="*/ 5019 w 2098463"/>
              <a:gd name="connsiteY26" fmla="*/ 276814 h 662520"/>
              <a:gd name="connsiteX27" fmla="*/ 0 w 2098463"/>
              <a:gd name="connsiteY27" fmla="*/ 225297 h 662520"/>
              <a:gd name="connsiteX28" fmla="*/ 4447 w 2098463"/>
              <a:gd name="connsiteY28" fmla="*/ 178425 h 662520"/>
              <a:gd name="connsiteX29" fmla="*/ 17453 w 2098463"/>
              <a:gd name="connsiteY29" fmla="*/ 135445 h 662520"/>
              <a:gd name="connsiteX30" fmla="*/ 38511 w 2098463"/>
              <a:gd name="connsiteY30" fmla="*/ 97085 h 662520"/>
              <a:gd name="connsiteX31" fmla="*/ 67116 w 2098463"/>
              <a:gd name="connsiteY31" fmla="*/ 64071 h 662520"/>
              <a:gd name="connsiteX32" fmla="*/ 102760 w 2098463"/>
              <a:gd name="connsiteY32" fmla="*/ 37129 h 662520"/>
              <a:gd name="connsiteX33" fmla="*/ 144939 w 2098463"/>
              <a:gd name="connsiteY33" fmla="*/ 16986 h 662520"/>
              <a:gd name="connsiteX34" fmla="*/ 193146 w 2098463"/>
              <a:gd name="connsiteY34" fmla="*/ 4367 h 662520"/>
              <a:gd name="connsiteX35" fmla="*/ 246875 w 2098463"/>
              <a:gd name="connsiteY35" fmla="*/ 0 h 662520"/>
              <a:gd name="connsiteX36" fmla="*/ 290625 w 2098463"/>
              <a:gd name="connsiteY36" fmla="*/ 2882 h 662520"/>
              <a:gd name="connsiteX37" fmla="*/ 331492 w 2098463"/>
              <a:gd name="connsiteY37" fmla="*/ 11678 h 662520"/>
              <a:gd name="connsiteX38" fmla="*/ 369070 w 2098463"/>
              <a:gd name="connsiteY38" fmla="*/ 26614 h 662520"/>
              <a:gd name="connsiteX39" fmla="*/ 402953 w 2098463"/>
              <a:gd name="connsiteY39" fmla="*/ 47914 h 662520"/>
              <a:gd name="connsiteX40" fmla="*/ 432736 w 2098463"/>
              <a:gd name="connsiteY40" fmla="*/ 75804 h 662520"/>
              <a:gd name="connsiteX41" fmla="*/ 458013 w 2098463"/>
              <a:gd name="connsiteY41" fmla="*/ 110509 h 662520"/>
              <a:gd name="connsiteX42" fmla="*/ 478379 w 2098463"/>
              <a:gd name="connsiteY42" fmla="*/ 152255 h 662520"/>
              <a:gd name="connsiteX43" fmla="*/ 493429 w 2098463"/>
              <a:gd name="connsiteY43" fmla="*/ 201265 h 662520"/>
              <a:gd name="connsiteX44" fmla="*/ 502756 w 2098463"/>
              <a:gd name="connsiteY44" fmla="*/ 257766 h 662520"/>
              <a:gd name="connsiteX45" fmla="*/ 505955 w 2098463"/>
              <a:gd name="connsiteY45" fmla="*/ 321983 h 662520"/>
              <a:gd name="connsiteX46" fmla="*/ 503406 w 2098463"/>
              <a:gd name="connsiteY46" fmla="*/ 376707 h 662520"/>
              <a:gd name="connsiteX47" fmla="*/ 495858 w 2098463"/>
              <a:gd name="connsiteY47" fmla="*/ 427041 h 662520"/>
              <a:gd name="connsiteX48" fmla="*/ 483456 w 2098463"/>
              <a:gd name="connsiteY48" fmla="*/ 472909 h 662520"/>
              <a:gd name="connsiteX49" fmla="*/ 466346 w 2098463"/>
              <a:gd name="connsiteY49" fmla="*/ 514232 h 662520"/>
              <a:gd name="connsiteX50" fmla="*/ 444674 w 2098463"/>
              <a:gd name="connsiteY50" fmla="*/ 550937 h 662520"/>
              <a:gd name="connsiteX51" fmla="*/ 418587 w 2098463"/>
              <a:gd name="connsiteY51" fmla="*/ 582945 h 662520"/>
              <a:gd name="connsiteX52" fmla="*/ 388229 w 2098463"/>
              <a:gd name="connsiteY52" fmla="*/ 610181 h 662520"/>
              <a:gd name="connsiteX53" fmla="*/ 353748 w 2098463"/>
              <a:gd name="connsiteY53" fmla="*/ 632569 h 662520"/>
              <a:gd name="connsiteX54" fmla="*/ 315289 w 2098463"/>
              <a:gd name="connsiteY54" fmla="*/ 650033 h 662520"/>
              <a:gd name="connsiteX55" fmla="*/ 272999 w 2098463"/>
              <a:gd name="connsiteY55" fmla="*/ 662495 h 662520"/>
              <a:gd name="connsiteX56" fmla="*/ 592162 w 2098463"/>
              <a:gd name="connsiteY56" fmla="*/ 662520 h 662520"/>
              <a:gd name="connsiteX57" fmla="*/ 571167 w 2098463"/>
              <a:gd name="connsiteY57" fmla="*/ 658030 h 662520"/>
              <a:gd name="connsiteX58" fmla="*/ 551373 w 2098463"/>
              <a:gd name="connsiteY58" fmla="*/ 652783 h 662520"/>
              <a:gd name="connsiteX59" fmla="*/ 532537 w 2098463"/>
              <a:gd name="connsiteY59" fmla="*/ 646826 h 662520"/>
              <a:gd name="connsiteX60" fmla="*/ 514413 w 2098463"/>
              <a:gd name="connsiteY60" fmla="*/ 640206 h 662520"/>
              <a:gd name="connsiteX61" fmla="*/ 514413 w 2098463"/>
              <a:gd name="connsiteY61" fmla="*/ 516293 h 662520"/>
              <a:gd name="connsiteX62" fmla="*/ 596087 w 2098463"/>
              <a:gd name="connsiteY62" fmla="*/ 516293 h 662520"/>
              <a:gd name="connsiteX63" fmla="*/ 612203 w 2098463"/>
              <a:gd name="connsiteY63" fmla="*/ 539439 h 662520"/>
              <a:gd name="connsiteX64" fmla="*/ 635627 w 2098463"/>
              <a:gd name="connsiteY64" fmla="*/ 559242 h 662520"/>
              <a:gd name="connsiteX65" fmla="*/ 666972 w 2098463"/>
              <a:gd name="connsiteY65" fmla="*/ 573062 h 662520"/>
              <a:gd name="connsiteX66" fmla="*/ 706856 w 2098463"/>
              <a:gd name="connsiteY66" fmla="*/ 578256 h 662520"/>
              <a:gd name="connsiteX67" fmla="*/ 749359 w 2098463"/>
              <a:gd name="connsiteY67" fmla="*/ 571758 h 662520"/>
              <a:gd name="connsiteX68" fmla="*/ 784298 w 2098463"/>
              <a:gd name="connsiteY68" fmla="*/ 552322 h 662520"/>
              <a:gd name="connsiteX69" fmla="*/ 807972 w 2098463"/>
              <a:gd name="connsiteY69" fmla="*/ 520038 h 662520"/>
              <a:gd name="connsiteX70" fmla="*/ 816686 w 2098463"/>
              <a:gd name="connsiteY70" fmla="*/ 474992 h 662520"/>
              <a:gd name="connsiteX71" fmla="*/ 809424 w 2098463"/>
              <a:gd name="connsiteY71" fmla="*/ 430240 h 662520"/>
              <a:gd name="connsiteX72" fmla="*/ 787466 w 2098463"/>
              <a:gd name="connsiteY72" fmla="*/ 398602 h 662520"/>
              <a:gd name="connsiteX73" fmla="*/ 750549 w 2098463"/>
              <a:gd name="connsiteY73" fmla="*/ 379812 h 662520"/>
              <a:gd name="connsiteX74" fmla="*/ 698411 w 2098463"/>
              <a:gd name="connsiteY74" fmla="*/ 373608 h 662520"/>
              <a:gd name="connsiteX75" fmla="*/ 649592 w 2098463"/>
              <a:gd name="connsiteY75" fmla="*/ 373608 h 662520"/>
              <a:gd name="connsiteX76" fmla="*/ 649592 w 2098463"/>
              <a:gd name="connsiteY76" fmla="*/ 286308 h 662520"/>
              <a:gd name="connsiteX77" fmla="*/ 690892 w 2098463"/>
              <a:gd name="connsiteY77" fmla="*/ 286308 h 662520"/>
              <a:gd name="connsiteX78" fmla="*/ 744563 w 2098463"/>
              <a:gd name="connsiteY78" fmla="*/ 280133 h 662520"/>
              <a:gd name="connsiteX79" fmla="*/ 783007 w 2098463"/>
              <a:gd name="connsiteY79" fmla="*/ 261550 h 662520"/>
              <a:gd name="connsiteX80" fmla="*/ 806137 w 2098463"/>
              <a:gd name="connsiteY80" fmla="*/ 230469 h 662520"/>
              <a:gd name="connsiteX81" fmla="*/ 813866 w 2098463"/>
              <a:gd name="connsiteY81" fmla="*/ 186804 h 662520"/>
              <a:gd name="connsiteX82" fmla="*/ 808513 w 2098463"/>
              <a:gd name="connsiteY82" fmla="*/ 149115 h 662520"/>
              <a:gd name="connsiteX83" fmla="*/ 792160 w 2098463"/>
              <a:gd name="connsiteY83" fmla="*/ 121104 h 662520"/>
              <a:gd name="connsiteX84" fmla="*/ 764365 w 2098463"/>
              <a:gd name="connsiteY84" fmla="*/ 103651 h 662520"/>
              <a:gd name="connsiteX85" fmla="*/ 724687 w 2098463"/>
              <a:gd name="connsiteY85" fmla="*/ 97637 h 662520"/>
              <a:gd name="connsiteX86" fmla="*/ 687243 w 2098463"/>
              <a:gd name="connsiteY86" fmla="*/ 102374 h 662520"/>
              <a:gd name="connsiteX87" fmla="*/ 657456 w 2098463"/>
              <a:gd name="connsiteY87" fmla="*/ 115117 h 662520"/>
              <a:gd name="connsiteX88" fmla="*/ 634533 w 2098463"/>
              <a:gd name="connsiteY88" fmla="*/ 133668 h 662520"/>
              <a:gd name="connsiteX89" fmla="*/ 617677 w 2098463"/>
              <a:gd name="connsiteY89" fmla="*/ 155828 h 662520"/>
              <a:gd name="connsiteX90" fmla="*/ 539775 w 2098463"/>
              <a:gd name="connsiteY90" fmla="*/ 155828 h 662520"/>
              <a:gd name="connsiteX91" fmla="*/ 539775 w 2098463"/>
              <a:gd name="connsiteY91" fmla="*/ 33807 h 662520"/>
              <a:gd name="connsiteX92" fmla="*/ 584006 w 2098463"/>
              <a:gd name="connsiteY92" fmla="*/ 19813 h 662520"/>
              <a:gd name="connsiteX93" fmla="*/ 631056 w 2098463"/>
              <a:gd name="connsiteY93" fmla="*/ 9159 h 662520"/>
              <a:gd name="connsiteX94" fmla="*/ 681278 w 2098463"/>
              <a:gd name="connsiteY94" fmla="*/ 2378 h 662520"/>
              <a:gd name="connsiteX95" fmla="*/ 735025 w 2098463"/>
              <a:gd name="connsiteY95" fmla="*/ 0 h 662520"/>
              <a:gd name="connsiteX96" fmla="*/ 790395 w 2098463"/>
              <a:gd name="connsiteY96" fmla="*/ 3158 h 662520"/>
              <a:gd name="connsiteX97" fmla="*/ 838689 w 2098463"/>
              <a:gd name="connsiteY97" fmla="*/ 12853 h 662520"/>
              <a:gd name="connsiteX98" fmla="*/ 879380 w 2098463"/>
              <a:gd name="connsiteY98" fmla="*/ 29412 h 662520"/>
              <a:gd name="connsiteX99" fmla="*/ 911943 w 2098463"/>
              <a:gd name="connsiteY99" fmla="*/ 53163 h 662520"/>
              <a:gd name="connsiteX100" fmla="*/ 935853 w 2098463"/>
              <a:gd name="connsiteY100" fmla="*/ 84435 h 662520"/>
              <a:gd name="connsiteX101" fmla="*/ 950584 w 2098463"/>
              <a:gd name="connsiteY101" fmla="*/ 123555 h 662520"/>
              <a:gd name="connsiteX102" fmla="*/ 955611 w 2098463"/>
              <a:gd name="connsiteY102" fmla="*/ 170853 h 662520"/>
              <a:gd name="connsiteX103" fmla="*/ 949453 w 2098463"/>
              <a:gd name="connsiteY103" fmla="*/ 219568 h 662520"/>
              <a:gd name="connsiteX104" fmla="*/ 931581 w 2098463"/>
              <a:gd name="connsiteY104" fmla="*/ 258234 h 662520"/>
              <a:gd name="connsiteX105" fmla="*/ 902895 w 2098463"/>
              <a:gd name="connsiteY105" fmla="*/ 287843 h 662520"/>
              <a:gd name="connsiteX106" fmla="*/ 864296 w 2098463"/>
              <a:gd name="connsiteY106" fmla="*/ 309388 h 662520"/>
              <a:gd name="connsiteX107" fmla="*/ 816686 w 2098463"/>
              <a:gd name="connsiteY107" fmla="*/ 323862 h 662520"/>
              <a:gd name="connsiteX108" fmla="*/ 816686 w 2098463"/>
              <a:gd name="connsiteY108" fmla="*/ 327609 h 662520"/>
              <a:gd name="connsiteX109" fmla="*/ 870681 w 2098463"/>
              <a:gd name="connsiteY109" fmla="*/ 340566 h 662520"/>
              <a:gd name="connsiteX110" fmla="*/ 912283 w 2098463"/>
              <a:gd name="connsiteY110" fmla="*/ 362534 h 662520"/>
              <a:gd name="connsiteX111" fmla="*/ 941719 w 2098463"/>
              <a:gd name="connsiteY111" fmla="*/ 393513 h 662520"/>
              <a:gd name="connsiteX112" fmla="*/ 959215 w 2098463"/>
              <a:gd name="connsiteY112" fmla="*/ 433502 h 662520"/>
              <a:gd name="connsiteX113" fmla="*/ 964996 w 2098463"/>
              <a:gd name="connsiteY113" fmla="*/ 482498 h 662520"/>
              <a:gd name="connsiteX114" fmla="*/ 959936 w 2098463"/>
              <a:gd name="connsiteY114" fmla="*/ 527743 h 662520"/>
              <a:gd name="connsiteX115" fmla="*/ 944659 w 2098463"/>
              <a:gd name="connsiteY115" fmla="*/ 567021 h 662520"/>
              <a:gd name="connsiteX116" fmla="*/ 920122 w 2098463"/>
              <a:gd name="connsiteY116" fmla="*/ 600232 h 662520"/>
              <a:gd name="connsiteX117" fmla="*/ 887285 w 2098463"/>
              <a:gd name="connsiteY117" fmla="*/ 627278 h 662520"/>
              <a:gd name="connsiteX118" fmla="*/ 847106 w 2098463"/>
              <a:gd name="connsiteY118" fmla="*/ 648061 h 662520"/>
              <a:gd name="connsiteX119" fmla="*/ 800544 w 2098463"/>
              <a:gd name="connsiteY119" fmla="*/ 662482 h 662520"/>
              <a:gd name="connsiteX120" fmla="*/ 1360843 w 2098463"/>
              <a:gd name="connsiteY120" fmla="*/ 662495 h 662520"/>
              <a:gd name="connsiteX121" fmla="*/ 1322871 w 2098463"/>
              <a:gd name="connsiteY121" fmla="*/ 649352 h 662520"/>
              <a:gd name="connsiteX122" fmla="*/ 1287296 w 2098463"/>
              <a:gd name="connsiteY122" fmla="*/ 630560 h 662520"/>
              <a:gd name="connsiteX123" fmla="*/ 1254670 w 2098463"/>
              <a:gd name="connsiteY123" fmla="*/ 606062 h 662520"/>
              <a:gd name="connsiteX124" fmla="*/ 1225546 w 2098463"/>
              <a:gd name="connsiteY124" fmla="*/ 575802 h 662520"/>
              <a:gd name="connsiteX125" fmla="*/ 1200477 w 2098463"/>
              <a:gd name="connsiteY125" fmla="*/ 539722 h 662520"/>
              <a:gd name="connsiteX126" fmla="*/ 1180016 w 2098463"/>
              <a:gd name="connsiteY126" fmla="*/ 497766 h 662520"/>
              <a:gd name="connsiteX127" fmla="*/ 1164717 w 2098463"/>
              <a:gd name="connsiteY127" fmla="*/ 449876 h 662520"/>
              <a:gd name="connsiteX128" fmla="*/ 1155131 w 2098463"/>
              <a:gd name="connsiteY128" fmla="*/ 395995 h 662520"/>
              <a:gd name="connsiteX129" fmla="*/ 1151813 w 2098463"/>
              <a:gd name="connsiteY129" fmla="*/ 336067 h 662520"/>
              <a:gd name="connsiteX130" fmla="*/ 1155053 w 2098463"/>
              <a:gd name="connsiteY130" fmla="*/ 276826 h 662520"/>
              <a:gd name="connsiteX131" fmla="*/ 1164415 w 2098463"/>
              <a:gd name="connsiteY131" fmla="*/ 223488 h 662520"/>
              <a:gd name="connsiteX132" fmla="*/ 1179368 w 2098463"/>
              <a:gd name="connsiteY132" fmla="*/ 175997 h 662520"/>
              <a:gd name="connsiteX133" fmla="*/ 1199377 w 2098463"/>
              <a:gd name="connsiteY133" fmla="*/ 134299 h 662520"/>
              <a:gd name="connsiteX134" fmla="*/ 1223910 w 2098463"/>
              <a:gd name="connsiteY134" fmla="*/ 98339 h 662520"/>
              <a:gd name="connsiteX135" fmla="*/ 1252434 w 2098463"/>
              <a:gd name="connsiteY135" fmla="*/ 68062 h 662520"/>
              <a:gd name="connsiteX136" fmla="*/ 1284414 w 2098463"/>
              <a:gd name="connsiteY136" fmla="*/ 43413 h 662520"/>
              <a:gd name="connsiteX137" fmla="*/ 1319318 w 2098463"/>
              <a:gd name="connsiteY137" fmla="*/ 24337 h 662520"/>
              <a:gd name="connsiteX138" fmla="*/ 1356613 w 2098463"/>
              <a:gd name="connsiteY138" fmla="*/ 10780 h 662520"/>
              <a:gd name="connsiteX139" fmla="*/ 1395766 w 2098463"/>
              <a:gd name="connsiteY139" fmla="*/ 2685 h 662520"/>
              <a:gd name="connsiteX140" fmla="*/ 1436243 w 2098463"/>
              <a:gd name="connsiteY140" fmla="*/ 0 h 662520"/>
              <a:gd name="connsiteX141" fmla="*/ 1476722 w 2098463"/>
              <a:gd name="connsiteY141" fmla="*/ 2685 h 662520"/>
              <a:gd name="connsiteX142" fmla="*/ 1515876 w 2098463"/>
              <a:gd name="connsiteY142" fmla="*/ 10780 h 662520"/>
              <a:gd name="connsiteX143" fmla="*/ 1553172 w 2098463"/>
              <a:gd name="connsiteY143" fmla="*/ 24337 h 662520"/>
              <a:gd name="connsiteX144" fmla="*/ 1588076 w 2098463"/>
              <a:gd name="connsiteY144" fmla="*/ 43413 h 662520"/>
              <a:gd name="connsiteX145" fmla="*/ 1620056 w 2098463"/>
              <a:gd name="connsiteY145" fmla="*/ 68062 h 662520"/>
              <a:gd name="connsiteX146" fmla="*/ 1648579 w 2098463"/>
              <a:gd name="connsiteY146" fmla="*/ 98339 h 662520"/>
              <a:gd name="connsiteX147" fmla="*/ 1673111 w 2098463"/>
              <a:gd name="connsiteY147" fmla="*/ 134299 h 662520"/>
              <a:gd name="connsiteX148" fmla="*/ 1693119 w 2098463"/>
              <a:gd name="connsiteY148" fmla="*/ 175997 h 662520"/>
              <a:gd name="connsiteX149" fmla="*/ 1708071 w 2098463"/>
              <a:gd name="connsiteY149" fmla="*/ 223488 h 662520"/>
              <a:gd name="connsiteX150" fmla="*/ 1717433 w 2098463"/>
              <a:gd name="connsiteY150" fmla="*/ 276826 h 662520"/>
              <a:gd name="connsiteX151" fmla="*/ 1720672 w 2098463"/>
              <a:gd name="connsiteY151" fmla="*/ 336067 h 662520"/>
              <a:gd name="connsiteX152" fmla="*/ 1717354 w 2098463"/>
              <a:gd name="connsiteY152" fmla="*/ 395995 h 662520"/>
              <a:gd name="connsiteX153" fmla="*/ 1707768 w 2098463"/>
              <a:gd name="connsiteY153" fmla="*/ 449876 h 662520"/>
              <a:gd name="connsiteX154" fmla="*/ 1692469 w 2098463"/>
              <a:gd name="connsiteY154" fmla="*/ 497766 h 662520"/>
              <a:gd name="connsiteX155" fmla="*/ 1672008 w 2098463"/>
              <a:gd name="connsiteY155" fmla="*/ 539722 h 662520"/>
              <a:gd name="connsiteX156" fmla="*/ 1646939 w 2098463"/>
              <a:gd name="connsiteY156" fmla="*/ 575802 h 662520"/>
              <a:gd name="connsiteX157" fmla="*/ 1617815 w 2098463"/>
              <a:gd name="connsiteY157" fmla="*/ 606062 h 662520"/>
              <a:gd name="connsiteX158" fmla="*/ 1585189 w 2098463"/>
              <a:gd name="connsiteY158" fmla="*/ 630560 h 662520"/>
              <a:gd name="connsiteX159" fmla="*/ 1549614 w 2098463"/>
              <a:gd name="connsiteY159" fmla="*/ 649352 h 662520"/>
              <a:gd name="connsiteX160" fmla="*/ 1511642 w 2098463"/>
              <a:gd name="connsiteY160" fmla="*/ 662495 h 662520"/>
              <a:gd name="connsiteX161" fmla="*/ 1943430 w 2098463"/>
              <a:gd name="connsiteY161" fmla="*/ 662495 h 662520"/>
              <a:gd name="connsiteX162" fmla="*/ 1905459 w 2098463"/>
              <a:gd name="connsiteY162" fmla="*/ 649348 h 662520"/>
              <a:gd name="connsiteX163" fmla="*/ 1869885 w 2098463"/>
              <a:gd name="connsiteY163" fmla="*/ 630555 h 662520"/>
              <a:gd name="connsiteX164" fmla="*/ 1837261 w 2098463"/>
              <a:gd name="connsiteY164" fmla="*/ 606057 h 662520"/>
              <a:gd name="connsiteX165" fmla="*/ 1808138 w 2098463"/>
              <a:gd name="connsiteY165" fmla="*/ 575797 h 662520"/>
              <a:gd name="connsiteX166" fmla="*/ 1783072 w 2098463"/>
              <a:gd name="connsiteY166" fmla="*/ 539718 h 662520"/>
              <a:gd name="connsiteX167" fmla="*/ 1762613 w 2098463"/>
              <a:gd name="connsiteY167" fmla="*/ 497763 h 662520"/>
              <a:gd name="connsiteX168" fmla="*/ 1747315 w 2098463"/>
              <a:gd name="connsiteY168" fmla="*/ 449874 h 662520"/>
              <a:gd name="connsiteX169" fmla="*/ 1737731 w 2098463"/>
              <a:gd name="connsiteY169" fmla="*/ 395995 h 662520"/>
              <a:gd name="connsiteX170" fmla="*/ 1734413 w 2098463"/>
              <a:gd name="connsiteY170" fmla="*/ 336067 h 662520"/>
              <a:gd name="connsiteX171" fmla="*/ 1737652 w 2098463"/>
              <a:gd name="connsiteY171" fmla="*/ 276826 h 662520"/>
              <a:gd name="connsiteX172" fmla="*/ 1747014 w 2098463"/>
              <a:gd name="connsiteY172" fmla="*/ 223488 h 662520"/>
              <a:gd name="connsiteX173" fmla="*/ 1761965 w 2098463"/>
              <a:gd name="connsiteY173" fmla="*/ 175997 h 662520"/>
              <a:gd name="connsiteX174" fmla="*/ 1781973 w 2098463"/>
              <a:gd name="connsiteY174" fmla="*/ 134299 h 662520"/>
              <a:gd name="connsiteX175" fmla="*/ 1806505 w 2098463"/>
              <a:gd name="connsiteY175" fmla="*/ 98339 h 662520"/>
              <a:gd name="connsiteX176" fmla="*/ 1835026 w 2098463"/>
              <a:gd name="connsiteY176" fmla="*/ 68062 h 662520"/>
              <a:gd name="connsiteX177" fmla="*/ 1867005 w 2098463"/>
              <a:gd name="connsiteY177" fmla="*/ 43413 h 662520"/>
              <a:gd name="connsiteX178" fmla="*/ 1901908 w 2098463"/>
              <a:gd name="connsiteY178" fmla="*/ 24337 h 662520"/>
              <a:gd name="connsiteX179" fmla="*/ 1939202 w 2098463"/>
              <a:gd name="connsiteY179" fmla="*/ 10780 h 662520"/>
              <a:gd name="connsiteX180" fmla="*/ 1978353 w 2098463"/>
              <a:gd name="connsiteY180" fmla="*/ 2685 h 662520"/>
              <a:gd name="connsiteX181" fmla="*/ 2018830 w 2098463"/>
              <a:gd name="connsiteY181" fmla="*/ 0 h 662520"/>
              <a:gd name="connsiteX182" fmla="*/ 2059309 w 2098463"/>
              <a:gd name="connsiteY182" fmla="*/ 2685 h 662520"/>
              <a:gd name="connsiteX183" fmla="*/ 2098463 w 2098463"/>
              <a:gd name="connsiteY183" fmla="*/ 10780 h 662520"/>
              <a:gd name="connsiteX0" fmla="*/ 74231 w 2059309"/>
              <a:gd name="connsiteY0" fmla="*/ 662482 h 662520"/>
              <a:gd name="connsiteX1" fmla="*/ 60344 w 2059309"/>
              <a:gd name="connsiteY1" fmla="*/ 659582 h 662520"/>
              <a:gd name="connsiteX2" fmla="*/ 47517 w 2059309"/>
              <a:gd name="connsiteY2" fmla="*/ 656437 h 662520"/>
              <a:gd name="connsiteX3" fmla="*/ 35823 w 2059309"/>
              <a:gd name="connsiteY3" fmla="*/ 653092 h 662520"/>
              <a:gd name="connsiteX4" fmla="*/ 25336 w 2059309"/>
              <a:gd name="connsiteY4" fmla="*/ 649592 h 662520"/>
              <a:gd name="connsiteX5" fmla="*/ 25336 w 2059309"/>
              <a:gd name="connsiteY5" fmla="*/ 533196 h 662520"/>
              <a:gd name="connsiteX6" fmla="*/ 104190 w 2059309"/>
              <a:gd name="connsiteY6" fmla="*/ 533196 h 662520"/>
              <a:gd name="connsiteX7" fmla="*/ 116931 w 2059309"/>
              <a:gd name="connsiteY7" fmla="*/ 550133 h 662520"/>
              <a:gd name="connsiteX8" fmla="*/ 135043 w 2059309"/>
              <a:gd name="connsiteY8" fmla="*/ 564522 h 662520"/>
              <a:gd name="connsiteX9" fmla="*/ 160020 w 2059309"/>
              <a:gd name="connsiteY9" fmla="*/ 574514 h 662520"/>
              <a:gd name="connsiteX10" fmla="*/ 193357 w 2059309"/>
              <a:gd name="connsiteY10" fmla="*/ 578256 h 662520"/>
              <a:gd name="connsiteX11" fmla="*/ 233829 w 2059309"/>
              <a:gd name="connsiteY11" fmla="*/ 573672 h 662520"/>
              <a:gd name="connsiteX12" fmla="*/ 297105 w 2059309"/>
              <a:gd name="connsiteY12" fmla="*/ 537246 h 662520"/>
              <a:gd name="connsiteX13" fmla="*/ 320040 w 2059309"/>
              <a:gd name="connsiteY13" fmla="*/ 505568 h 662520"/>
              <a:gd name="connsiteX14" fmla="*/ 337261 w 2059309"/>
              <a:gd name="connsiteY14" fmla="*/ 465022 h 662520"/>
              <a:gd name="connsiteX15" fmla="*/ 348834 w 2059309"/>
              <a:gd name="connsiteY15" fmla="*/ 415691 h 662520"/>
              <a:gd name="connsiteX16" fmla="*/ 354825 w 2059309"/>
              <a:gd name="connsiteY16" fmla="*/ 357657 h 662520"/>
              <a:gd name="connsiteX17" fmla="*/ 325357 w 2059309"/>
              <a:gd name="connsiteY17" fmla="*/ 385098 h 662520"/>
              <a:gd name="connsiteX18" fmla="*/ 289466 w 2059309"/>
              <a:gd name="connsiteY18" fmla="*/ 406117 h 662520"/>
              <a:gd name="connsiteX19" fmla="*/ 247767 w 2059309"/>
              <a:gd name="connsiteY19" fmla="*/ 419568 h 662520"/>
              <a:gd name="connsiteX20" fmla="*/ 200875 w 2059309"/>
              <a:gd name="connsiteY20" fmla="*/ 424306 h 662520"/>
              <a:gd name="connsiteX21" fmla="*/ 153099 w 2059309"/>
              <a:gd name="connsiteY21" fmla="*/ 420031 h 662520"/>
              <a:gd name="connsiteX22" fmla="*/ 110150 w 2059309"/>
              <a:gd name="connsiteY22" fmla="*/ 407348 h 662520"/>
              <a:gd name="connsiteX23" fmla="*/ 72948 w 2059309"/>
              <a:gd name="connsiteY23" fmla="*/ 386472 h 662520"/>
              <a:gd name="connsiteX24" fmla="*/ 42412 w 2059309"/>
              <a:gd name="connsiteY24" fmla="*/ 357614 h 662520"/>
              <a:gd name="connsiteX25" fmla="*/ 19463 w 2059309"/>
              <a:gd name="connsiteY25" fmla="*/ 320990 h 662520"/>
              <a:gd name="connsiteX26" fmla="*/ 5019 w 2059309"/>
              <a:gd name="connsiteY26" fmla="*/ 276814 h 662520"/>
              <a:gd name="connsiteX27" fmla="*/ 0 w 2059309"/>
              <a:gd name="connsiteY27" fmla="*/ 225297 h 662520"/>
              <a:gd name="connsiteX28" fmla="*/ 4447 w 2059309"/>
              <a:gd name="connsiteY28" fmla="*/ 178425 h 662520"/>
              <a:gd name="connsiteX29" fmla="*/ 17453 w 2059309"/>
              <a:gd name="connsiteY29" fmla="*/ 135445 h 662520"/>
              <a:gd name="connsiteX30" fmla="*/ 38511 w 2059309"/>
              <a:gd name="connsiteY30" fmla="*/ 97085 h 662520"/>
              <a:gd name="connsiteX31" fmla="*/ 67116 w 2059309"/>
              <a:gd name="connsiteY31" fmla="*/ 64071 h 662520"/>
              <a:gd name="connsiteX32" fmla="*/ 102760 w 2059309"/>
              <a:gd name="connsiteY32" fmla="*/ 37129 h 662520"/>
              <a:gd name="connsiteX33" fmla="*/ 144939 w 2059309"/>
              <a:gd name="connsiteY33" fmla="*/ 16986 h 662520"/>
              <a:gd name="connsiteX34" fmla="*/ 193146 w 2059309"/>
              <a:gd name="connsiteY34" fmla="*/ 4367 h 662520"/>
              <a:gd name="connsiteX35" fmla="*/ 246875 w 2059309"/>
              <a:gd name="connsiteY35" fmla="*/ 0 h 662520"/>
              <a:gd name="connsiteX36" fmla="*/ 290625 w 2059309"/>
              <a:gd name="connsiteY36" fmla="*/ 2882 h 662520"/>
              <a:gd name="connsiteX37" fmla="*/ 331492 w 2059309"/>
              <a:gd name="connsiteY37" fmla="*/ 11678 h 662520"/>
              <a:gd name="connsiteX38" fmla="*/ 369070 w 2059309"/>
              <a:gd name="connsiteY38" fmla="*/ 26614 h 662520"/>
              <a:gd name="connsiteX39" fmla="*/ 402953 w 2059309"/>
              <a:gd name="connsiteY39" fmla="*/ 47914 h 662520"/>
              <a:gd name="connsiteX40" fmla="*/ 432736 w 2059309"/>
              <a:gd name="connsiteY40" fmla="*/ 75804 h 662520"/>
              <a:gd name="connsiteX41" fmla="*/ 458013 w 2059309"/>
              <a:gd name="connsiteY41" fmla="*/ 110509 h 662520"/>
              <a:gd name="connsiteX42" fmla="*/ 478379 w 2059309"/>
              <a:gd name="connsiteY42" fmla="*/ 152255 h 662520"/>
              <a:gd name="connsiteX43" fmla="*/ 493429 w 2059309"/>
              <a:gd name="connsiteY43" fmla="*/ 201265 h 662520"/>
              <a:gd name="connsiteX44" fmla="*/ 502756 w 2059309"/>
              <a:gd name="connsiteY44" fmla="*/ 257766 h 662520"/>
              <a:gd name="connsiteX45" fmla="*/ 505955 w 2059309"/>
              <a:gd name="connsiteY45" fmla="*/ 321983 h 662520"/>
              <a:gd name="connsiteX46" fmla="*/ 503406 w 2059309"/>
              <a:gd name="connsiteY46" fmla="*/ 376707 h 662520"/>
              <a:gd name="connsiteX47" fmla="*/ 495858 w 2059309"/>
              <a:gd name="connsiteY47" fmla="*/ 427041 h 662520"/>
              <a:gd name="connsiteX48" fmla="*/ 483456 w 2059309"/>
              <a:gd name="connsiteY48" fmla="*/ 472909 h 662520"/>
              <a:gd name="connsiteX49" fmla="*/ 466346 w 2059309"/>
              <a:gd name="connsiteY49" fmla="*/ 514232 h 662520"/>
              <a:gd name="connsiteX50" fmla="*/ 444674 w 2059309"/>
              <a:gd name="connsiteY50" fmla="*/ 550937 h 662520"/>
              <a:gd name="connsiteX51" fmla="*/ 418587 w 2059309"/>
              <a:gd name="connsiteY51" fmla="*/ 582945 h 662520"/>
              <a:gd name="connsiteX52" fmla="*/ 388229 w 2059309"/>
              <a:gd name="connsiteY52" fmla="*/ 610181 h 662520"/>
              <a:gd name="connsiteX53" fmla="*/ 353748 w 2059309"/>
              <a:gd name="connsiteY53" fmla="*/ 632569 h 662520"/>
              <a:gd name="connsiteX54" fmla="*/ 315289 w 2059309"/>
              <a:gd name="connsiteY54" fmla="*/ 650033 h 662520"/>
              <a:gd name="connsiteX55" fmla="*/ 272999 w 2059309"/>
              <a:gd name="connsiteY55" fmla="*/ 662495 h 662520"/>
              <a:gd name="connsiteX56" fmla="*/ 592162 w 2059309"/>
              <a:gd name="connsiteY56" fmla="*/ 662520 h 662520"/>
              <a:gd name="connsiteX57" fmla="*/ 571167 w 2059309"/>
              <a:gd name="connsiteY57" fmla="*/ 658030 h 662520"/>
              <a:gd name="connsiteX58" fmla="*/ 551373 w 2059309"/>
              <a:gd name="connsiteY58" fmla="*/ 652783 h 662520"/>
              <a:gd name="connsiteX59" fmla="*/ 532537 w 2059309"/>
              <a:gd name="connsiteY59" fmla="*/ 646826 h 662520"/>
              <a:gd name="connsiteX60" fmla="*/ 514413 w 2059309"/>
              <a:gd name="connsiteY60" fmla="*/ 640206 h 662520"/>
              <a:gd name="connsiteX61" fmla="*/ 514413 w 2059309"/>
              <a:gd name="connsiteY61" fmla="*/ 516293 h 662520"/>
              <a:gd name="connsiteX62" fmla="*/ 596087 w 2059309"/>
              <a:gd name="connsiteY62" fmla="*/ 516293 h 662520"/>
              <a:gd name="connsiteX63" fmla="*/ 612203 w 2059309"/>
              <a:gd name="connsiteY63" fmla="*/ 539439 h 662520"/>
              <a:gd name="connsiteX64" fmla="*/ 635627 w 2059309"/>
              <a:gd name="connsiteY64" fmla="*/ 559242 h 662520"/>
              <a:gd name="connsiteX65" fmla="*/ 666972 w 2059309"/>
              <a:gd name="connsiteY65" fmla="*/ 573062 h 662520"/>
              <a:gd name="connsiteX66" fmla="*/ 706856 w 2059309"/>
              <a:gd name="connsiteY66" fmla="*/ 578256 h 662520"/>
              <a:gd name="connsiteX67" fmla="*/ 749359 w 2059309"/>
              <a:gd name="connsiteY67" fmla="*/ 571758 h 662520"/>
              <a:gd name="connsiteX68" fmla="*/ 784298 w 2059309"/>
              <a:gd name="connsiteY68" fmla="*/ 552322 h 662520"/>
              <a:gd name="connsiteX69" fmla="*/ 807972 w 2059309"/>
              <a:gd name="connsiteY69" fmla="*/ 520038 h 662520"/>
              <a:gd name="connsiteX70" fmla="*/ 816686 w 2059309"/>
              <a:gd name="connsiteY70" fmla="*/ 474992 h 662520"/>
              <a:gd name="connsiteX71" fmla="*/ 809424 w 2059309"/>
              <a:gd name="connsiteY71" fmla="*/ 430240 h 662520"/>
              <a:gd name="connsiteX72" fmla="*/ 787466 w 2059309"/>
              <a:gd name="connsiteY72" fmla="*/ 398602 h 662520"/>
              <a:gd name="connsiteX73" fmla="*/ 750549 w 2059309"/>
              <a:gd name="connsiteY73" fmla="*/ 379812 h 662520"/>
              <a:gd name="connsiteX74" fmla="*/ 698411 w 2059309"/>
              <a:gd name="connsiteY74" fmla="*/ 373608 h 662520"/>
              <a:gd name="connsiteX75" fmla="*/ 649592 w 2059309"/>
              <a:gd name="connsiteY75" fmla="*/ 373608 h 662520"/>
              <a:gd name="connsiteX76" fmla="*/ 649592 w 2059309"/>
              <a:gd name="connsiteY76" fmla="*/ 286308 h 662520"/>
              <a:gd name="connsiteX77" fmla="*/ 690892 w 2059309"/>
              <a:gd name="connsiteY77" fmla="*/ 286308 h 662520"/>
              <a:gd name="connsiteX78" fmla="*/ 744563 w 2059309"/>
              <a:gd name="connsiteY78" fmla="*/ 280133 h 662520"/>
              <a:gd name="connsiteX79" fmla="*/ 783007 w 2059309"/>
              <a:gd name="connsiteY79" fmla="*/ 261550 h 662520"/>
              <a:gd name="connsiteX80" fmla="*/ 806137 w 2059309"/>
              <a:gd name="connsiteY80" fmla="*/ 230469 h 662520"/>
              <a:gd name="connsiteX81" fmla="*/ 813866 w 2059309"/>
              <a:gd name="connsiteY81" fmla="*/ 186804 h 662520"/>
              <a:gd name="connsiteX82" fmla="*/ 808513 w 2059309"/>
              <a:gd name="connsiteY82" fmla="*/ 149115 h 662520"/>
              <a:gd name="connsiteX83" fmla="*/ 792160 w 2059309"/>
              <a:gd name="connsiteY83" fmla="*/ 121104 h 662520"/>
              <a:gd name="connsiteX84" fmla="*/ 764365 w 2059309"/>
              <a:gd name="connsiteY84" fmla="*/ 103651 h 662520"/>
              <a:gd name="connsiteX85" fmla="*/ 724687 w 2059309"/>
              <a:gd name="connsiteY85" fmla="*/ 97637 h 662520"/>
              <a:gd name="connsiteX86" fmla="*/ 687243 w 2059309"/>
              <a:gd name="connsiteY86" fmla="*/ 102374 h 662520"/>
              <a:gd name="connsiteX87" fmla="*/ 657456 w 2059309"/>
              <a:gd name="connsiteY87" fmla="*/ 115117 h 662520"/>
              <a:gd name="connsiteX88" fmla="*/ 634533 w 2059309"/>
              <a:gd name="connsiteY88" fmla="*/ 133668 h 662520"/>
              <a:gd name="connsiteX89" fmla="*/ 617677 w 2059309"/>
              <a:gd name="connsiteY89" fmla="*/ 155828 h 662520"/>
              <a:gd name="connsiteX90" fmla="*/ 539775 w 2059309"/>
              <a:gd name="connsiteY90" fmla="*/ 155828 h 662520"/>
              <a:gd name="connsiteX91" fmla="*/ 539775 w 2059309"/>
              <a:gd name="connsiteY91" fmla="*/ 33807 h 662520"/>
              <a:gd name="connsiteX92" fmla="*/ 584006 w 2059309"/>
              <a:gd name="connsiteY92" fmla="*/ 19813 h 662520"/>
              <a:gd name="connsiteX93" fmla="*/ 631056 w 2059309"/>
              <a:gd name="connsiteY93" fmla="*/ 9159 h 662520"/>
              <a:gd name="connsiteX94" fmla="*/ 681278 w 2059309"/>
              <a:gd name="connsiteY94" fmla="*/ 2378 h 662520"/>
              <a:gd name="connsiteX95" fmla="*/ 735025 w 2059309"/>
              <a:gd name="connsiteY95" fmla="*/ 0 h 662520"/>
              <a:gd name="connsiteX96" fmla="*/ 790395 w 2059309"/>
              <a:gd name="connsiteY96" fmla="*/ 3158 h 662520"/>
              <a:gd name="connsiteX97" fmla="*/ 838689 w 2059309"/>
              <a:gd name="connsiteY97" fmla="*/ 12853 h 662520"/>
              <a:gd name="connsiteX98" fmla="*/ 879380 w 2059309"/>
              <a:gd name="connsiteY98" fmla="*/ 29412 h 662520"/>
              <a:gd name="connsiteX99" fmla="*/ 911943 w 2059309"/>
              <a:gd name="connsiteY99" fmla="*/ 53163 h 662520"/>
              <a:gd name="connsiteX100" fmla="*/ 935853 w 2059309"/>
              <a:gd name="connsiteY100" fmla="*/ 84435 h 662520"/>
              <a:gd name="connsiteX101" fmla="*/ 950584 w 2059309"/>
              <a:gd name="connsiteY101" fmla="*/ 123555 h 662520"/>
              <a:gd name="connsiteX102" fmla="*/ 955611 w 2059309"/>
              <a:gd name="connsiteY102" fmla="*/ 170853 h 662520"/>
              <a:gd name="connsiteX103" fmla="*/ 949453 w 2059309"/>
              <a:gd name="connsiteY103" fmla="*/ 219568 h 662520"/>
              <a:gd name="connsiteX104" fmla="*/ 931581 w 2059309"/>
              <a:gd name="connsiteY104" fmla="*/ 258234 h 662520"/>
              <a:gd name="connsiteX105" fmla="*/ 902895 w 2059309"/>
              <a:gd name="connsiteY105" fmla="*/ 287843 h 662520"/>
              <a:gd name="connsiteX106" fmla="*/ 864296 w 2059309"/>
              <a:gd name="connsiteY106" fmla="*/ 309388 h 662520"/>
              <a:gd name="connsiteX107" fmla="*/ 816686 w 2059309"/>
              <a:gd name="connsiteY107" fmla="*/ 323862 h 662520"/>
              <a:gd name="connsiteX108" fmla="*/ 816686 w 2059309"/>
              <a:gd name="connsiteY108" fmla="*/ 327609 h 662520"/>
              <a:gd name="connsiteX109" fmla="*/ 870681 w 2059309"/>
              <a:gd name="connsiteY109" fmla="*/ 340566 h 662520"/>
              <a:gd name="connsiteX110" fmla="*/ 912283 w 2059309"/>
              <a:gd name="connsiteY110" fmla="*/ 362534 h 662520"/>
              <a:gd name="connsiteX111" fmla="*/ 941719 w 2059309"/>
              <a:gd name="connsiteY111" fmla="*/ 393513 h 662520"/>
              <a:gd name="connsiteX112" fmla="*/ 959215 w 2059309"/>
              <a:gd name="connsiteY112" fmla="*/ 433502 h 662520"/>
              <a:gd name="connsiteX113" fmla="*/ 964996 w 2059309"/>
              <a:gd name="connsiteY113" fmla="*/ 482498 h 662520"/>
              <a:gd name="connsiteX114" fmla="*/ 959936 w 2059309"/>
              <a:gd name="connsiteY114" fmla="*/ 527743 h 662520"/>
              <a:gd name="connsiteX115" fmla="*/ 944659 w 2059309"/>
              <a:gd name="connsiteY115" fmla="*/ 567021 h 662520"/>
              <a:gd name="connsiteX116" fmla="*/ 920122 w 2059309"/>
              <a:gd name="connsiteY116" fmla="*/ 600232 h 662520"/>
              <a:gd name="connsiteX117" fmla="*/ 887285 w 2059309"/>
              <a:gd name="connsiteY117" fmla="*/ 627278 h 662520"/>
              <a:gd name="connsiteX118" fmla="*/ 847106 w 2059309"/>
              <a:gd name="connsiteY118" fmla="*/ 648061 h 662520"/>
              <a:gd name="connsiteX119" fmla="*/ 800544 w 2059309"/>
              <a:gd name="connsiteY119" fmla="*/ 662482 h 662520"/>
              <a:gd name="connsiteX120" fmla="*/ 1360843 w 2059309"/>
              <a:gd name="connsiteY120" fmla="*/ 662495 h 662520"/>
              <a:gd name="connsiteX121" fmla="*/ 1322871 w 2059309"/>
              <a:gd name="connsiteY121" fmla="*/ 649352 h 662520"/>
              <a:gd name="connsiteX122" fmla="*/ 1287296 w 2059309"/>
              <a:gd name="connsiteY122" fmla="*/ 630560 h 662520"/>
              <a:gd name="connsiteX123" fmla="*/ 1254670 w 2059309"/>
              <a:gd name="connsiteY123" fmla="*/ 606062 h 662520"/>
              <a:gd name="connsiteX124" fmla="*/ 1225546 w 2059309"/>
              <a:gd name="connsiteY124" fmla="*/ 575802 h 662520"/>
              <a:gd name="connsiteX125" fmla="*/ 1200477 w 2059309"/>
              <a:gd name="connsiteY125" fmla="*/ 539722 h 662520"/>
              <a:gd name="connsiteX126" fmla="*/ 1180016 w 2059309"/>
              <a:gd name="connsiteY126" fmla="*/ 497766 h 662520"/>
              <a:gd name="connsiteX127" fmla="*/ 1164717 w 2059309"/>
              <a:gd name="connsiteY127" fmla="*/ 449876 h 662520"/>
              <a:gd name="connsiteX128" fmla="*/ 1155131 w 2059309"/>
              <a:gd name="connsiteY128" fmla="*/ 395995 h 662520"/>
              <a:gd name="connsiteX129" fmla="*/ 1151813 w 2059309"/>
              <a:gd name="connsiteY129" fmla="*/ 336067 h 662520"/>
              <a:gd name="connsiteX130" fmla="*/ 1155053 w 2059309"/>
              <a:gd name="connsiteY130" fmla="*/ 276826 h 662520"/>
              <a:gd name="connsiteX131" fmla="*/ 1164415 w 2059309"/>
              <a:gd name="connsiteY131" fmla="*/ 223488 h 662520"/>
              <a:gd name="connsiteX132" fmla="*/ 1179368 w 2059309"/>
              <a:gd name="connsiteY132" fmla="*/ 175997 h 662520"/>
              <a:gd name="connsiteX133" fmla="*/ 1199377 w 2059309"/>
              <a:gd name="connsiteY133" fmla="*/ 134299 h 662520"/>
              <a:gd name="connsiteX134" fmla="*/ 1223910 w 2059309"/>
              <a:gd name="connsiteY134" fmla="*/ 98339 h 662520"/>
              <a:gd name="connsiteX135" fmla="*/ 1252434 w 2059309"/>
              <a:gd name="connsiteY135" fmla="*/ 68062 h 662520"/>
              <a:gd name="connsiteX136" fmla="*/ 1284414 w 2059309"/>
              <a:gd name="connsiteY136" fmla="*/ 43413 h 662520"/>
              <a:gd name="connsiteX137" fmla="*/ 1319318 w 2059309"/>
              <a:gd name="connsiteY137" fmla="*/ 24337 h 662520"/>
              <a:gd name="connsiteX138" fmla="*/ 1356613 w 2059309"/>
              <a:gd name="connsiteY138" fmla="*/ 10780 h 662520"/>
              <a:gd name="connsiteX139" fmla="*/ 1395766 w 2059309"/>
              <a:gd name="connsiteY139" fmla="*/ 2685 h 662520"/>
              <a:gd name="connsiteX140" fmla="*/ 1436243 w 2059309"/>
              <a:gd name="connsiteY140" fmla="*/ 0 h 662520"/>
              <a:gd name="connsiteX141" fmla="*/ 1476722 w 2059309"/>
              <a:gd name="connsiteY141" fmla="*/ 2685 h 662520"/>
              <a:gd name="connsiteX142" fmla="*/ 1515876 w 2059309"/>
              <a:gd name="connsiteY142" fmla="*/ 10780 h 662520"/>
              <a:gd name="connsiteX143" fmla="*/ 1553172 w 2059309"/>
              <a:gd name="connsiteY143" fmla="*/ 24337 h 662520"/>
              <a:gd name="connsiteX144" fmla="*/ 1588076 w 2059309"/>
              <a:gd name="connsiteY144" fmla="*/ 43413 h 662520"/>
              <a:gd name="connsiteX145" fmla="*/ 1620056 w 2059309"/>
              <a:gd name="connsiteY145" fmla="*/ 68062 h 662520"/>
              <a:gd name="connsiteX146" fmla="*/ 1648579 w 2059309"/>
              <a:gd name="connsiteY146" fmla="*/ 98339 h 662520"/>
              <a:gd name="connsiteX147" fmla="*/ 1673111 w 2059309"/>
              <a:gd name="connsiteY147" fmla="*/ 134299 h 662520"/>
              <a:gd name="connsiteX148" fmla="*/ 1693119 w 2059309"/>
              <a:gd name="connsiteY148" fmla="*/ 175997 h 662520"/>
              <a:gd name="connsiteX149" fmla="*/ 1708071 w 2059309"/>
              <a:gd name="connsiteY149" fmla="*/ 223488 h 662520"/>
              <a:gd name="connsiteX150" fmla="*/ 1717433 w 2059309"/>
              <a:gd name="connsiteY150" fmla="*/ 276826 h 662520"/>
              <a:gd name="connsiteX151" fmla="*/ 1720672 w 2059309"/>
              <a:gd name="connsiteY151" fmla="*/ 336067 h 662520"/>
              <a:gd name="connsiteX152" fmla="*/ 1717354 w 2059309"/>
              <a:gd name="connsiteY152" fmla="*/ 395995 h 662520"/>
              <a:gd name="connsiteX153" fmla="*/ 1707768 w 2059309"/>
              <a:gd name="connsiteY153" fmla="*/ 449876 h 662520"/>
              <a:gd name="connsiteX154" fmla="*/ 1692469 w 2059309"/>
              <a:gd name="connsiteY154" fmla="*/ 497766 h 662520"/>
              <a:gd name="connsiteX155" fmla="*/ 1672008 w 2059309"/>
              <a:gd name="connsiteY155" fmla="*/ 539722 h 662520"/>
              <a:gd name="connsiteX156" fmla="*/ 1646939 w 2059309"/>
              <a:gd name="connsiteY156" fmla="*/ 575802 h 662520"/>
              <a:gd name="connsiteX157" fmla="*/ 1617815 w 2059309"/>
              <a:gd name="connsiteY157" fmla="*/ 606062 h 662520"/>
              <a:gd name="connsiteX158" fmla="*/ 1585189 w 2059309"/>
              <a:gd name="connsiteY158" fmla="*/ 630560 h 662520"/>
              <a:gd name="connsiteX159" fmla="*/ 1549614 w 2059309"/>
              <a:gd name="connsiteY159" fmla="*/ 649352 h 662520"/>
              <a:gd name="connsiteX160" fmla="*/ 1511642 w 2059309"/>
              <a:gd name="connsiteY160" fmla="*/ 662495 h 662520"/>
              <a:gd name="connsiteX161" fmla="*/ 1943430 w 2059309"/>
              <a:gd name="connsiteY161" fmla="*/ 662495 h 662520"/>
              <a:gd name="connsiteX162" fmla="*/ 1905459 w 2059309"/>
              <a:gd name="connsiteY162" fmla="*/ 649348 h 662520"/>
              <a:gd name="connsiteX163" fmla="*/ 1869885 w 2059309"/>
              <a:gd name="connsiteY163" fmla="*/ 630555 h 662520"/>
              <a:gd name="connsiteX164" fmla="*/ 1837261 w 2059309"/>
              <a:gd name="connsiteY164" fmla="*/ 606057 h 662520"/>
              <a:gd name="connsiteX165" fmla="*/ 1808138 w 2059309"/>
              <a:gd name="connsiteY165" fmla="*/ 575797 h 662520"/>
              <a:gd name="connsiteX166" fmla="*/ 1783072 w 2059309"/>
              <a:gd name="connsiteY166" fmla="*/ 539718 h 662520"/>
              <a:gd name="connsiteX167" fmla="*/ 1762613 w 2059309"/>
              <a:gd name="connsiteY167" fmla="*/ 497763 h 662520"/>
              <a:gd name="connsiteX168" fmla="*/ 1747315 w 2059309"/>
              <a:gd name="connsiteY168" fmla="*/ 449874 h 662520"/>
              <a:gd name="connsiteX169" fmla="*/ 1737731 w 2059309"/>
              <a:gd name="connsiteY169" fmla="*/ 395995 h 662520"/>
              <a:gd name="connsiteX170" fmla="*/ 1734413 w 2059309"/>
              <a:gd name="connsiteY170" fmla="*/ 336067 h 662520"/>
              <a:gd name="connsiteX171" fmla="*/ 1737652 w 2059309"/>
              <a:gd name="connsiteY171" fmla="*/ 276826 h 662520"/>
              <a:gd name="connsiteX172" fmla="*/ 1747014 w 2059309"/>
              <a:gd name="connsiteY172" fmla="*/ 223488 h 662520"/>
              <a:gd name="connsiteX173" fmla="*/ 1761965 w 2059309"/>
              <a:gd name="connsiteY173" fmla="*/ 175997 h 662520"/>
              <a:gd name="connsiteX174" fmla="*/ 1781973 w 2059309"/>
              <a:gd name="connsiteY174" fmla="*/ 134299 h 662520"/>
              <a:gd name="connsiteX175" fmla="*/ 1806505 w 2059309"/>
              <a:gd name="connsiteY175" fmla="*/ 98339 h 662520"/>
              <a:gd name="connsiteX176" fmla="*/ 1835026 w 2059309"/>
              <a:gd name="connsiteY176" fmla="*/ 68062 h 662520"/>
              <a:gd name="connsiteX177" fmla="*/ 1867005 w 2059309"/>
              <a:gd name="connsiteY177" fmla="*/ 43413 h 662520"/>
              <a:gd name="connsiteX178" fmla="*/ 1901908 w 2059309"/>
              <a:gd name="connsiteY178" fmla="*/ 24337 h 662520"/>
              <a:gd name="connsiteX179" fmla="*/ 1939202 w 2059309"/>
              <a:gd name="connsiteY179" fmla="*/ 10780 h 662520"/>
              <a:gd name="connsiteX180" fmla="*/ 1978353 w 2059309"/>
              <a:gd name="connsiteY180" fmla="*/ 2685 h 662520"/>
              <a:gd name="connsiteX181" fmla="*/ 2018830 w 2059309"/>
              <a:gd name="connsiteY181" fmla="*/ 0 h 662520"/>
              <a:gd name="connsiteX182" fmla="*/ 2059309 w 2059309"/>
              <a:gd name="connsiteY182" fmla="*/ 2685 h 662520"/>
              <a:gd name="connsiteX0" fmla="*/ 74231 w 2018830"/>
              <a:gd name="connsiteY0" fmla="*/ 662482 h 662520"/>
              <a:gd name="connsiteX1" fmla="*/ 60344 w 2018830"/>
              <a:gd name="connsiteY1" fmla="*/ 659582 h 662520"/>
              <a:gd name="connsiteX2" fmla="*/ 47517 w 2018830"/>
              <a:gd name="connsiteY2" fmla="*/ 656437 h 662520"/>
              <a:gd name="connsiteX3" fmla="*/ 35823 w 2018830"/>
              <a:gd name="connsiteY3" fmla="*/ 653092 h 662520"/>
              <a:gd name="connsiteX4" fmla="*/ 25336 w 2018830"/>
              <a:gd name="connsiteY4" fmla="*/ 649592 h 662520"/>
              <a:gd name="connsiteX5" fmla="*/ 25336 w 2018830"/>
              <a:gd name="connsiteY5" fmla="*/ 533196 h 662520"/>
              <a:gd name="connsiteX6" fmla="*/ 104190 w 2018830"/>
              <a:gd name="connsiteY6" fmla="*/ 533196 h 662520"/>
              <a:gd name="connsiteX7" fmla="*/ 116931 w 2018830"/>
              <a:gd name="connsiteY7" fmla="*/ 550133 h 662520"/>
              <a:gd name="connsiteX8" fmla="*/ 135043 w 2018830"/>
              <a:gd name="connsiteY8" fmla="*/ 564522 h 662520"/>
              <a:gd name="connsiteX9" fmla="*/ 160020 w 2018830"/>
              <a:gd name="connsiteY9" fmla="*/ 574514 h 662520"/>
              <a:gd name="connsiteX10" fmla="*/ 193357 w 2018830"/>
              <a:gd name="connsiteY10" fmla="*/ 578256 h 662520"/>
              <a:gd name="connsiteX11" fmla="*/ 233829 w 2018830"/>
              <a:gd name="connsiteY11" fmla="*/ 573672 h 662520"/>
              <a:gd name="connsiteX12" fmla="*/ 297105 w 2018830"/>
              <a:gd name="connsiteY12" fmla="*/ 537246 h 662520"/>
              <a:gd name="connsiteX13" fmla="*/ 320040 w 2018830"/>
              <a:gd name="connsiteY13" fmla="*/ 505568 h 662520"/>
              <a:gd name="connsiteX14" fmla="*/ 337261 w 2018830"/>
              <a:gd name="connsiteY14" fmla="*/ 465022 h 662520"/>
              <a:gd name="connsiteX15" fmla="*/ 348834 w 2018830"/>
              <a:gd name="connsiteY15" fmla="*/ 415691 h 662520"/>
              <a:gd name="connsiteX16" fmla="*/ 354825 w 2018830"/>
              <a:gd name="connsiteY16" fmla="*/ 357657 h 662520"/>
              <a:gd name="connsiteX17" fmla="*/ 325357 w 2018830"/>
              <a:gd name="connsiteY17" fmla="*/ 385098 h 662520"/>
              <a:gd name="connsiteX18" fmla="*/ 289466 w 2018830"/>
              <a:gd name="connsiteY18" fmla="*/ 406117 h 662520"/>
              <a:gd name="connsiteX19" fmla="*/ 247767 w 2018830"/>
              <a:gd name="connsiteY19" fmla="*/ 419568 h 662520"/>
              <a:gd name="connsiteX20" fmla="*/ 200875 w 2018830"/>
              <a:gd name="connsiteY20" fmla="*/ 424306 h 662520"/>
              <a:gd name="connsiteX21" fmla="*/ 153099 w 2018830"/>
              <a:gd name="connsiteY21" fmla="*/ 420031 h 662520"/>
              <a:gd name="connsiteX22" fmla="*/ 110150 w 2018830"/>
              <a:gd name="connsiteY22" fmla="*/ 407348 h 662520"/>
              <a:gd name="connsiteX23" fmla="*/ 72948 w 2018830"/>
              <a:gd name="connsiteY23" fmla="*/ 386472 h 662520"/>
              <a:gd name="connsiteX24" fmla="*/ 42412 w 2018830"/>
              <a:gd name="connsiteY24" fmla="*/ 357614 h 662520"/>
              <a:gd name="connsiteX25" fmla="*/ 19463 w 2018830"/>
              <a:gd name="connsiteY25" fmla="*/ 320990 h 662520"/>
              <a:gd name="connsiteX26" fmla="*/ 5019 w 2018830"/>
              <a:gd name="connsiteY26" fmla="*/ 276814 h 662520"/>
              <a:gd name="connsiteX27" fmla="*/ 0 w 2018830"/>
              <a:gd name="connsiteY27" fmla="*/ 225297 h 662520"/>
              <a:gd name="connsiteX28" fmla="*/ 4447 w 2018830"/>
              <a:gd name="connsiteY28" fmla="*/ 178425 h 662520"/>
              <a:gd name="connsiteX29" fmla="*/ 17453 w 2018830"/>
              <a:gd name="connsiteY29" fmla="*/ 135445 h 662520"/>
              <a:gd name="connsiteX30" fmla="*/ 38511 w 2018830"/>
              <a:gd name="connsiteY30" fmla="*/ 97085 h 662520"/>
              <a:gd name="connsiteX31" fmla="*/ 67116 w 2018830"/>
              <a:gd name="connsiteY31" fmla="*/ 64071 h 662520"/>
              <a:gd name="connsiteX32" fmla="*/ 102760 w 2018830"/>
              <a:gd name="connsiteY32" fmla="*/ 37129 h 662520"/>
              <a:gd name="connsiteX33" fmla="*/ 144939 w 2018830"/>
              <a:gd name="connsiteY33" fmla="*/ 16986 h 662520"/>
              <a:gd name="connsiteX34" fmla="*/ 193146 w 2018830"/>
              <a:gd name="connsiteY34" fmla="*/ 4367 h 662520"/>
              <a:gd name="connsiteX35" fmla="*/ 246875 w 2018830"/>
              <a:gd name="connsiteY35" fmla="*/ 0 h 662520"/>
              <a:gd name="connsiteX36" fmla="*/ 290625 w 2018830"/>
              <a:gd name="connsiteY36" fmla="*/ 2882 h 662520"/>
              <a:gd name="connsiteX37" fmla="*/ 331492 w 2018830"/>
              <a:gd name="connsiteY37" fmla="*/ 11678 h 662520"/>
              <a:gd name="connsiteX38" fmla="*/ 369070 w 2018830"/>
              <a:gd name="connsiteY38" fmla="*/ 26614 h 662520"/>
              <a:gd name="connsiteX39" fmla="*/ 402953 w 2018830"/>
              <a:gd name="connsiteY39" fmla="*/ 47914 h 662520"/>
              <a:gd name="connsiteX40" fmla="*/ 432736 w 2018830"/>
              <a:gd name="connsiteY40" fmla="*/ 75804 h 662520"/>
              <a:gd name="connsiteX41" fmla="*/ 458013 w 2018830"/>
              <a:gd name="connsiteY41" fmla="*/ 110509 h 662520"/>
              <a:gd name="connsiteX42" fmla="*/ 478379 w 2018830"/>
              <a:gd name="connsiteY42" fmla="*/ 152255 h 662520"/>
              <a:gd name="connsiteX43" fmla="*/ 493429 w 2018830"/>
              <a:gd name="connsiteY43" fmla="*/ 201265 h 662520"/>
              <a:gd name="connsiteX44" fmla="*/ 502756 w 2018830"/>
              <a:gd name="connsiteY44" fmla="*/ 257766 h 662520"/>
              <a:gd name="connsiteX45" fmla="*/ 505955 w 2018830"/>
              <a:gd name="connsiteY45" fmla="*/ 321983 h 662520"/>
              <a:gd name="connsiteX46" fmla="*/ 503406 w 2018830"/>
              <a:gd name="connsiteY46" fmla="*/ 376707 h 662520"/>
              <a:gd name="connsiteX47" fmla="*/ 495858 w 2018830"/>
              <a:gd name="connsiteY47" fmla="*/ 427041 h 662520"/>
              <a:gd name="connsiteX48" fmla="*/ 483456 w 2018830"/>
              <a:gd name="connsiteY48" fmla="*/ 472909 h 662520"/>
              <a:gd name="connsiteX49" fmla="*/ 466346 w 2018830"/>
              <a:gd name="connsiteY49" fmla="*/ 514232 h 662520"/>
              <a:gd name="connsiteX50" fmla="*/ 444674 w 2018830"/>
              <a:gd name="connsiteY50" fmla="*/ 550937 h 662520"/>
              <a:gd name="connsiteX51" fmla="*/ 418587 w 2018830"/>
              <a:gd name="connsiteY51" fmla="*/ 582945 h 662520"/>
              <a:gd name="connsiteX52" fmla="*/ 388229 w 2018830"/>
              <a:gd name="connsiteY52" fmla="*/ 610181 h 662520"/>
              <a:gd name="connsiteX53" fmla="*/ 353748 w 2018830"/>
              <a:gd name="connsiteY53" fmla="*/ 632569 h 662520"/>
              <a:gd name="connsiteX54" fmla="*/ 315289 w 2018830"/>
              <a:gd name="connsiteY54" fmla="*/ 650033 h 662520"/>
              <a:gd name="connsiteX55" fmla="*/ 272999 w 2018830"/>
              <a:gd name="connsiteY55" fmla="*/ 662495 h 662520"/>
              <a:gd name="connsiteX56" fmla="*/ 592162 w 2018830"/>
              <a:gd name="connsiteY56" fmla="*/ 662520 h 662520"/>
              <a:gd name="connsiteX57" fmla="*/ 571167 w 2018830"/>
              <a:gd name="connsiteY57" fmla="*/ 658030 h 662520"/>
              <a:gd name="connsiteX58" fmla="*/ 551373 w 2018830"/>
              <a:gd name="connsiteY58" fmla="*/ 652783 h 662520"/>
              <a:gd name="connsiteX59" fmla="*/ 532537 w 2018830"/>
              <a:gd name="connsiteY59" fmla="*/ 646826 h 662520"/>
              <a:gd name="connsiteX60" fmla="*/ 514413 w 2018830"/>
              <a:gd name="connsiteY60" fmla="*/ 640206 h 662520"/>
              <a:gd name="connsiteX61" fmla="*/ 514413 w 2018830"/>
              <a:gd name="connsiteY61" fmla="*/ 516293 h 662520"/>
              <a:gd name="connsiteX62" fmla="*/ 596087 w 2018830"/>
              <a:gd name="connsiteY62" fmla="*/ 516293 h 662520"/>
              <a:gd name="connsiteX63" fmla="*/ 612203 w 2018830"/>
              <a:gd name="connsiteY63" fmla="*/ 539439 h 662520"/>
              <a:gd name="connsiteX64" fmla="*/ 635627 w 2018830"/>
              <a:gd name="connsiteY64" fmla="*/ 559242 h 662520"/>
              <a:gd name="connsiteX65" fmla="*/ 666972 w 2018830"/>
              <a:gd name="connsiteY65" fmla="*/ 573062 h 662520"/>
              <a:gd name="connsiteX66" fmla="*/ 706856 w 2018830"/>
              <a:gd name="connsiteY66" fmla="*/ 578256 h 662520"/>
              <a:gd name="connsiteX67" fmla="*/ 749359 w 2018830"/>
              <a:gd name="connsiteY67" fmla="*/ 571758 h 662520"/>
              <a:gd name="connsiteX68" fmla="*/ 784298 w 2018830"/>
              <a:gd name="connsiteY68" fmla="*/ 552322 h 662520"/>
              <a:gd name="connsiteX69" fmla="*/ 807972 w 2018830"/>
              <a:gd name="connsiteY69" fmla="*/ 520038 h 662520"/>
              <a:gd name="connsiteX70" fmla="*/ 816686 w 2018830"/>
              <a:gd name="connsiteY70" fmla="*/ 474992 h 662520"/>
              <a:gd name="connsiteX71" fmla="*/ 809424 w 2018830"/>
              <a:gd name="connsiteY71" fmla="*/ 430240 h 662520"/>
              <a:gd name="connsiteX72" fmla="*/ 787466 w 2018830"/>
              <a:gd name="connsiteY72" fmla="*/ 398602 h 662520"/>
              <a:gd name="connsiteX73" fmla="*/ 750549 w 2018830"/>
              <a:gd name="connsiteY73" fmla="*/ 379812 h 662520"/>
              <a:gd name="connsiteX74" fmla="*/ 698411 w 2018830"/>
              <a:gd name="connsiteY74" fmla="*/ 373608 h 662520"/>
              <a:gd name="connsiteX75" fmla="*/ 649592 w 2018830"/>
              <a:gd name="connsiteY75" fmla="*/ 373608 h 662520"/>
              <a:gd name="connsiteX76" fmla="*/ 649592 w 2018830"/>
              <a:gd name="connsiteY76" fmla="*/ 286308 h 662520"/>
              <a:gd name="connsiteX77" fmla="*/ 690892 w 2018830"/>
              <a:gd name="connsiteY77" fmla="*/ 286308 h 662520"/>
              <a:gd name="connsiteX78" fmla="*/ 744563 w 2018830"/>
              <a:gd name="connsiteY78" fmla="*/ 280133 h 662520"/>
              <a:gd name="connsiteX79" fmla="*/ 783007 w 2018830"/>
              <a:gd name="connsiteY79" fmla="*/ 261550 h 662520"/>
              <a:gd name="connsiteX80" fmla="*/ 806137 w 2018830"/>
              <a:gd name="connsiteY80" fmla="*/ 230469 h 662520"/>
              <a:gd name="connsiteX81" fmla="*/ 813866 w 2018830"/>
              <a:gd name="connsiteY81" fmla="*/ 186804 h 662520"/>
              <a:gd name="connsiteX82" fmla="*/ 808513 w 2018830"/>
              <a:gd name="connsiteY82" fmla="*/ 149115 h 662520"/>
              <a:gd name="connsiteX83" fmla="*/ 792160 w 2018830"/>
              <a:gd name="connsiteY83" fmla="*/ 121104 h 662520"/>
              <a:gd name="connsiteX84" fmla="*/ 764365 w 2018830"/>
              <a:gd name="connsiteY84" fmla="*/ 103651 h 662520"/>
              <a:gd name="connsiteX85" fmla="*/ 724687 w 2018830"/>
              <a:gd name="connsiteY85" fmla="*/ 97637 h 662520"/>
              <a:gd name="connsiteX86" fmla="*/ 687243 w 2018830"/>
              <a:gd name="connsiteY86" fmla="*/ 102374 h 662520"/>
              <a:gd name="connsiteX87" fmla="*/ 657456 w 2018830"/>
              <a:gd name="connsiteY87" fmla="*/ 115117 h 662520"/>
              <a:gd name="connsiteX88" fmla="*/ 634533 w 2018830"/>
              <a:gd name="connsiteY88" fmla="*/ 133668 h 662520"/>
              <a:gd name="connsiteX89" fmla="*/ 617677 w 2018830"/>
              <a:gd name="connsiteY89" fmla="*/ 155828 h 662520"/>
              <a:gd name="connsiteX90" fmla="*/ 539775 w 2018830"/>
              <a:gd name="connsiteY90" fmla="*/ 155828 h 662520"/>
              <a:gd name="connsiteX91" fmla="*/ 539775 w 2018830"/>
              <a:gd name="connsiteY91" fmla="*/ 33807 h 662520"/>
              <a:gd name="connsiteX92" fmla="*/ 584006 w 2018830"/>
              <a:gd name="connsiteY92" fmla="*/ 19813 h 662520"/>
              <a:gd name="connsiteX93" fmla="*/ 631056 w 2018830"/>
              <a:gd name="connsiteY93" fmla="*/ 9159 h 662520"/>
              <a:gd name="connsiteX94" fmla="*/ 681278 w 2018830"/>
              <a:gd name="connsiteY94" fmla="*/ 2378 h 662520"/>
              <a:gd name="connsiteX95" fmla="*/ 735025 w 2018830"/>
              <a:gd name="connsiteY95" fmla="*/ 0 h 662520"/>
              <a:gd name="connsiteX96" fmla="*/ 790395 w 2018830"/>
              <a:gd name="connsiteY96" fmla="*/ 3158 h 662520"/>
              <a:gd name="connsiteX97" fmla="*/ 838689 w 2018830"/>
              <a:gd name="connsiteY97" fmla="*/ 12853 h 662520"/>
              <a:gd name="connsiteX98" fmla="*/ 879380 w 2018830"/>
              <a:gd name="connsiteY98" fmla="*/ 29412 h 662520"/>
              <a:gd name="connsiteX99" fmla="*/ 911943 w 2018830"/>
              <a:gd name="connsiteY99" fmla="*/ 53163 h 662520"/>
              <a:gd name="connsiteX100" fmla="*/ 935853 w 2018830"/>
              <a:gd name="connsiteY100" fmla="*/ 84435 h 662520"/>
              <a:gd name="connsiteX101" fmla="*/ 950584 w 2018830"/>
              <a:gd name="connsiteY101" fmla="*/ 123555 h 662520"/>
              <a:gd name="connsiteX102" fmla="*/ 955611 w 2018830"/>
              <a:gd name="connsiteY102" fmla="*/ 170853 h 662520"/>
              <a:gd name="connsiteX103" fmla="*/ 949453 w 2018830"/>
              <a:gd name="connsiteY103" fmla="*/ 219568 h 662520"/>
              <a:gd name="connsiteX104" fmla="*/ 931581 w 2018830"/>
              <a:gd name="connsiteY104" fmla="*/ 258234 h 662520"/>
              <a:gd name="connsiteX105" fmla="*/ 902895 w 2018830"/>
              <a:gd name="connsiteY105" fmla="*/ 287843 h 662520"/>
              <a:gd name="connsiteX106" fmla="*/ 864296 w 2018830"/>
              <a:gd name="connsiteY106" fmla="*/ 309388 h 662520"/>
              <a:gd name="connsiteX107" fmla="*/ 816686 w 2018830"/>
              <a:gd name="connsiteY107" fmla="*/ 323862 h 662520"/>
              <a:gd name="connsiteX108" fmla="*/ 816686 w 2018830"/>
              <a:gd name="connsiteY108" fmla="*/ 327609 h 662520"/>
              <a:gd name="connsiteX109" fmla="*/ 870681 w 2018830"/>
              <a:gd name="connsiteY109" fmla="*/ 340566 h 662520"/>
              <a:gd name="connsiteX110" fmla="*/ 912283 w 2018830"/>
              <a:gd name="connsiteY110" fmla="*/ 362534 h 662520"/>
              <a:gd name="connsiteX111" fmla="*/ 941719 w 2018830"/>
              <a:gd name="connsiteY111" fmla="*/ 393513 h 662520"/>
              <a:gd name="connsiteX112" fmla="*/ 959215 w 2018830"/>
              <a:gd name="connsiteY112" fmla="*/ 433502 h 662520"/>
              <a:gd name="connsiteX113" fmla="*/ 964996 w 2018830"/>
              <a:gd name="connsiteY113" fmla="*/ 482498 h 662520"/>
              <a:gd name="connsiteX114" fmla="*/ 959936 w 2018830"/>
              <a:gd name="connsiteY114" fmla="*/ 527743 h 662520"/>
              <a:gd name="connsiteX115" fmla="*/ 944659 w 2018830"/>
              <a:gd name="connsiteY115" fmla="*/ 567021 h 662520"/>
              <a:gd name="connsiteX116" fmla="*/ 920122 w 2018830"/>
              <a:gd name="connsiteY116" fmla="*/ 600232 h 662520"/>
              <a:gd name="connsiteX117" fmla="*/ 887285 w 2018830"/>
              <a:gd name="connsiteY117" fmla="*/ 627278 h 662520"/>
              <a:gd name="connsiteX118" fmla="*/ 847106 w 2018830"/>
              <a:gd name="connsiteY118" fmla="*/ 648061 h 662520"/>
              <a:gd name="connsiteX119" fmla="*/ 800544 w 2018830"/>
              <a:gd name="connsiteY119" fmla="*/ 662482 h 662520"/>
              <a:gd name="connsiteX120" fmla="*/ 1360843 w 2018830"/>
              <a:gd name="connsiteY120" fmla="*/ 662495 h 662520"/>
              <a:gd name="connsiteX121" fmla="*/ 1322871 w 2018830"/>
              <a:gd name="connsiteY121" fmla="*/ 649352 h 662520"/>
              <a:gd name="connsiteX122" fmla="*/ 1287296 w 2018830"/>
              <a:gd name="connsiteY122" fmla="*/ 630560 h 662520"/>
              <a:gd name="connsiteX123" fmla="*/ 1254670 w 2018830"/>
              <a:gd name="connsiteY123" fmla="*/ 606062 h 662520"/>
              <a:gd name="connsiteX124" fmla="*/ 1225546 w 2018830"/>
              <a:gd name="connsiteY124" fmla="*/ 575802 h 662520"/>
              <a:gd name="connsiteX125" fmla="*/ 1200477 w 2018830"/>
              <a:gd name="connsiteY125" fmla="*/ 539722 h 662520"/>
              <a:gd name="connsiteX126" fmla="*/ 1180016 w 2018830"/>
              <a:gd name="connsiteY126" fmla="*/ 497766 h 662520"/>
              <a:gd name="connsiteX127" fmla="*/ 1164717 w 2018830"/>
              <a:gd name="connsiteY127" fmla="*/ 449876 h 662520"/>
              <a:gd name="connsiteX128" fmla="*/ 1155131 w 2018830"/>
              <a:gd name="connsiteY128" fmla="*/ 395995 h 662520"/>
              <a:gd name="connsiteX129" fmla="*/ 1151813 w 2018830"/>
              <a:gd name="connsiteY129" fmla="*/ 336067 h 662520"/>
              <a:gd name="connsiteX130" fmla="*/ 1155053 w 2018830"/>
              <a:gd name="connsiteY130" fmla="*/ 276826 h 662520"/>
              <a:gd name="connsiteX131" fmla="*/ 1164415 w 2018830"/>
              <a:gd name="connsiteY131" fmla="*/ 223488 h 662520"/>
              <a:gd name="connsiteX132" fmla="*/ 1179368 w 2018830"/>
              <a:gd name="connsiteY132" fmla="*/ 175997 h 662520"/>
              <a:gd name="connsiteX133" fmla="*/ 1199377 w 2018830"/>
              <a:gd name="connsiteY133" fmla="*/ 134299 h 662520"/>
              <a:gd name="connsiteX134" fmla="*/ 1223910 w 2018830"/>
              <a:gd name="connsiteY134" fmla="*/ 98339 h 662520"/>
              <a:gd name="connsiteX135" fmla="*/ 1252434 w 2018830"/>
              <a:gd name="connsiteY135" fmla="*/ 68062 h 662520"/>
              <a:gd name="connsiteX136" fmla="*/ 1284414 w 2018830"/>
              <a:gd name="connsiteY136" fmla="*/ 43413 h 662520"/>
              <a:gd name="connsiteX137" fmla="*/ 1319318 w 2018830"/>
              <a:gd name="connsiteY137" fmla="*/ 24337 h 662520"/>
              <a:gd name="connsiteX138" fmla="*/ 1356613 w 2018830"/>
              <a:gd name="connsiteY138" fmla="*/ 10780 h 662520"/>
              <a:gd name="connsiteX139" fmla="*/ 1395766 w 2018830"/>
              <a:gd name="connsiteY139" fmla="*/ 2685 h 662520"/>
              <a:gd name="connsiteX140" fmla="*/ 1436243 w 2018830"/>
              <a:gd name="connsiteY140" fmla="*/ 0 h 662520"/>
              <a:gd name="connsiteX141" fmla="*/ 1476722 w 2018830"/>
              <a:gd name="connsiteY141" fmla="*/ 2685 h 662520"/>
              <a:gd name="connsiteX142" fmla="*/ 1515876 w 2018830"/>
              <a:gd name="connsiteY142" fmla="*/ 10780 h 662520"/>
              <a:gd name="connsiteX143" fmla="*/ 1553172 w 2018830"/>
              <a:gd name="connsiteY143" fmla="*/ 24337 h 662520"/>
              <a:gd name="connsiteX144" fmla="*/ 1588076 w 2018830"/>
              <a:gd name="connsiteY144" fmla="*/ 43413 h 662520"/>
              <a:gd name="connsiteX145" fmla="*/ 1620056 w 2018830"/>
              <a:gd name="connsiteY145" fmla="*/ 68062 h 662520"/>
              <a:gd name="connsiteX146" fmla="*/ 1648579 w 2018830"/>
              <a:gd name="connsiteY146" fmla="*/ 98339 h 662520"/>
              <a:gd name="connsiteX147" fmla="*/ 1673111 w 2018830"/>
              <a:gd name="connsiteY147" fmla="*/ 134299 h 662520"/>
              <a:gd name="connsiteX148" fmla="*/ 1693119 w 2018830"/>
              <a:gd name="connsiteY148" fmla="*/ 175997 h 662520"/>
              <a:gd name="connsiteX149" fmla="*/ 1708071 w 2018830"/>
              <a:gd name="connsiteY149" fmla="*/ 223488 h 662520"/>
              <a:gd name="connsiteX150" fmla="*/ 1717433 w 2018830"/>
              <a:gd name="connsiteY150" fmla="*/ 276826 h 662520"/>
              <a:gd name="connsiteX151" fmla="*/ 1720672 w 2018830"/>
              <a:gd name="connsiteY151" fmla="*/ 336067 h 662520"/>
              <a:gd name="connsiteX152" fmla="*/ 1717354 w 2018830"/>
              <a:gd name="connsiteY152" fmla="*/ 395995 h 662520"/>
              <a:gd name="connsiteX153" fmla="*/ 1707768 w 2018830"/>
              <a:gd name="connsiteY153" fmla="*/ 449876 h 662520"/>
              <a:gd name="connsiteX154" fmla="*/ 1692469 w 2018830"/>
              <a:gd name="connsiteY154" fmla="*/ 497766 h 662520"/>
              <a:gd name="connsiteX155" fmla="*/ 1672008 w 2018830"/>
              <a:gd name="connsiteY155" fmla="*/ 539722 h 662520"/>
              <a:gd name="connsiteX156" fmla="*/ 1646939 w 2018830"/>
              <a:gd name="connsiteY156" fmla="*/ 575802 h 662520"/>
              <a:gd name="connsiteX157" fmla="*/ 1617815 w 2018830"/>
              <a:gd name="connsiteY157" fmla="*/ 606062 h 662520"/>
              <a:gd name="connsiteX158" fmla="*/ 1585189 w 2018830"/>
              <a:gd name="connsiteY158" fmla="*/ 630560 h 662520"/>
              <a:gd name="connsiteX159" fmla="*/ 1549614 w 2018830"/>
              <a:gd name="connsiteY159" fmla="*/ 649352 h 662520"/>
              <a:gd name="connsiteX160" fmla="*/ 1511642 w 2018830"/>
              <a:gd name="connsiteY160" fmla="*/ 662495 h 662520"/>
              <a:gd name="connsiteX161" fmla="*/ 1943430 w 2018830"/>
              <a:gd name="connsiteY161" fmla="*/ 662495 h 662520"/>
              <a:gd name="connsiteX162" fmla="*/ 1905459 w 2018830"/>
              <a:gd name="connsiteY162" fmla="*/ 649348 h 662520"/>
              <a:gd name="connsiteX163" fmla="*/ 1869885 w 2018830"/>
              <a:gd name="connsiteY163" fmla="*/ 630555 h 662520"/>
              <a:gd name="connsiteX164" fmla="*/ 1837261 w 2018830"/>
              <a:gd name="connsiteY164" fmla="*/ 606057 h 662520"/>
              <a:gd name="connsiteX165" fmla="*/ 1808138 w 2018830"/>
              <a:gd name="connsiteY165" fmla="*/ 575797 h 662520"/>
              <a:gd name="connsiteX166" fmla="*/ 1783072 w 2018830"/>
              <a:gd name="connsiteY166" fmla="*/ 539718 h 662520"/>
              <a:gd name="connsiteX167" fmla="*/ 1762613 w 2018830"/>
              <a:gd name="connsiteY167" fmla="*/ 497763 h 662520"/>
              <a:gd name="connsiteX168" fmla="*/ 1747315 w 2018830"/>
              <a:gd name="connsiteY168" fmla="*/ 449874 h 662520"/>
              <a:gd name="connsiteX169" fmla="*/ 1737731 w 2018830"/>
              <a:gd name="connsiteY169" fmla="*/ 395995 h 662520"/>
              <a:gd name="connsiteX170" fmla="*/ 1734413 w 2018830"/>
              <a:gd name="connsiteY170" fmla="*/ 336067 h 662520"/>
              <a:gd name="connsiteX171" fmla="*/ 1737652 w 2018830"/>
              <a:gd name="connsiteY171" fmla="*/ 276826 h 662520"/>
              <a:gd name="connsiteX172" fmla="*/ 1747014 w 2018830"/>
              <a:gd name="connsiteY172" fmla="*/ 223488 h 662520"/>
              <a:gd name="connsiteX173" fmla="*/ 1761965 w 2018830"/>
              <a:gd name="connsiteY173" fmla="*/ 175997 h 662520"/>
              <a:gd name="connsiteX174" fmla="*/ 1781973 w 2018830"/>
              <a:gd name="connsiteY174" fmla="*/ 134299 h 662520"/>
              <a:gd name="connsiteX175" fmla="*/ 1806505 w 2018830"/>
              <a:gd name="connsiteY175" fmla="*/ 98339 h 662520"/>
              <a:gd name="connsiteX176" fmla="*/ 1835026 w 2018830"/>
              <a:gd name="connsiteY176" fmla="*/ 68062 h 662520"/>
              <a:gd name="connsiteX177" fmla="*/ 1867005 w 2018830"/>
              <a:gd name="connsiteY177" fmla="*/ 43413 h 662520"/>
              <a:gd name="connsiteX178" fmla="*/ 1901908 w 2018830"/>
              <a:gd name="connsiteY178" fmla="*/ 24337 h 662520"/>
              <a:gd name="connsiteX179" fmla="*/ 1939202 w 2018830"/>
              <a:gd name="connsiteY179" fmla="*/ 10780 h 662520"/>
              <a:gd name="connsiteX180" fmla="*/ 1978353 w 2018830"/>
              <a:gd name="connsiteY180" fmla="*/ 2685 h 662520"/>
              <a:gd name="connsiteX181" fmla="*/ 2018830 w 2018830"/>
              <a:gd name="connsiteY181" fmla="*/ 0 h 662520"/>
              <a:gd name="connsiteX0" fmla="*/ 74231 w 1978353"/>
              <a:gd name="connsiteY0" fmla="*/ 662482 h 662520"/>
              <a:gd name="connsiteX1" fmla="*/ 60344 w 1978353"/>
              <a:gd name="connsiteY1" fmla="*/ 659582 h 662520"/>
              <a:gd name="connsiteX2" fmla="*/ 47517 w 1978353"/>
              <a:gd name="connsiteY2" fmla="*/ 656437 h 662520"/>
              <a:gd name="connsiteX3" fmla="*/ 35823 w 1978353"/>
              <a:gd name="connsiteY3" fmla="*/ 653092 h 662520"/>
              <a:gd name="connsiteX4" fmla="*/ 25336 w 1978353"/>
              <a:gd name="connsiteY4" fmla="*/ 649592 h 662520"/>
              <a:gd name="connsiteX5" fmla="*/ 25336 w 1978353"/>
              <a:gd name="connsiteY5" fmla="*/ 533196 h 662520"/>
              <a:gd name="connsiteX6" fmla="*/ 104190 w 1978353"/>
              <a:gd name="connsiteY6" fmla="*/ 533196 h 662520"/>
              <a:gd name="connsiteX7" fmla="*/ 116931 w 1978353"/>
              <a:gd name="connsiteY7" fmla="*/ 550133 h 662520"/>
              <a:gd name="connsiteX8" fmla="*/ 135043 w 1978353"/>
              <a:gd name="connsiteY8" fmla="*/ 564522 h 662520"/>
              <a:gd name="connsiteX9" fmla="*/ 160020 w 1978353"/>
              <a:gd name="connsiteY9" fmla="*/ 574514 h 662520"/>
              <a:gd name="connsiteX10" fmla="*/ 193357 w 1978353"/>
              <a:gd name="connsiteY10" fmla="*/ 578256 h 662520"/>
              <a:gd name="connsiteX11" fmla="*/ 233829 w 1978353"/>
              <a:gd name="connsiteY11" fmla="*/ 573672 h 662520"/>
              <a:gd name="connsiteX12" fmla="*/ 297105 w 1978353"/>
              <a:gd name="connsiteY12" fmla="*/ 537246 h 662520"/>
              <a:gd name="connsiteX13" fmla="*/ 320040 w 1978353"/>
              <a:gd name="connsiteY13" fmla="*/ 505568 h 662520"/>
              <a:gd name="connsiteX14" fmla="*/ 337261 w 1978353"/>
              <a:gd name="connsiteY14" fmla="*/ 465022 h 662520"/>
              <a:gd name="connsiteX15" fmla="*/ 348834 w 1978353"/>
              <a:gd name="connsiteY15" fmla="*/ 415691 h 662520"/>
              <a:gd name="connsiteX16" fmla="*/ 354825 w 1978353"/>
              <a:gd name="connsiteY16" fmla="*/ 357657 h 662520"/>
              <a:gd name="connsiteX17" fmla="*/ 325357 w 1978353"/>
              <a:gd name="connsiteY17" fmla="*/ 385098 h 662520"/>
              <a:gd name="connsiteX18" fmla="*/ 289466 w 1978353"/>
              <a:gd name="connsiteY18" fmla="*/ 406117 h 662520"/>
              <a:gd name="connsiteX19" fmla="*/ 247767 w 1978353"/>
              <a:gd name="connsiteY19" fmla="*/ 419568 h 662520"/>
              <a:gd name="connsiteX20" fmla="*/ 200875 w 1978353"/>
              <a:gd name="connsiteY20" fmla="*/ 424306 h 662520"/>
              <a:gd name="connsiteX21" fmla="*/ 153099 w 1978353"/>
              <a:gd name="connsiteY21" fmla="*/ 420031 h 662520"/>
              <a:gd name="connsiteX22" fmla="*/ 110150 w 1978353"/>
              <a:gd name="connsiteY22" fmla="*/ 407348 h 662520"/>
              <a:gd name="connsiteX23" fmla="*/ 72948 w 1978353"/>
              <a:gd name="connsiteY23" fmla="*/ 386472 h 662520"/>
              <a:gd name="connsiteX24" fmla="*/ 42412 w 1978353"/>
              <a:gd name="connsiteY24" fmla="*/ 357614 h 662520"/>
              <a:gd name="connsiteX25" fmla="*/ 19463 w 1978353"/>
              <a:gd name="connsiteY25" fmla="*/ 320990 h 662520"/>
              <a:gd name="connsiteX26" fmla="*/ 5019 w 1978353"/>
              <a:gd name="connsiteY26" fmla="*/ 276814 h 662520"/>
              <a:gd name="connsiteX27" fmla="*/ 0 w 1978353"/>
              <a:gd name="connsiteY27" fmla="*/ 225297 h 662520"/>
              <a:gd name="connsiteX28" fmla="*/ 4447 w 1978353"/>
              <a:gd name="connsiteY28" fmla="*/ 178425 h 662520"/>
              <a:gd name="connsiteX29" fmla="*/ 17453 w 1978353"/>
              <a:gd name="connsiteY29" fmla="*/ 135445 h 662520"/>
              <a:gd name="connsiteX30" fmla="*/ 38511 w 1978353"/>
              <a:gd name="connsiteY30" fmla="*/ 97085 h 662520"/>
              <a:gd name="connsiteX31" fmla="*/ 67116 w 1978353"/>
              <a:gd name="connsiteY31" fmla="*/ 64071 h 662520"/>
              <a:gd name="connsiteX32" fmla="*/ 102760 w 1978353"/>
              <a:gd name="connsiteY32" fmla="*/ 37129 h 662520"/>
              <a:gd name="connsiteX33" fmla="*/ 144939 w 1978353"/>
              <a:gd name="connsiteY33" fmla="*/ 16986 h 662520"/>
              <a:gd name="connsiteX34" fmla="*/ 193146 w 1978353"/>
              <a:gd name="connsiteY34" fmla="*/ 4367 h 662520"/>
              <a:gd name="connsiteX35" fmla="*/ 246875 w 1978353"/>
              <a:gd name="connsiteY35" fmla="*/ 0 h 662520"/>
              <a:gd name="connsiteX36" fmla="*/ 290625 w 1978353"/>
              <a:gd name="connsiteY36" fmla="*/ 2882 h 662520"/>
              <a:gd name="connsiteX37" fmla="*/ 331492 w 1978353"/>
              <a:gd name="connsiteY37" fmla="*/ 11678 h 662520"/>
              <a:gd name="connsiteX38" fmla="*/ 369070 w 1978353"/>
              <a:gd name="connsiteY38" fmla="*/ 26614 h 662520"/>
              <a:gd name="connsiteX39" fmla="*/ 402953 w 1978353"/>
              <a:gd name="connsiteY39" fmla="*/ 47914 h 662520"/>
              <a:gd name="connsiteX40" fmla="*/ 432736 w 1978353"/>
              <a:gd name="connsiteY40" fmla="*/ 75804 h 662520"/>
              <a:gd name="connsiteX41" fmla="*/ 458013 w 1978353"/>
              <a:gd name="connsiteY41" fmla="*/ 110509 h 662520"/>
              <a:gd name="connsiteX42" fmla="*/ 478379 w 1978353"/>
              <a:gd name="connsiteY42" fmla="*/ 152255 h 662520"/>
              <a:gd name="connsiteX43" fmla="*/ 493429 w 1978353"/>
              <a:gd name="connsiteY43" fmla="*/ 201265 h 662520"/>
              <a:gd name="connsiteX44" fmla="*/ 502756 w 1978353"/>
              <a:gd name="connsiteY44" fmla="*/ 257766 h 662520"/>
              <a:gd name="connsiteX45" fmla="*/ 505955 w 1978353"/>
              <a:gd name="connsiteY45" fmla="*/ 321983 h 662520"/>
              <a:gd name="connsiteX46" fmla="*/ 503406 w 1978353"/>
              <a:gd name="connsiteY46" fmla="*/ 376707 h 662520"/>
              <a:gd name="connsiteX47" fmla="*/ 495858 w 1978353"/>
              <a:gd name="connsiteY47" fmla="*/ 427041 h 662520"/>
              <a:gd name="connsiteX48" fmla="*/ 483456 w 1978353"/>
              <a:gd name="connsiteY48" fmla="*/ 472909 h 662520"/>
              <a:gd name="connsiteX49" fmla="*/ 466346 w 1978353"/>
              <a:gd name="connsiteY49" fmla="*/ 514232 h 662520"/>
              <a:gd name="connsiteX50" fmla="*/ 444674 w 1978353"/>
              <a:gd name="connsiteY50" fmla="*/ 550937 h 662520"/>
              <a:gd name="connsiteX51" fmla="*/ 418587 w 1978353"/>
              <a:gd name="connsiteY51" fmla="*/ 582945 h 662520"/>
              <a:gd name="connsiteX52" fmla="*/ 388229 w 1978353"/>
              <a:gd name="connsiteY52" fmla="*/ 610181 h 662520"/>
              <a:gd name="connsiteX53" fmla="*/ 353748 w 1978353"/>
              <a:gd name="connsiteY53" fmla="*/ 632569 h 662520"/>
              <a:gd name="connsiteX54" fmla="*/ 315289 w 1978353"/>
              <a:gd name="connsiteY54" fmla="*/ 650033 h 662520"/>
              <a:gd name="connsiteX55" fmla="*/ 272999 w 1978353"/>
              <a:gd name="connsiteY55" fmla="*/ 662495 h 662520"/>
              <a:gd name="connsiteX56" fmla="*/ 592162 w 1978353"/>
              <a:gd name="connsiteY56" fmla="*/ 662520 h 662520"/>
              <a:gd name="connsiteX57" fmla="*/ 571167 w 1978353"/>
              <a:gd name="connsiteY57" fmla="*/ 658030 h 662520"/>
              <a:gd name="connsiteX58" fmla="*/ 551373 w 1978353"/>
              <a:gd name="connsiteY58" fmla="*/ 652783 h 662520"/>
              <a:gd name="connsiteX59" fmla="*/ 532537 w 1978353"/>
              <a:gd name="connsiteY59" fmla="*/ 646826 h 662520"/>
              <a:gd name="connsiteX60" fmla="*/ 514413 w 1978353"/>
              <a:gd name="connsiteY60" fmla="*/ 640206 h 662520"/>
              <a:gd name="connsiteX61" fmla="*/ 514413 w 1978353"/>
              <a:gd name="connsiteY61" fmla="*/ 516293 h 662520"/>
              <a:gd name="connsiteX62" fmla="*/ 596087 w 1978353"/>
              <a:gd name="connsiteY62" fmla="*/ 516293 h 662520"/>
              <a:gd name="connsiteX63" fmla="*/ 612203 w 1978353"/>
              <a:gd name="connsiteY63" fmla="*/ 539439 h 662520"/>
              <a:gd name="connsiteX64" fmla="*/ 635627 w 1978353"/>
              <a:gd name="connsiteY64" fmla="*/ 559242 h 662520"/>
              <a:gd name="connsiteX65" fmla="*/ 666972 w 1978353"/>
              <a:gd name="connsiteY65" fmla="*/ 573062 h 662520"/>
              <a:gd name="connsiteX66" fmla="*/ 706856 w 1978353"/>
              <a:gd name="connsiteY66" fmla="*/ 578256 h 662520"/>
              <a:gd name="connsiteX67" fmla="*/ 749359 w 1978353"/>
              <a:gd name="connsiteY67" fmla="*/ 571758 h 662520"/>
              <a:gd name="connsiteX68" fmla="*/ 784298 w 1978353"/>
              <a:gd name="connsiteY68" fmla="*/ 552322 h 662520"/>
              <a:gd name="connsiteX69" fmla="*/ 807972 w 1978353"/>
              <a:gd name="connsiteY69" fmla="*/ 520038 h 662520"/>
              <a:gd name="connsiteX70" fmla="*/ 816686 w 1978353"/>
              <a:gd name="connsiteY70" fmla="*/ 474992 h 662520"/>
              <a:gd name="connsiteX71" fmla="*/ 809424 w 1978353"/>
              <a:gd name="connsiteY71" fmla="*/ 430240 h 662520"/>
              <a:gd name="connsiteX72" fmla="*/ 787466 w 1978353"/>
              <a:gd name="connsiteY72" fmla="*/ 398602 h 662520"/>
              <a:gd name="connsiteX73" fmla="*/ 750549 w 1978353"/>
              <a:gd name="connsiteY73" fmla="*/ 379812 h 662520"/>
              <a:gd name="connsiteX74" fmla="*/ 698411 w 1978353"/>
              <a:gd name="connsiteY74" fmla="*/ 373608 h 662520"/>
              <a:gd name="connsiteX75" fmla="*/ 649592 w 1978353"/>
              <a:gd name="connsiteY75" fmla="*/ 373608 h 662520"/>
              <a:gd name="connsiteX76" fmla="*/ 649592 w 1978353"/>
              <a:gd name="connsiteY76" fmla="*/ 286308 h 662520"/>
              <a:gd name="connsiteX77" fmla="*/ 690892 w 1978353"/>
              <a:gd name="connsiteY77" fmla="*/ 286308 h 662520"/>
              <a:gd name="connsiteX78" fmla="*/ 744563 w 1978353"/>
              <a:gd name="connsiteY78" fmla="*/ 280133 h 662520"/>
              <a:gd name="connsiteX79" fmla="*/ 783007 w 1978353"/>
              <a:gd name="connsiteY79" fmla="*/ 261550 h 662520"/>
              <a:gd name="connsiteX80" fmla="*/ 806137 w 1978353"/>
              <a:gd name="connsiteY80" fmla="*/ 230469 h 662520"/>
              <a:gd name="connsiteX81" fmla="*/ 813866 w 1978353"/>
              <a:gd name="connsiteY81" fmla="*/ 186804 h 662520"/>
              <a:gd name="connsiteX82" fmla="*/ 808513 w 1978353"/>
              <a:gd name="connsiteY82" fmla="*/ 149115 h 662520"/>
              <a:gd name="connsiteX83" fmla="*/ 792160 w 1978353"/>
              <a:gd name="connsiteY83" fmla="*/ 121104 h 662520"/>
              <a:gd name="connsiteX84" fmla="*/ 764365 w 1978353"/>
              <a:gd name="connsiteY84" fmla="*/ 103651 h 662520"/>
              <a:gd name="connsiteX85" fmla="*/ 724687 w 1978353"/>
              <a:gd name="connsiteY85" fmla="*/ 97637 h 662520"/>
              <a:gd name="connsiteX86" fmla="*/ 687243 w 1978353"/>
              <a:gd name="connsiteY86" fmla="*/ 102374 h 662520"/>
              <a:gd name="connsiteX87" fmla="*/ 657456 w 1978353"/>
              <a:gd name="connsiteY87" fmla="*/ 115117 h 662520"/>
              <a:gd name="connsiteX88" fmla="*/ 634533 w 1978353"/>
              <a:gd name="connsiteY88" fmla="*/ 133668 h 662520"/>
              <a:gd name="connsiteX89" fmla="*/ 617677 w 1978353"/>
              <a:gd name="connsiteY89" fmla="*/ 155828 h 662520"/>
              <a:gd name="connsiteX90" fmla="*/ 539775 w 1978353"/>
              <a:gd name="connsiteY90" fmla="*/ 155828 h 662520"/>
              <a:gd name="connsiteX91" fmla="*/ 539775 w 1978353"/>
              <a:gd name="connsiteY91" fmla="*/ 33807 h 662520"/>
              <a:gd name="connsiteX92" fmla="*/ 584006 w 1978353"/>
              <a:gd name="connsiteY92" fmla="*/ 19813 h 662520"/>
              <a:gd name="connsiteX93" fmla="*/ 631056 w 1978353"/>
              <a:gd name="connsiteY93" fmla="*/ 9159 h 662520"/>
              <a:gd name="connsiteX94" fmla="*/ 681278 w 1978353"/>
              <a:gd name="connsiteY94" fmla="*/ 2378 h 662520"/>
              <a:gd name="connsiteX95" fmla="*/ 735025 w 1978353"/>
              <a:gd name="connsiteY95" fmla="*/ 0 h 662520"/>
              <a:gd name="connsiteX96" fmla="*/ 790395 w 1978353"/>
              <a:gd name="connsiteY96" fmla="*/ 3158 h 662520"/>
              <a:gd name="connsiteX97" fmla="*/ 838689 w 1978353"/>
              <a:gd name="connsiteY97" fmla="*/ 12853 h 662520"/>
              <a:gd name="connsiteX98" fmla="*/ 879380 w 1978353"/>
              <a:gd name="connsiteY98" fmla="*/ 29412 h 662520"/>
              <a:gd name="connsiteX99" fmla="*/ 911943 w 1978353"/>
              <a:gd name="connsiteY99" fmla="*/ 53163 h 662520"/>
              <a:gd name="connsiteX100" fmla="*/ 935853 w 1978353"/>
              <a:gd name="connsiteY100" fmla="*/ 84435 h 662520"/>
              <a:gd name="connsiteX101" fmla="*/ 950584 w 1978353"/>
              <a:gd name="connsiteY101" fmla="*/ 123555 h 662520"/>
              <a:gd name="connsiteX102" fmla="*/ 955611 w 1978353"/>
              <a:gd name="connsiteY102" fmla="*/ 170853 h 662520"/>
              <a:gd name="connsiteX103" fmla="*/ 949453 w 1978353"/>
              <a:gd name="connsiteY103" fmla="*/ 219568 h 662520"/>
              <a:gd name="connsiteX104" fmla="*/ 931581 w 1978353"/>
              <a:gd name="connsiteY104" fmla="*/ 258234 h 662520"/>
              <a:gd name="connsiteX105" fmla="*/ 902895 w 1978353"/>
              <a:gd name="connsiteY105" fmla="*/ 287843 h 662520"/>
              <a:gd name="connsiteX106" fmla="*/ 864296 w 1978353"/>
              <a:gd name="connsiteY106" fmla="*/ 309388 h 662520"/>
              <a:gd name="connsiteX107" fmla="*/ 816686 w 1978353"/>
              <a:gd name="connsiteY107" fmla="*/ 323862 h 662520"/>
              <a:gd name="connsiteX108" fmla="*/ 816686 w 1978353"/>
              <a:gd name="connsiteY108" fmla="*/ 327609 h 662520"/>
              <a:gd name="connsiteX109" fmla="*/ 870681 w 1978353"/>
              <a:gd name="connsiteY109" fmla="*/ 340566 h 662520"/>
              <a:gd name="connsiteX110" fmla="*/ 912283 w 1978353"/>
              <a:gd name="connsiteY110" fmla="*/ 362534 h 662520"/>
              <a:gd name="connsiteX111" fmla="*/ 941719 w 1978353"/>
              <a:gd name="connsiteY111" fmla="*/ 393513 h 662520"/>
              <a:gd name="connsiteX112" fmla="*/ 959215 w 1978353"/>
              <a:gd name="connsiteY112" fmla="*/ 433502 h 662520"/>
              <a:gd name="connsiteX113" fmla="*/ 964996 w 1978353"/>
              <a:gd name="connsiteY113" fmla="*/ 482498 h 662520"/>
              <a:gd name="connsiteX114" fmla="*/ 959936 w 1978353"/>
              <a:gd name="connsiteY114" fmla="*/ 527743 h 662520"/>
              <a:gd name="connsiteX115" fmla="*/ 944659 w 1978353"/>
              <a:gd name="connsiteY115" fmla="*/ 567021 h 662520"/>
              <a:gd name="connsiteX116" fmla="*/ 920122 w 1978353"/>
              <a:gd name="connsiteY116" fmla="*/ 600232 h 662520"/>
              <a:gd name="connsiteX117" fmla="*/ 887285 w 1978353"/>
              <a:gd name="connsiteY117" fmla="*/ 627278 h 662520"/>
              <a:gd name="connsiteX118" fmla="*/ 847106 w 1978353"/>
              <a:gd name="connsiteY118" fmla="*/ 648061 h 662520"/>
              <a:gd name="connsiteX119" fmla="*/ 800544 w 1978353"/>
              <a:gd name="connsiteY119" fmla="*/ 662482 h 662520"/>
              <a:gd name="connsiteX120" fmla="*/ 1360843 w 1978353"/>
              <a:gd name="connsiteY120" fmla="*/ 662495 h 662520"/>
              <a:gd name="connsiteX121" fmla="*/ 1322871 w 1978353"/>
              <a:gd name="connsiteY121" fmla="*/ 649352 h 662520"/>
              <a:gd name="connsiteX122" fmla="*/ 1287296 w 1978353"/>
              <a:gd name="connsiteY122" fmla="*/ 630560 h 662520"/>
              <a:gd name="connsiteX123" fmla="*/ 1254670 w 1978353"/>
              <a:gd name="connsiteY123" fmla="*/ 606062 h 662520"/>
              <a:gd name="connsiteX124" fmla="*/ 1225546 w 1978353"/>
              <a:gd name="connsiteY124" fmla="*/ 575802 h 662520"/>
              <a:gd name="connsiteX125" fmla="*/ 1200477 w 1978353"/>
              <a:gd name="connsiteY125" fmla="*/ 539722 h 662520"/>
              <a:gd name="connsiteX126" fmla="*/ 1180016 w 1978353"/>
              <a:gd name="connsiteY126" fmla="*/ 497766 h 662520"/>
              <a:gd name="connsiteX127" fmla="*/ 1164717 w 1978353"/>
              <a:gd name="connsiteY127" fmla="*/ 449876 h 662520"/>
              <a:gd name="connsiteX128" fmla="*/ 1155131 w 1978353"/>
              <a:gd name="connsiteY128" fmla="*/ 395995 h 662520"/>
              <a:gd name="connsiteX129" fmla="*/ 1151813 w 1978353"/>
              <a:gd name="connsiteY129" fmla="*/ 336067 h 662520"/>
              <a:gd name="connsiteX130" fmla="*/ 1155053 w 1978353"/>
              <a:gd name="connsiteY130" fmla="*/ 276826 h 662520"/>
              <a:gd name="connsiteX131" fmla="*/ 1164415 w 1978353"/>
              <a:gd name="connsiteY131" fmla="*/ 223488 h 662520"/>
              <a:gd name="connsiteX132" fmla="*/ 1179368 w 1978353"/>
              <a:gd name="connsiteY132" fmla="*/ 175997 h 662520"/>
              <a:gd name="connsiteX133" fmla="*/ 1199377 w 1978353"/>
              <a:gd name="connsiteY133" fmla="*/ 134299 h 662520"/>
              <a:gd name="connsiteX134" fmla="*/ 1223910 w 1978353"/>
              <a:gd name="connsiteY134" fmla="*/ 98339 h 662520"/>
              <a:gd name="connsiteX135" fmla="*/ 1252434 w 1978353"/>
              <a:gd name="connsiteY135" fmla="*/ 68062 h 662520"/>
              <a:gd name="connsiteX136" fmla="*/ 1284414 w 1978353"/>
              <a:gd name="connsiteY136" fmla="*/ 43413 h 662520"/>
              <a:gd name="connsiteX137" fmla="*/ 1319318 w 1978353"/>
              <a:gd name="connsiteY137" fmla="*/ 24337 h 662520"/>
              <a:gd name="connsiteX138" fmla="*/ 1356613 w 1978353"/>
              <a:gd name="connsiteY138" fmla="*/ 10780 h 662520"/>
              <a:gd name="connsiteX139" fmla="*/ 1395766 w 1978353"/>
              <a:gd name="connsiteY139" fmla="*/ 2685 h 662520"/>
              <a:gd name="connsiteX140" fmla="*/ 1436243 w 1978353"/>
              <a:gd name="connsiteY140" fmla="*/ 0 h 662520"/>
              <a:gd name="connsiteX141" fmla="*/ 1476722 w 1978353"/>
              <a:gd name="connsiteY141" fmla="*/ 2685 h 662520"/>
              <a:gd name="connsiteX142" fmla="*/ 1515876 w 1978353"/>
              <a:gd name="connsiteY142" fmla="*/ 10780 h 662520"/>
              <a:gd name="connsiteX143" fmla="*/ 1553172 w 1978353"/>
              <a:gd name="connsiteY143" fmla="*/ 24337 h 662520"/>
              <a:gd name="connsiteX144" fmla="*/ 1588076 w 1978353"/>
              <a:gd name="connsiteY144" fmla="*/ 43413 h 662520"/>
              <a:gd name="connsiteX145" fmla="*/ 1620056 w 1978353"/>
              <a:gd name="connsiteY145" fmla="*/ 68062 h 662520"/>
              <a:gd name="connsiteX146" fmla="*/ 1648579 w 1978353"/>
              <a:gd name="connsiteY146" fmla="*/ 98339 h 662520"/>
              <a:gd name="connsiteX147" fmla="*/ 1673111 w 1978353"/>
              <a:gd name="connsiteY147" fmla="*/ 134299 h 662520"/>
              <a:gd name="connsiteX148" fmla="*/ 1693119 w 1978353"/>
              <a:gd name="connsiteY148" fmla="*/ 175997 h 662520"/>
              <a:gd name="connsiteX149" fmla="*/ 1708071 w 1978353"/>
              <a:gd name="connsiteY149" fmla="*/ 223488 h 662520"/>
              <a:gd name="connsiteX150" fmla="*/ 1717433 w 1978353"/>
              <a:gd name="connsiteY150" fmla="*/ 276826 h 662520"/>
              <a:gd name="connsiteX151" fmla="*/ 1720672 w 1978353"/>
              <a:gd name="connsiteY151" fmla="*/ 336067 h 662520"/>
              <a:gd name="connsiteX152" fmla="*/ 1717354 w 1978353"/>
              <a:gd name="connsiteY152" fmla="*/ 395995 h 662520"/>
              <a:gd name="connsiteX153" fmla="*/ 1707768 w 1978353"/>
              <a:gd name="connsiteY153" fmla="*/ 449876 h 662520"/>
              <a:gd name="connsiteX154" fmla="*/ 1692469 w 1978353"/>
              <a:gd name="connsiteY154" fmla="*/ 497766 h 662520"/>
              <a:gd name="connsiteX155" fmla="*/ 1672008 w 1978353"/>
              <a:gd name="connsiteY155" fmla="*/ 539722 h 662520"/>
              <a:gd name="connsiteX156" fmla="*/ 1646939 w 1978353"/>
              <a:gd name="connsiteY156" fmla="*/ 575802 h 662520"/>
              <a:gd name="connsiteX157" fmla="*/ 1617815 w 1978353"/>
              <a:gd name="connsiteY157" fmla="*/ 606062 h 662520"/>
              <a:gd name="connsiteX158" fmla="*/ 1585189 w 1978353"/>
              <a:gd name="connsiteY158" fmla="*/ 630560 h 662520"/>
              <a:gd name="connsiteX159" fmla="*/ 1549614 w 1978353"/>
              <a:gd name="connsiteY159" fmla="*/ 649352 h 662520"/>
              <a:gd name="connsiteX160" fmla="*/ 1511642 w 1978353"/>
              <a:gd name="connsiteY160" fmla="*/ 662495 h 662520"/>
              <a:gd name="connsiteX161" fmla="*/ 1943430 w 1978353"/>
              <a:gd name="connsiteY161" fmla="*/ 662495 h 662520"/>
              <a:gd name="connsiteX162" fmla="*/ 1905459 w 1978353"/>
              <a:gd name="connsiteY162" fmla="*/ 649348 h 662520"/>
              <a:gd name="connsiteX163" fmla="*/ 1869885 w 1978353"/>
              <a:gd name="connsiteY163" fmla="*/ 630555 h 662520"/>
              <a:gd name="connsiteX164" fmla="*/ 1837261 w 1978353"/>
              <a:gd name="connsiteY164" fmla="*/ 606057 h 662520"/>
              <a:gd name="connsiteX165" fmla="*/ 1808138 w 1978353"/>
              <a:gd name="connsiteY165" fmla="*/ 575797 h 662520"/>
              <a:gd name="connsiteX166" fmla="*/ 1783072 w 1978353"/>
              <a:gd name="connsiteY166" fmla="*/ 539718 h 662520"/>
              <a:gd name="connsiteX167" fmla="*/ 1762613 w 1978353"/>
              <a:gd name="connsiteY167" fmla="*/ 497763 h 662520"/>
              <a:gd name="connsiteX168" fmla="*/ 1747315 w 1978353"/>
              <a:gd name="connsiteY168" fmla="*/ 449874 h 662520"/>
              <a:gd name="connsiteX169" fmla="*/ 1737731 w 1978353"/>
              <a:gd name="connsiteY169" fmla="*/ 395995 h 662520"/>
              <a:gd name="connsiteX170" fmla="*/ 1734413 w 1978353"/>
              <a:gd name="connsiteY170" fmla="*/ 336067 h 662520"/>
              <a:gd name="connsiteX171" fmla="*/ 1737652 w 1978353"/>
              <a:gd name="connsiteY171" fmla="*/ 276826 h 662520"/>
              <a:gd name="connsiteX172" fmla="*/ 1747014 w 1978353"/>
              <a:gd name="connsiteY172" fmla="*/ 223488 h 662520"/>
              <a:gd name="connsiteX173" fmla="*/ 1761965 w 1978353"/>
              <a:gd name="connsiteY173" fmla="*/ 175997 h 662520"/>
              <a:gd name="connsiteX174" fmla="*/ 1781973 w 1978353"/>
              <a:gd name="connsiteY174" fmla="*/ 134299 h 662520"/>
              <a:gd name="connsiteX175" fmla="*/ 1806505 w 1978353"/>
              <a:gd name="connsiteY175" fmla="*/ 98339 h 662520"/>
              <a:gd name="connsiteX176" fmla="*/ 1835026 w 1978353"/>
              <a:gd name="connsiteY176" fmla="*/ 68062 h 662520"/>
              <a:gd name="connsiteX177" fmla="*/ 1867005 w 1978353"/>
              <a:gd name="connsiteY177" fmla="*/ 43413 h 662520"/>
              <a:gd name="connsiteX178" fmla="*/ 1901908 w 1978353"/>
              <a:gd name="connsiteY178" fmla="*/ 24337 h 662520"/>
              <a:gd name="connsiteX179" fmla="*/ 1939202 w 1978353"/>
              <a:gd name="connsiteY179" fmla="*/ 10780 h 662520"/>
              <a:gd name="connsiteX180" fmla="*/ 1978353 w 1978353"/>
              <a:gd name="connsiteY180" fmla="*/ 2685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173" fmla="*/ 1761965 w 1943430"/>
              <a:gd name="connsiteY173" fmla="*/ 175997 h 662520"/>
              <a:gd name="connsiteX174" fmla="*/ 1781973 w 1943430"/>
              <a:gd name="connsiteY174" fmla="*/ 134299 h 662520"/>
              <a:gd name="connsiteX175" fmla="*/ 1806505 w 1943430"/>
              <a:gd name="connsiteY175" fmla="*/ 98339 h 662520"/>
              <a:gd name="connsiteX176" fmla="*/ 1835026 w 1943430"/>
              <a:gd name="connsiteY176" fmla="*/ 68062 h 662520"/>
              <a:gd name="connsiteX177" fmla="*/ 1867005 w 1943430"/>
              <a:gd name="connsiteY177" fmla="*/ 43413 h 662520"/>
              <a:gd name="connsiteX178" fmla="*/ 1901908 w 1943430"/>
              <a:gd name="connsiteY178" fmla="*/ 24337 h 662520"/>
              <a:gd name="connsiteX179" fmla="*/ 1939202 w 1943430"/>
              <a:gd name="connsiteY179" fmla="*/ 10780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173" fmla="*/ 1761965 w 1943430"/>
              <a:gd name="connsiteY173" fmla="*/ 175997 h 662520"/>
              <a:gd name="connsiteX174" fmla="*/ 1781973 w 1943430"/>
              <a:gd name="connsiteY174" fmla="*/ 134299 h 662520"/>
              <a:gd name="connsiteX175" fmla="*/ 1806505 w 1943430"/>
              <a:gd name="connsiteY175" fmla="*/ 98339 h 662520"/>
              <a:gd name="connsiteX176" fmla="*/ 1835026 w 1943430"/>
              <a:gd name="connsiteY176" fmla="*/ 68062 h 662520"/>
              <a:gd name="connsiteX177" fmla="*/ 1867005 w 1943430"/>
              <a:gd name="connsiteY177" fmla="*/ 43413 h 662520"/>
              <a:gd name="connsiteX178" fmla="*/ 1901908 w 1943430"/>
              <a:gd name="connsiteY178" fmla="*/ 24337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173" fmla="*/ 1761965 w 1943430"/>
              <a:gd name="connsiteY173" fmla="*/ 175997 h 662520"/>
              <a:gd name="connsiteX174" fmla="*/ 1781973 w 1943430"/>
              <a:gd name="connsiteY174" fmla="*/ 134299 h 662520"/>
              <a:gd name="connsiteX175" fmla="*/ 1806505 w 1943430"/>
              <a:gd name="connsiteY175" fmla="*/ 98339 h 662520"/>
              <a:gd name="connsiteX176" fmla="*/ 1835026 w 1943430"/>
              <a:gd name="connsiteY176" fmla="*/ 68062 h 662520"/>
              <a:gd name="connsiteX177" fmla="*/ 1867005 w 1943430"/>
              <a:gd name="connsiteY177" fmla="*/ 43413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173" fmla="*/ 1761965 w 1943430"/>
              <a:gd name="connsiteY173" fmla="*/ 175997 h 662520"/>
              <a:gd name="connsiteX174" fmla="*/ 1781973 w 1943430"/>
              <a:gd name="connsiteY174" fmla="*/ 134299 h 662520"/>
              <a:gd name="connsiteX175" fmla="*/ 1806505 w 1943430"/>
              <a:gd name="connsiteY175" fmla="*/ 98339 h 662520"/>
              <a:gd name="connsiteX176" fmla="*/ 1835026 w 1943430"/>
              <a:gd name="connsiteY176" fmla="*/ 68062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173" fmla="*/ 1761965 w 1943430"/>
              <a:gd name="connsiteY173" fmla="*/ 175997 h 662520"/>
              <a:gd name="connsiteX174" fmla="*/ 1781973 w 1943430"/>
              <a:gd name="connsiteY174" fmla="*/ 134299 h 662520"/>
              <a:gd name="connsiteX175" fmla="*/ 1806505 w 1943430"/>
              <a:gd name="connsiteY175" fmla="*/ 98339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173" fmla="*/ 1761965 w 1943430"/>
              <a:gd name="connsiteY173" fmla="*/ 175997 h 662520"/>
              <a:gd name="connsiteX174" fmla="*/ 1781973 w 1943430"/>
              <a:gd name="connsiteY174" fmla="*/ 134299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173" fmla="*/ 1761965 w 1943430"/>
              <a:gd name="connsiteY173" fmla="*/ 175997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173" fmla="*/ 1761965 w 1943430"/>
              <a:gd name="connsiteY173" fmla="*/ 175997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173" fmla="*/ 1761965 w 1943430"/>
              <a:gd name="connsiteY173" fmla="*/ 175997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172" fmla="*/ 1747014 w 1943430"/>
              <a:gd name="connsiteY172" fmla="*/ 223488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171" fmla="*/ 1737652 w 1943430"/>
              <a:gd name="connsiteY171" fmla="*/ 276826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170" fmla="*/ 1734413 w 1943430"/>
              <a:gd name="connsiteY170" fmla="*/ 336067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169" fmla="*/ 1737731 w 1943430"/>
              <a:gd name="connsiteY169" fmla="*/ 395995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168" fmla="*/ 1747315 w 1943430"/>
              <a:gd name="connsiteY168" fmla="*/ 449874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167" fmla="*/ 1762613 w 1943430"/>
              <a:gd name="connsiteY167" fmla="*/ 497763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166" fmla="*/ 1783072 w 1943430"/>
              <a:gd name="connsiteY166" fmla="*/ 539718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165" fmla="*/ 1808138 w 1943430"/>
              <a:gd name="connsiteY165" fmla="*/ 575797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164" fmla="*/ 1837261 w 1943430"/>
              <a:gd name="connsiteY164" fmla="*/ 606057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163" fmla="*/ 1869885 w 1943430"/>
              <a:gd name="connsiteY163" fmla="*/ 630555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162" fmla="*/ 1905459 w 1943430"/>
              <a:gd name="connsiteY162" fmla="*/ 649348 h 662520"/>
              <a:gd name="connsiteX0" fmla="*/ 74231 w 1943430"/>
              <a:gd name="connsiteY0" fmla="*/ 662482 h 662520"/>
              <a:gd name="connsiteX1" fmla="*/ 60344 w 1943430"/>
              <a:gd name="connsiteY1" fmla="*/ 659582 h 662520"/>
              <a:gd name="connsiteX2" fmla="*/ 47517 w 1943430"/>
              <a:gd name="connsiteY2" fmla="*/ 656437 h 662520"/>
              <a:gd name="connsiteX3" fmla="*/ 35823 w 1943430"/>
              <a:gd name="connsiteY3" fmla="*/ 653092 h 662520"/>
              <a:gd name="connsiteX4" fmla="*/ 25336 w 1943430"/>
              <a:gd name="connsiteY4" fmla="*/ 649592 h 662520"/>
              <a:gd name="connsiteX5" fmla="*/ 25336 w 1943430"/>
              <a:gd name="connsiteY5" fmla="*/ 533196 h 662520"/>
              <a:gd name="connsiteX6" fmla="*/ 104190 w 1943430"/>
              <a:gd name="connsiteY6" fmla="*/ 533196 h 662520"/>
              <a:gd name="connsiteX7" fmla="*/ 116931 w 1943430"/>
              <a:gd name="connsiteY7" fmla="*/ 550133 h 662520"/>
              <a:gd name="connsiteX8" fmla="*/ 135043 w 1943430"/>
              <a:gd name="connsiteY8" fmla="*/ 564522 h 662520"/>
              <a:gd name="connsiteX9" fmla="*/ 160020 w 1943430"/>
              <a:gd name="connsiteY9" fmla="*/ 574514 h 662520"/>
              <a:gd name="connsiteX10" fmla="*/ 193357 w 1943430"/>
              <a:gd name="connsiteY10" fmla="*/ 578256 h 662520"/>
              <a:gd name="connsiteX11" fmla="*/ 233829 w 1943430"/>
              <a:gd name="connsiteY11" fmla="*/ 573672 h 662520"/>
              <a:gd name="connsiteX12" fmla="*/ 297105 w 1943430"/>
              <a:gd name="connsiteY12" fmla="*/ 537246 h 662520"/>
              <a:gd name="connsiteX13" fmla="*/ 320040 w 1943430"/>
              <a:gd name="connsiteY13" fmla="*/ 505568 h 662520"/>
              <a:gd name="connsiteX14" fmla="*/ 337261 w 1943430"/>
              <a:gd name="connsiteY14" fmla="*/ 465022 h 662520"/>
              <a:gd name="connsiteX15" fmla="*/ 348834 w 1943430"/>
              <a:gd name="connsiteY15" fmla="*/ 415691 h 662520"/>
              <a:gd name="connsiteX16" fmla="*/ 354825 w 1943430"/>
              <a:gd name="connsiteY16" fmla="*/ 357657 h 662520"/>
              <a:gd name="connsiteX17" fmla="*/ 325357 w 1943430"/>
              <a:gd name="connsiteY17" fmla="*/ 385098 h 662520"/>
              <a:gd name="connsiteX18" fmla="*/ 289466 w 1943430"/>
              <a:gd name="connsiteY18" fmla="*/ 406117 h 662520"/>
              <a:gd name="connsiteX19" fmla="*/ 247767 w 1943430"/>
              <a:gd name="connsiteY19" fmla="*/ 419568 h 662520"/>
              <a:gd name="connsiteX20" fmla="*/ 200875 w 1943430"/>
              <a:gd name="connsiteY20" fmla="*/ 424306 h 662520"/>
              <a:gd name="connsiteX21" fmla="*/ 153099 w 1943430"/>
              <a:gd name="connsiteY21" fmla="*/ 420031 h 662520"/>
              <a:gd name="connsiteX22" fmla="*/ 110150 w 1943430"/>
              <a:gd name="connsiteY22" fmla="*/ 407348 h 662520"/>
              <a:gd name="connsiteX23" fmla="*/ 72948 w 1943430"/>
              <a:gd name="connsiteY23" fmla="*/ 386472 h 662520"/>
              <a:gd name="connsiteX24" fmla="*/ 42412 w 1943430"/>
              <a:gd name="connsiteY24" fmla="*/ 357614 h 662520"/>
              <a:gd name="connsiteX25" fmla="*/ 19463 w 1943430"/>
              <a:gd name="connsiteY25" fmla="*/ 320990 h 662520"/>
              <a:gd name="connsiteX26" fmla="*/ 5019 w 1943430"/>
              <a:gd name="connsiteY26" fmla="*/ 276814 h 662520"/>
              <a:gd name="connsiteX27" fmla="*/ 0 w 1943430"/>
              <a:gd name="connsiteY27" fmla="*/ 225297 h 662520"/>
              <a:gd name="connsiteX28" fmla="*/ 4447 w 1943430"/>
              <a:gd name="connsiteY28" fmla="*/ 178425 h 662520"/>
              <a:gd name="connsiteX29" fmla="*/ 17453 w 1943430"/>
              <a:gd name="connsiteY29" fmla="*/ 135445 h 662520"/>
              <a:gd name="connsiteX30" fmla="*/ 38511 w 1943430"/>
              <a:gd name="connsiteY30" fmla="*/ 97085 h 662520"/>
              <a:gd name="connsiteX31" fmla="*/ 67116 w 1943430"/>
              <a:gd name="connsiteY31" fmla="*/ 64071 h 662520"/>
              <a:gd name="connsiteX32" fmla="*/ 102760 w 1943430"/>
              <a:gd name="connsiteY32" fmla="*/ 37129 h 662520"/>
              <a:gd name="connsiteX33" fmla="*/ 144939 w 1943430"/>
              <a:gd name="connsiteY33" fmla="*/ 16986 h 662520"/>
              <a:gd name="connsiteX34" fmla="*/ 193146 w 1943430"/>
              <a:gd name="connsiteY34" fmla="*/ 4367 h 662520"/>
              <a:gd name="connsiteX35" fmla="*/ 246875 w 1943430"/>
              <a:gd name="connsiteY35" fmla="*/ 0 h 662520"/>
              <a:gd name="connsiteX36" fmla="*/ 290625 w 1943430"/>
              <a:gd name="connsiteY36" fmla="*/ 2882 h 662520"/>
              <a:gd name="connsiteX37" fmla="*/ 331492 w 1943430"/>
              <a:gd name="connsiteY37" fmla="*/ 11678 h 662520"/>
              <a:gd name="connsiteX38" fmla="*/ 369070 w 1943430"/>
              <a:gd name="connsiteY38" fmla="*/ 26614 h 662520"/>
              <a:gd name="connsiteX39" fmla="*/ 402953 w 1943430"/>
              <a:gd name="connsiteY39" fmla="*/ 47914 h 662520"/>
              <a:gd name="connsiteX40" fmla="*/ 432736 w 1943430"/>
              <a:gd name="connsiteY40" fmla="*/ 75804 h 662520"/>
              <a:gd name="connsiteX41" fmla="*/ 458013 w 1943430"/>
              <a:gd name="connsiteY41" fmla="*/ 110509 h 662520"/>
              <a:gd name="connsiteX42" fmla="*/ 478379 w 1943430"/>
              <a:gd name="connsiteY42" fmla="*/ 152255 h 662520"/>
              <a:gd name="connsiteX43" fmla="*/ 493429 w 1943430"/>
              <a:gd name="connsiteY43" fmla="*/ 201265 h 662520"/>
              <a:gd name="connsiteX44" fmla="*/ 502756 w 1943430"/>
              <a:gd name="connsiteY44" fmla="*/ 257766 h 662520"/>
              <a:gd name="connsiteX45" fmla="*/ 505955 w 1943430"/>
              <a:gd name="connsiteY45" fmla="*/ 321983 h 662520"/>
              <a:gd name="connsiteX46" fmla="*/ 503406 w 1943430"/>
              <a:gd name="connsiteY46" fmla="*/ 376707 h 662520"/>
              <a:gd name="connsiteX47" fmla="*/ 495858 w 1943430"/>
              <a:gd name="connsiteY47" fmla="*/ 427041 h 662520"/>
              <a:gd name="connsiteX48" fmla="*/ 483456 w 1943430"/>
              <a:gd name="connsiteY48" fmla="*/ 472909 h 662520"/>
              <a:gd name="connsiteX49" fmla="*/ 466346 w 1943430"/>
              <a:gd name="connsiteY49" fmla="*/ 514232 h 662520"/>
              <a:gd name="connsiteX50" fmla="*/ 444674 w 1943430"/>
              <a:gd name="connsiteY50" fmla="*/ 550937 h 662520"/>
              <a:gd name="connsiteX51" fmla="*/ 418587 w 1943430"/>
              <a:gd name="connsiteY51" fmla="*/ 582945 h 662520"/>
              <a:gd name="connsiteX52" fmla="*/ 388229 w 1943430"/>
              <a:gd name="connsiteY52" fmla="*/ 610181 h 662520"/>
              <a:gd name="connsiteX53" fmla="*/ 353748 w 1943430"/>
              <a:gd name="connsiteY53" fmla="*/ 632569 h 662520"/>
              <a:gd name="connsiteX54" fmla="*/ 315289 w 1943430"/>
              <a:gd name="connsiteY54" fmla="*/ 650033 h 662520"/>
              <a:gd name="connsiteX55" fmla="*/ 272999 w 1943430"/>
              <a:gd name="connsiteY55" fmla="*/ 662495 h 662520"/>
              <a:gd name="connsiteX56" fmla="*/ 592162 w 1943430"/>
              <a:gd name="connsiteY56" fmla="*/ 662520 h 662520"/>
              <a:gd name="connsiteX57" fmla="*/ 571167 w 1943430"/>
              <a:gd name="connsiteY57" fmla="*/ 658030 h 662520"/>
              <a:gd name="connsiteX58" fmla="*/ 551373 w 1943430"/>
              <a:gd name="connsiteY58" fmla="*/ 652783 h 662520"/>
              <a:gd name="connsiteX59" fmla="*/ 532537 w 1943430"/>
              <a:gd name="connsiteY59" fmla="*/ 646826 h 662520"/>
              <a:gd name="connsiteX60" fmla="*/ 514413 w 1943430"/>
              <a:gd name="connsiteY60" fmla="*/ 640206 h 662520"/>
              <a:gd name="connsiteX61" fmla="*/ 514413 w 1943430"/>
              <a:gd name="connsiteY61" fmla="*/ 516293 h 662520"/>
              <a:gd name="connsiteX62" fmla="*/ 596087 w 1943430"/>
              <a:gd name="connsiteY62" fmla="*/ 516293 h 662520"/>
              <a:gd name="connsiteX63" fmla="*/ 612203 w 1943430"/>
              <a:gd name="connsiteY63" fmla="*/ 539439 h 662520"/>
              <a:gd name="connsiteX64" fmla="*/ 635627 w 1943430"/>
              <a:gd name="connsiteY64" fmla="*/ 559242 h 662520"/>
              <a:gd name="connsiteX65" fmla="*/ 666972 w 1943430"/>
              <a:gd name="connsiteY65" fmla="*/ 573062 h 662520"/>
              <a:gd name="connsiteX66" fmla="*/ 706856 w 1943430"/>
              <a:gd name="connsiteY66" fmla="*/ 578256 h 662520"/>
              <a:gd name="connsiteX67" fmla="*/ 749359 w 1943430"/>
              <a:gd name="connsiteY67" fmla="*/ 571758 h 662520"/>
              <a:gd name="connsiteX68" fmla="*/ 784298 w 1943430"/>
              <a:gd name="connsiteY68" fmla="*/ 552322 h 662520"/>
              <a:gd name="connsiteX69" fmla="*/ 807972 w 1943430"/>
              <a:gd name="connsiteY69" fmla="*/ 520038 h 662520"/>
              <a:gd name="connsiteX70" fmla="*/ 816686 w 1943430"/>
              <a:gd name="connsiteY70" fmla="*/ 474992 h 662520"/>
              <a:gd name="connsiteX71" fmla="*/ 809424 w 1943430"/>
              <a:gd name="connsiteY71" fmla="*/ 430240 h 662520"/>
              <a:gd name="connsiteX72" fmla="*/ 787466 w 1943430"/>
              <a:gd name="connsiteY72" fmla="*/ 398602 h 662520"/>
              <a:gd name="connsiteX73" fmla="*/ 750549 w 1943430"/>
              <a:gd name="connsiteY73" fmla="*/ 379812 h 662520"/>
              <a:gd name="connsiteX74" fmla="*/ 698411 w 1943430"/>
              <a:gd name="connsiteY74" fmla="*/ 373608 h 662520"/>
              <a:gd name="connsiteX75" fmla="*/ 649592 w 1943430"/>
              <a:gd name="connsiteY75" fmla="*/ 373608 h 662520"/>
              <a:gd name="connsiteX76" fmla="*/ 649592 w 1943430"/>
              <a:gd name="connsiteY76" fmla="*/ 286308 h 662520"/>
              <a:gd name="connsiteX77" fmla="*/ 690892 w 1943430"/>
              <a:gd name="connsiteY77" fmla="*/ 286308 h 662520"/>
              <a:gd name="connsiteX78" fmla="*/ 744563 w 1943430"/>
              <a:gd name="connsiteY78" fmla="*/ 280133 h 662520"/>
              <a:gd name="connsiteX79" fmla="*/ 783007 w 1943430"/>
              <a:gd name="connsiteY79" fmla="*/ 261550 h 662520"/>
              <a:gd name="connsiteX80" fmla="*/ 806137 w 1943430"/>
              <a:gd name="connsiteY80" fmla="*/ 230469 h 662520"/>
              <a:gd name="connsiteX81" fmla="*/ 813866 w 1943430"/>
              <a:gd name="connsiteY81" fmla="*/ 186804 h 662520"/>
              <a:gd name="connsiteX82" fmla="*/ 808513 w 1943430"/>
              <a:gd name="connsiteY82" fmla="*/ 149115 h 662520"/>
              <a:gd name="connsiteX83" fmla="*/ 792160 w 1943430"/>
              <a:gd name="connsiteY83" fmla="*/ 121104 h 662520"/>
              <a:gd name="connsiteX84" fmla="*/ 764365 w 1943430"/>
              <a:gd name="connsiteY84" fmla="*/ 103651 h 662520"/>
              <a:gd name="connsiteX85" fmla="*/ 724687 w 1943430"/>
              <a:gd name="connsiteY85" fmla="*/ 97637 h 662520"/>
              <a:gd name="connsiteX86" fmla="*/ 687243 w 1943430"/>
              <a:gd name="connsiteY86" fmla="*/ 102374 h 662520"/>
              <a:gd name="connsiteX87" fmla="*/ 657456 w 1943430"/>
              <a:gd name="connsiteY87" fmla="*/ 115117 h 662520"/>
              <a:gd name="connsiteX88" fmla="*/ 634533 w 1943430"/>
              <a:gd name="connsiteY88" fmla="*/ 133668 h 662520"/>
              <a:gd name="connsiteX89" fmla="*/ 617677 w 1943430"/>
              <a:gd name="connsiteY89" fmla="*/ 155828 h 662520"/>
              <a:gd name="connsiteX90" fmla="*/ 539775 w 1943430"/>
              <a:gd name="connsiteY90" fmla="*/ 155828 h 662520"/>
              <a:gd name="connsiteX91" fmla="*/ 539775 w 1943430"/>
              <a:gd name="connsiteY91" fmla="*/ 33807 h 662520"/>
              <a:gd name="connsiteX92" fmla="*/ 584006 w 1943430"/>
              <a:gd name="connsiteY92" fmla="*/ 19813 h 662520"/>
              <a:gd name="connsiteX93" fmla="*/ 631056 w 1943430"/>
              <a:gd name="connsiteY93" fmla="*/ 9159 h 662520"/>
              <a:gd name="connsiteX94" fmla="*/ 681278 w 1943430"/>
              <a:gd name="connsiteY94" fmla="*/ 2378 h 662520"/>
              <a:gd name="connsiteX95" fmla="*/ 735025 w 1943430"/>
              <a:gd name="connsiteY95" fmla="*/ 0 h 662520"/>
              <a:gd name="connsiteX96" fmla="*/ 790395 w 1943430"/>
              <a:gd name="connsiteY96" fmla="*/ 3158 h 662520"/>
              <a:gd name="connsiteX97" fmla="*/ 838689 w 1943430"/>
              <a:gd name="connsiteY97" fmla="*/ 12853 h 662520"/>
              <a:gd name="connsiteX98" fmla="*/ 879380 w 1943430"/>
              <a:gd name="connsiteY98" fmla="*/ 29412 h 662520"/>
              <a:gd name="connsiteX99" fmla="*/ 911943 w 1943430"/>
              <a:gd name="connsiteY99" fmla="*/ 53163 h 662520"/>
              <a:gd name="connsiteX100" fmla="*/ 935853 w 1943430"/>
              <a:gd name="connsiteY100" fmla="*/ 84435 h 662520"/>
              <a:gd name="connsiteX101" fmla="*/ 950584 w 1943430"/>
              <a:gd name="connsiteY101" fmla="*/ 123555 h 662520"/>
              <a:gd name="connsiteX102" fmla="*/ 955611 w 1943430"/>
              <a:gd name="connsiteY102" fmla="*/ 170853 h 662520"/>
              <a:gd name="connsiteX103" fmla="*/ 949453 w 1943430"/>
              <a:gd name="connsiteY103" fmla="*/ 219568 h 662520"/>
              <a:gd name="connsiteX104" fmla="*/ 931581 w 1943430"/>
              <a:gd name="connsiteY104" fmla="*/ 258234 h 662520"/>
              <a:gd name="connsiteX105" fmla="*/ 902895 w 1943430"/>
              <a:gd name="connsiteY105" fmla="*/ 287843 h 662520"/>
              <a:gd name="connsiteX106" fmla="*/ 864296 w 1943430"/>
              <a:gd name="connsiteY106" fmla="*/ 309388 h 662520"/>
              <a:gd name="connsiteX107" fmla="*/ 816686 w 1943430"/>
              <a:gd name="connsiteY107" fmla="*/ 323862 h 662520"/>
              <a:gd name="connsiteX108" fmla="*/ 816686 w 1943430"/>
              <a:gd name="connsiteY108" fmla="*/ 327609 h 662520"/>
              <a:gd name="connsiteX109" fmla="*/ 870681 w 1943430"/>
              <a:gd name="connsiteY109" fmla="*/ 340566 h 662520"/>
              <a:gd name="connsiteX110" fmla="*/ 912283 w 1943430"/>
              <a:gd name="connsiteY110" fmla="*/ 362534 h 662520"/>
              <a:gd name="connsiteX111" fmla="*/ 941719 w 1943430"/>
              <a:gd name="connsiteY111" fmla="*/ 393513 h 662520"/>
              <a:gd name="connsiteX112" fmla="*/ 959215 w 1943430"/>
              <a:gd name="connsiteY112" fmla="*/ 433502 h 662520"/>
              <a:gd name="connsiteX113" fmla="*/ 964996 w 1943430"/>
              <a:gd name="connsiteY113" fmla="*/ 482498 h 662520"/>
              <a:gd name="connsiteX114" fmla="*/ 959936 w 1943430"/>
              <a:gd name="connsiteY114" fmla="*/ 527743 h 662520"/>
              <a:gd name="connsiteX115" fmla="*/ 944659 w 1943430"/>
              <a:gd name="connsiteY115" fmla="*/ 567021 h 662520"/>
              <a:gd name="connsiteX116" fmla="*/ 920122 w 1943430"/>
              <a:gd name="connsiteY116" fmla="*/ 600232 h 662520"/>
              <a:gd name="connsiteX117" fmla="*/ 887285 w 1943430"/>
              <a:gd name="connsiteY117" fmla="*/ 627278 h 662520"/>
              <a:gd name="connsiteX118" fmla="*/ 847106 w 1943430"/>
              <a:gd name="connsiteY118" fmla="*/ 648061 h 662520"/>
              <a:gd name="connsiteX119" fmla="*/ 800544 w 1943430"/>
              <a:gd name="connsiteY119" fmla="*/ 662482 h 662520"/>
              <a:gd name="connsiteX120" fmla="*/ 1360843 w 1943430"/>
              <a:gd name="connsiteY120" fmla="*/ 662495 h 662520"/>
              <a:gd name="connsiteX121" fmla="*/ 1322871 w 1943430"/>
              <a:gd name="connsiteY121" fmla="*/ 649352 h 662520"/>
              <a:gd name="connsiteX122" fmla="*/ 1287296 w 1943430"/>
              <a:gd name="connsiteY122" fmla="*/ 630560 h 662520"/>
              <a:gd name="connsiteX123" fmla="*/ 1254670 w 1943430"/>
              <a:gd name="connsiteY123" fmla="*/ 606062 h 662520"/>
              <a:gd name="connsiteX124" fmla="*/ 1225546 w 1943430"/>
              <a:gd name="connsiteY124" fmla="*/ 575802 h 662520"/>
              <a:gd name="connsiteX125" fmla="*/ 1200477 w 1943430"/>
              <a:gd name="connsiteY125" fmla="*/ 539722 h 662520"/>
              <a:gd name="connsiteX126" fmla="*/ 1180016 w 1943430"/>
              <a:gd name="connsiteY126" fmla="*/ 497766 h 662520"/>
              <a:gd name="connsiteX127" fmla="*/ 1164717 w 1943430"/>
              <a:gd name="connsiteY127" fmla="*/ 449876 h 662520"/>
              <a:gd name="connsiteX128" fmla="*/ 1155131 w 1943430"/>
              <a:gd name="connsiteY128" fmla="*/ 395995 h 662520"/>
              <a:gd name="connsiteX129" fmla="*/ 1151813 w 1943430"/>
              <a:gd name="connsiteY129" fmla="*/ 336067 h 662520"/>
              <a:gd name="connsiteX130" fmla="*/ 1155053 w 1943430"/>
              <a:gd name="connsiteY130" fmla="*/ 276826 h 662520"/>
              <a:gd name="connsiteX131" fmla="*/ 1164415 w 1943430"/>
              <a:gd name="connsiteY131" fmla="*/ 223488 h 662520"/>
              <a:gd name="connsiteX132" fmla="*/ 1179368 w 1943430"/>
              <a:gd name="connsiteY132" fmla="*/ 175997 h 662520"/>
              <a:gd name="connsiteX133" fmla="*/ 1199377 w 1943430"/>
              <a:gd name="connsiteY133" fmla="*/ 134299 h 662520"/>
              <a:gd name="connsiteX134" fmla="*/ 1223910 w 1943430"/>
              <a:gd name="connsiteY134" fmla="*/ 98339 h 662520"/>
              <a:gd name="connsiteX135" fmla="*/ 1252434 w 1943430"/>
              <a:gd name="connsiteY135" fmla="*/ 68062 h 662520"/>
              <a:gd name="connsiteX136" fmla="*/ 1284414 w 1943430"/>
              <a:gd name="connsiteY136" fmla="*/ 43413 h 662520"/>
              <a:gd name="connsiteX137" fmla="*/ 1319318 w 1943430"/>
              <a:gd name="connsiteY137" fmla="*/ 24337 h 662520"/>
              <a:gd name="connsiteX138" fmla="*/ 1356613 w 1943430"/>
              <a:gd name="connsiteY138" fmla="*/ 10780 h 662520"/>
              <a:gd name="connsiteX139" fmla="*/ 1395766 w 1943430"/>
              <a:gd name="connsiteY139" fmla="*/ 2685 h 662520"/>
              <a:gd name="connsiteX140" fmla="*/ 1436243 w 1943430"/>
              <a:gd name="connsiteY140" fmla="*/ 0 h 662520"/>
              <a:gd name="connsiteX141" fmla="*/ 1476722 w 1943430"/>
              <a:gd name="connsiteY141" fmla="*/ 2685 h 662520"/>
              <a:gd name="connsiteX142" fmla="*/ 1515876 w 1943430"/>
              <a:gd name="connsiteY142" fmla="*/ 10780 h 662520"/>
              <a:gd name="connsiteX143" fmla="*/ 1553172 w 1943430"/>
              <a:gd name="connsiteY143" fmla="*/ 24337 h 662520"/>
              <a:gd name="connsiteX144" fmla="*/ 1588076 w 1943430"/>
              <a:gd name="connsiteY144" fmla="*/ 43413 h 662520"/>
              <a:gd name="connsiteX145" fmla="*/ 1620056 w 1943430"/>
              <a:gd name="connsiteY145" fmla="*/ 68062 h 662520"/>
              <a:gd name="connsiteX146" fmla="*/ 1648579 w 1943430"/>
              <a:gd name="connsiteY146" fmla="*/ 98339 h 662520"/>
              <a:gd name="connsiteX147" fmla="*/ 1673111 w 1943430"/>
              <a:gd name="connsiteY147" fmla="*/ 134299 h 662520"/>
              <a:gd name="connsiteX148" fmla="*/ 1693119 w 1943430"/>
              <a:gd name="connsiteY148" fmla="*/ 175997 h 662520"/>
              <a:gd name="connsiteX149" fmla="*/ 1708071 w 1943430"/>
              <a:gd name="connsiteY149" fmla="*/ 223488 h 662520"/>
              <a:gd name="connsiteX150" fmla="*/ 1717433 w 1943430"/>
              <a:gd name="connsiteY150" fmla="*/ 276826 h 662520"/>
              <a:gd name="connsiteX151" fmla="*/ 1720672 w 1943430"/>
              <a:gd name="connsiteY151" fmla="*/ 336067 h 662520"/>
              <a:gd name="connsiteX152" fmla="*/ 1717354 w 1943430"/>
              <a:gd name="connsiteY152" fmla="*/ 395995 h 662520"/>
              <a:gd name="connsiteX153" fmla="*/ 1707768 w 1943430"/>
              <a:gd name="connsiteY153" fmla="*/ 449876 h 662520"/>
              <a:gd name="connsiteX154" fmla="*/ 1692469 w 1943430"/>
              <a:gd name="connsiteY154" fmla="*/ 497766 h 662520"/>
              <a:gd name="connsiteX155" fmla="*/ 1672008 w 1943430"/>
              <a:gd name="connsiteY155" fmla="*/ 539722 h 662520"/>
              <a:gd name="connsiteX156" fmla="*/ 1646939 w 1943430"/>
              <a:gd name="connsiteY156" fmla="*/ 575802 h 662520"/>
              <a:gd name="connsiteX157" fmla="*/ 1617815 w 1943430"/>
              <a:gd name="connsiteY157" fmla="*/ 606062 h 662520"/>
              <a:gd name="connsiteX158" fmla="*/ 1585189 w 1943430"/>
              <a:gd name="connsiteY158" fmla="*/ 630560 h 662520"/>
              <a:gd name="connsiteX159" fmla="*/ 1549614 w 1943430"/>
              <a:gd name="connsiteY159" fmla="*/ 649352 h 662520"/>
              <a:gd name="connsiteX160" fmla="*/ 1511642 w 1943430"/>
              <a:gd name="connsiteY160" fmla="*/ 662495 h 662520"/>
              <a:gd name="connsiteX161" fmla="*/ 1943430 w 1943430"/>
              <a:gd name="connsiteY161" fmla="*/ 662495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154" fmla="*/ 1692469 w 1720672"/>
              <a:gd name="connsiteY154" fmla="*/ 497766 h 662520"/>
              <a:gd name="connsiteX155" fmla="*/ 1672008 w 1720672"/>
              <a:gd name="connsiteY155" fmla="*/ 539722 h 662520"/>
              <a:gd name="connsiteX156" fmla="*/ 1646939 w 1720672"/>
              <a:gd name="connsiteY156" fmla="*/ 575802 h 662520"/>
              <a:gd name="connsiteX157" fmla="*/ 1617815 w 1720672"/>
              <a:gd name="connsiteY157" fmla="*/ 606062 h 662520"/>
              <a:gd name="connsiteX158" fmla="*/ 1585189 w 1720672"/>
              <a:gd name="connsiteY158" fmla="*/ 630560 h 662520"/>
              <a:gd name="connsiteX159" fmla="*/ 1549614 w 1720672"/>
              <a:gd name="connsiteY159" fmla="*/ 649352 h 662520"/>
              <a:gd name="connsiteX160" fmla="*/ 1511642 w 1720672"/>
              <a:gd name="connsiteY160" fmla="*/ 662495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154" fmla="*/ 1692469 w 1720672"/>
              <a:gd name="connsiteY154" fmla="*/ 497766 h 662520"/>
              <a:gd name="connsiteX155" fmla="*/ 1672008 w 1720672"/>
              <a:gd name="connsiteY155" fmla="*/ 539722 h 662520"/>
              <a:gd name="connsiteX156" fmla="*/ 1646939 w 1720672"/>
              <a:gd name="connsiteY156" fmla="*/ 575802 h 662520"/>
              <a:gd name="connsiteX157" fmla="*/ 1617815 w 1720672"/>
              <a:gd name="connsiteY157" fmla="*/ 606062 h 662520"/>
              <a:gd name="connsiteX158" fmla="*/ 1585189 w 1720672"/>
              <a:gd name="connsiteY158" fmla="*/ 630560 h 662520"/>
              <a:gd name="connsiteX159" fmla="*/ 1549614 w 1720672"/>
              <a:gd name="connsiteY159" fmla="*/ 649352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154" fmla="*/ 1692469 w 1720672"/>
              <a:gd name="connsiteY154" fmla="*/ 497766 h 662520"/>
              <a:gd name="connsiteX155" fmla="*/ 1672008 w 1720672"/>
              <a:gd name="connsiteY155" fmla="*/ 539722 h 662520"/>
              <a:gd name="connsiteX156" fmla="*/ 1646939 w 1720672"/>
              <a:gd name="connsiteY156" fmla="*/ 575802 h 662520"/>
              <a:gd name="connsiteX157" fmla="*/ 1617815 w 1720672"/>
              <a:gd name="connsiteY157" fmla="*/ 606062 h 662520"/>
              <a:gd name="connsiteX158" fmla="*/ 1585189 w 1720672"/>
              <a:gd name="connsiteY158" fmla="*/ 630560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154" fmla="*/ 1692469 w 1720672"/>
              <a:gd name="connsiteY154" fmla="*/ 497766 h 662520"/>
              <a:gd name="connsiteX155" fmla="*/ 1672008 w 1720672"/>
              <a:gd name="connsiteY155" fmla="*/ 539722 h 662520"/>
              <a:gd name="connsiteX156" fmla="*/ 1646939 w 1720672"/>
              <a:gd name="connsiteY156" fmla="*/ 575802 h 662520"/>
              <a:gd name="connsiteX157" fmla="*/ 1617815 w 1720672"/>
              <a:gd name="connsiteY157" fmla="*/ 606062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154" fmla="*/ 1692469 w 1720672"/>
              <a:gd name="connsiteY154" fmla="*/ 497766 h 662520"/>
              <a:gd name="connsiteX155" fmla="*/ 1672008 w 1720672"/>
              <a:gd name="connsiteY155" fmla="*/ 539722 h 662520"/>
              <a:gd name="connsiteX156" fmla="*/ 1646939 w 1720672"/>
              <a:gd name="connsiteY156" fmla="*/ 575802 h 662520"/>
              <a:gd name="connsiteX157" fmla="*/ 1617815 w 1720672"/>
              <a:gd name="connsiteY157" fmla="*/ 606062 h 662520"/>
              <a:gd name="connsiteX158" fmla="*/ 1621567 w 1720672"/>
              <a:gd name="connsiteY158" fmla="*/ 607819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154" fmla="*/ 1692469 w 1720672"/>
              <a:gd name="connsiteY154" fmla="*/ 497766 h 662520"/>
              <a:gd name="connsiteX155" fmla="*/ 1672008 w 1720672"/>
              <a:gd name="connsiteY155" fmla="*/ 539722 h 662520"/>
              <a:gd name="connsiteX156" fmla="*/ 1646939 w 1720672"/>
              <a:gd name="connsiteY156" fmla="*/ 575802 h 662520"/>
              <a:gd name="connsiteX157" fmla="*/ 1617815 w 1720672"/>
              <a:gd name="connsiteY157" fmla="*/ 606062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154" fmla="*/ 1692469 w 1720672"/>
              <a:gd name="connsiteY154" fmla="*/ 497766 h 662520"/>
              <a:gd name="connsiteX155" fmla="*/ 1672008 w 1720672"/>
              <a:gd name="connsiteY155" fmla="*/ 539722 h 662520"/>
              <a:gd name="connsiteX156" fmla="*/ 1646939 w 1720672"/>
              <a:gd name="connsiteY156" fmla="*/ 575802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154" fmla="*/ 1692469 w 1720672"/>
              <a:gd name="connsiteY154" fmla="*/ 497766 h 662520"/>
              <a:gd name="connsiteX155" fmla="*/ 1672008 w 1720672"/>
              <a:gd name="connsiteY155" fmla="*/ 539722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154" fmla="*/ 1692469 w 1720672"/>
              <a:gd name="connsiteY154" fmla="*/ 497766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153" fmla="*/ 1707768 w 1720672"/>
              <a:gd name="connsiteY153" fmla="*/ 449876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152" fmla="*/ 1717354 w 1720672"/>
              <a:gd name="connsiteY152" fmla="*/ 395995 h 662520"/>
              <a:gd name="connsiteX0" fmla="*/ 74231 w 1720672"/>
              <a:gd name="connsiteY0" fmla="*/ 662482 h 662520"/>
              <a:gd name="connsiteX1" fmla="*/ 60344 w 1720672"/>
              <a:gd name="connsiteY1" fmla="*/ 659582 h 662520"/>
              <a:gd name="connsiteX2" fmla="*/ 47517 w 1720672"/>
              <a:gd name="connsiteY2" fmla="*/ 656437 h 662520"/>
              <a:gd name="connsiteX3" fmla="*/ 35823 w 1720672"/>
              <a:gd name="connsiteY3" fmla="*/ 653092 h 662520"/>
              <a:gd name="connsiteX4" fmla="*/ 25336 w 1720672"/>
              <a:gd name="connsiteY4" fmla="*/ 649592 h 662520"/>
              <a:gd name="connsiteX5" fmla="*/ 25336 w 1720672"/>
              <a:gd name="connsiteY5" fmla="*/ 533196 h 662520"/>
              <a:gd name="connsiteX6" fmla="*/ 104190 w 1720672"/>
              <a:gd name="connsiteY6" fmla="*/ 533196 h 662520"/>
              <a:gd name="connsiteX7" fmla="*/ 116931 w 1720672"/>
              <a:gd name="connsiteY7" fmla="*/ 550133 h 662520"/>
              <a:gd name="connsiteX8" fmla="*/ 135043 w 1720672"/>
              <a:gd name="connsiteY8" fmla="*/ 564522 h 662520"/>
              <a:gd name="connsiteX9" fmla="*/ 160020 w 1720672"/>
              <a:gd name="connsiteY9" fmla="*/ 574514 h 662520"/>
              <a:gd name="connsiteX10" fmla="*/ 193357 w 1720672"/>
              <a:gd name="connsiteY10" fmla="*/ 578256 h 662520"/>
              <a:gd name="connsiteX11" fmla="*/ 233829 w 1720672"/>
              <a:gd name="connsiteY11" fmla="*/ 573672 h 662520"/>
              <a:gd name="connsiteX12" fmla="*/ 297105 w 1720672"/>
              <a:gd name="connsiteY12" fmla="*/ 537246 h 662520"/>
              <a:gd name="connsiteX13" fmla="*/ 320040 w 1720672"/>
              <a:gd name="connsiteY13" fmla="*/ 505568 h 662520"/>
              <a:gd name="connsiteX14" fmla="*/ 337261 w 1720672"/>
              <a:gd name="connsiteY14" fmla="*/ 465022 h 662520"/>
              <a:gd name="connsiteX15" fmla="*/ 348834 w 1720672"/>
              <a:gd name="connsiteY15" fmla="*/ 415691 h 662520"/>
              <a:gd name="connsiteX16" fmla="*/ 354825 w 1720672"/>
              <a:gd name="connsiteY16" fmla="*/ 357657 h 662520"/>
              <a:gd name="connsiteX17" fmla="*/ 325357 w 1720672"/>
              <a:gd name="connsiteY17" fmla="*/ 385098 h 662520"/>
              <a:gd name="connsiteX18" fmla="*/ 289466 w 1720672"/>
              <a:gd name="connsiteY18" fmla="*/ 406117 h 662520"/>
              <a:gd name="connsiteX19" fmla="*/ 247767 w 1720672"/>
              <a:gd name="connsiteY19" fmla="*/ 419568 h 662520"/>
              <a:gd name="connsiteX20" fmla="*/ 200875 w 1720672"/>
              <a:gd name="connsiteY20" fmla="*/ 424306 h 662520"/>
              <a:gd name="connsiteX21" fmla="*/ 153099 w 1720672"/>
              <a:gd name="connsiteY21" fmla="*/ 420031 h 662520"/>
              <a:gd name="connsiteX22" fmla="*/ 110150 w 1720672"/>
              <a:gd name="connsiteY22" fmla="*/ 407348 h 662520"/>
              <a:gd name="connsiteX23" fmla="*/ 72948 w 1720672"/>
              <a:gd name="connsiteY23" fmla="*/ 386472 h 662520"/>
              <a:gd name="connsiteX24" fmla="*/ 42412 w 1720672"/>
              <a:gd name="connsiteY24" fmla="*/ 357614 h 662520"/>
              <a:gd name="connsiteX25" fmla="*/ 19463 w 1720672"/>
              <a:gd name="connsiteY25" fmla="*/ 320990 h 662520"/>
              <a:gd name="connsiteX26" fmla="*/ 5019 w 1720672"/>
              <a:gd name="connsiteY26" fmla="*/ 276814 h 662520"/>
              <a:gd name="connsiteX27" fmla="*/ 0 w 1720672"/>
              <a:gd name="connsiteY27" fmla="*/ 225297 h 662520"/>
              <a:gd name="connsiteX28" fmla="*/ 4447 w 1720672"/>
              <a:gd name="connsiteY28" fmla="*/ 178425 h 662520"/>
              <a:gd name="connsiteX29" fmla="*/ 17453 w 1720672"/>
              <a:gd name="connsiteY29" fmla="*/ 135445 h 662520"/>
              <a:gd name="connsiteX30" fmla="*/ 38511 w 1720672"/>
              <a:gd name="connsiteY30" fmla="*/ 97085 h 662520"/>
              <a:gd name="connsiteX31" fmla="*/ 67116 w 1720672"/>
              <a:gd name="connsiteY31" fmla="*/ 64071 h 662520"/>
              <a:gd name="connsiteX32" fmla="*/ 102760 w 1720672"/>
              <a:gd name="connsiteY32" fmla="*/ 37129 h 662520"/>
              <a:gd name="connsiteX33" fmla="*/ 144939 w 1720672"/>
              <a:gd name="connsiteY33" fmla="*/ 16986 h 662520"/>
              <a:gd name="connsiteX34" fmla="*/ 193146 w 1720672"/>
              <a:gd name="connsiteY34" fmla="*/ 4367 h 662520"/>
              <a:gd name="connsiteX35" fmla="*/ 246875 w 1720672"/>
              <a:gd name="connsiteY35" fmla="*/ 0 h 662520"/>
              <a:gd name="connsiteX36" fmla="*/ 290625 w 1720672"/>
              <a:gd name="connsiteY36" fmla="*/ 2882 h 662520"/>
              <a:gd name="connsiteX37" fmla="*/ 331492 w 1720672"/>
              <a:gd name="connsiteY37" fmla="*/ 11678 h 662520"/>
              <a:gd name="connsiteX38" fmla="*/ 369070 w 1720672"/>
              <a:gd name="connsiteY38" fmla="*/ 26614 h 662520"/>
              <a:gd name="connsiteX39" fmla="*/ 402953 w 1720672"/>
              <a:gd name="connsiteY39" fmla="*/ 47914 h 662520"/>
              <a:gd name="connsiteX40" fmla="*/ 432736 w 1720672"/>
              <a:gd name="connsiteY40" fmla="*/ 75804 h 662520"/>
              <a:gd name="connsiteX41" fmla="*/ 458013 w 1720672"/>
              <a:gd name="connsiteY41" fmla="*/ 110509 h 662520"/>
              <a:gd name="connsiteX42" fmla="*/ 478379 w 1720672"/>
              <a:gd name="connsiteY42" fmla="*/ 152255 h 662520"/>
              <a:gd name="connsiteX43" fmla="*/ 493429 w 1720672"/>
              <a:gd name="connsiteY43" fmla="*/ 201265 h 662520"/>
              <a:gd name="connsiteX44" fmla="*/ 502756 w 1720672"/>
              <a:gd name="connsiteY44" fmla="*/ 257766 h 662520"/>
              <a:gd name="connsiteX45" fmla="*/ 505955 w 1720672"/>
              <a:gd name="connsiteY45" fmla="*/ 321983 h 662520"/>
              <a:gd name="connsiteX46" fmla="*/ 503406 w 1720672"/>
              <a:gd name="connsiteY46" fmla="*/ 376707 h 662520"/>
              <a:gd name="connsiteX47" fmla="*/ 495858 w 1720672"/>
              <a:gd name="connsiteY47" fmla="*/ 427041 h 662520"/>
              <a:gd name="connsiteX48" fmla="*/ 483456 w 1720672"/>
              <a:gd name="connsiteY48" fmla="*/ 472909 h 662520"/>
              <a:gd name="connsiteX49" fmla="*/ 466346 w 1720672"/>
              <a:gd name="connsiteY49" fmla="*/ 514232 h 662520"/>
              <a:gd name="connsiteX50" fmla="*/ 444674 w 1720672"/>
              <a:gd name="connsiteY50" fmla="*/ 550937 h 662520"/>
              <a:gd name="connsiteX51" fmla="*/ 418587 w 1720672"/>
              <a:gd name="connsiteY51" fmla="*/ 582945 h 662520"/>
              <a:gd name="connsiteX52" fmla="*/ 388229 w 1720672"/>
              <a:gd name="connsiteY52" fmla="*/ 610181 h 662520"/>
              <a:gd name="connsiteX53" fmla="*/ 353748 w 1720672"/>
              <a:gd name="connsiteY53" fmla="*/ 632569 h 662520"/>
              <a:gd name="connsiteX54" fmla="*/ 315289 w 1720672"/>
              <a:gd name="connsiteY54" fmla="*/ 650033 h 662520"/>
              <a:gd name="connsiteX55" fmla="*/ 272999 w 1720672"/>
              <a:gd name="connsiteY55" fmla="*/ 662495 h 662520"/>
              <a:gd name="connsiteX56" fmla="*/ 592162 w 1720672"/>
              <a:gd name="connsiteY56" fmla="*/ 662520 h 662520"/>
              <a:gd name="connsiteX57" fmla="*/ 571167 w 1720672"/>
              <a:gd name="connsiteY57" fmla="*/ 658030 h 662520"/>
              <a:gd name="connsiteX58" fmla="*/ 551373 w 1720672"/>
              <a:gd name="connsiteY58" fmla="*/ 652783 h 662520"/>
              <a:gd name="connsiteX59" fmla="*/ 532537 w 1720672"/>
              <a:gd name="connsiteY59" fmla="*/ 646826 h 662520"/>
              <a:gd name="connsiteX60" fmla="*/ 514413 w 1720672"/>
              <a:gd name="connsiteY60" fmla="*/ 640206 h 662520"/>
              <a:gd name="connsiteX61" fmla="*/ 514413 w 1720672"/>
              <a:gd name="connsiteY61" fmla="*/ 516293 h 662520"/>
              <a:gd name="connsiteX62" fmla="*/ 596087 w 1720672"/>
              <a:gd name="connsiteY62" fmla="*/ 516293 h 662520"/>
              <a:gd name="connsiteX63" fmla="*/ 612203 w 1720672"/>
              <a:gd name="connsiteY63" fmla="*/ 539439 h 662520"/>
              <a:gd name="connsiteX64" fmla="*/ 635627 w 1720672"/>
              <a:gd name="connsiteY64" fmla="*/ 559242 h 662520"/>
              <a:gd name="connsiteX65" fmla="*/ 666972 w 1720672"/>
              <a:gd name="connsiteY65" fmla="*/ 573062 h 662520"/>
              <a:gd name="connsiteX66" fmla="*/ 706856 w 1720672"/>
              <a:gd name="connsiteY66" fmla="*/ 578256 h 662520"/>
              <a:gd name="connsiteX67" fmla="*/ 749359 w 1720672"/>
              <a:gd name="connsiteY67" fmla="*/ 571758 h 662520"/>
              <a:gd name="connsiteX68" fmla="*/ 784298 w 1720672"/>
              <a:gd name="connsiteY68" fmla="*/ 552322 h 662520"/>
              <a:gd name="connsiteX69" fmla="*/ 807972 w 1720672"/>
              <a:gd name="connsiteY69" fmla="*/ 520038 h 662520"/>
              <a:gd name="connsiteX70" fmla="*/ 816686 w 1720672"/>
              <a:gd name="connsiteY70" fmla="*/ 474992 h 662520"/>
              <a:gd name="connsiteX71" fmla="*/ 809424 w 1720672"/>
              <a:gd name="connsiteY71" fmla="*/ 430240 h 662520"/>
              <a:gd name="connsiteX72" fmla="*/ 787466 w 1720672"/>
              <a:gd name="connsiteY72" fmla="*/ 398602 h 662520"/>
              <a:gd name="connsiteX73" fmla="*/ 750549 w 1720672"/>
              <a:gd name="connsiteY73" fmla="*/ 379812 h 662520"/>
              <a:gd name="connsiteX74" fmla="*/ 698411 w 1720672"/>
              <a:gd name="connsiteY74" fmla="*/ 373608 h 662520"/>
              <a:gd name="connsiteX75" fmla="*/ 649592 w 1720672"/>
              <a:gd name="connsiteY75" fmla="*/ 373608 h 662520"/>
              <a:gd name="connsiteX76" fmla="*/ 649592 w 1720672"/>
              <a:gd name="connsiteY76" fmla="*/ 286308 h 662520"/>
              <a:gd name="connsiteX77" fmla="*/ 690892 w 1720672"/>
              <a:gd name="connsiteY77" fmla="*/ 286308 h 662520"/>
              <a:gd name="connsiteX78" fmla="*/ 744563 w 1720672"/>
              <a:gd name="connsiteY78" fmla="*/ 280133 h 662520"/>
              <a:gd name="connsiteX79" fmla="*/ 783007 w 1720672"/>
              <a:gd name="connsiteY79" fmla="*/ 261550 h 662520"/>
              <a:gd name="connsiteX80" fmla="*/ 806137 w 1720672"/>
              <a:gd name="connsiteY80" fmla="*/ 230469 h 662520"/>
              <a:gd name="connsiteX81" fmla="*/ 813866 w 1720672"/>
              <a:gd name="connsiteY81" fmla="*/ 186804 h 662520"/>
              <a:gd name="connsiteX82" fmla="*/ 808513 w 1720672"/>
              <a:gd name="connsiteY82" fmla="*/ 149115 h 662520"/>
              <a:gd name="connsiteX83" fmla="*/ 792160 w 1720672"/>
              <a:gd name="connsiteY83" fmla="*/ 121104 h 662520"/>
              <a:gd name="connsiteX84" fmla="*/ 764365 w 1720672"/>
              <a:gd name="connsiteY84" fmla="*/ 103651 h 662520"/>
              <a:gd name="connsiteX85" fmla="*/ 724687 w 1720672"/>
              <a:gd name="connsiteY85" fmla="*/ 97637 h 662520"/>
              <a:gd name="connsiteX86" fmla="*/ 687243 w 1720672"/>
              <a:gd name="connsiteY86" fmla="*/ 102374 h 662520"/>
              <a:gd name="connsiteX87" fmla="*/ 657456 w 1720672"/>
              <a:gd name="connsiteY87" fmla="*/ 115117 h 662520"/>
              <a:gd name="connsiteX88" fmla="*/ 634533 w 1720672"/>
              <a:gd name="connsiteY88" fmla="*/ 133668 h 662520"/>
              <a:gd name="connsiteX89" fmla="*/ 617677 w 1720672"/>
              <a:gd name="connsiteY89" fmla="*/ 155828 h 662520"/>
              <a:gd name="connsiteX90" fmla="*/ 539775 w 1720672"/>
              <a:gd name="connsiteY90" fmla="*/ 155828 h 662520"/>
              <a:gd name="connsiteX91" fmla="*/ 539775 w 1720672"/>
              <a:gd name="connsiteY91" fmla="*/ 33807 h 662520"/>
              <a:gd name="connsiteX92" fmla="*/ 584006 w 1720672"/>
              <a:gd name="connsiteY92" fmla="*/ 19813 h 662520"/>
              <a:gd name="connsiteX93" fmla="*/ 631056 w 1720672"/>
              <a:gd name="connsiteY93" fmla="*/ 9159 h 662520"/>
              <a:gd name="connsiteX94" fmla="*/ 681278 w 1720672"/>
              <a:gd name="connsiteY94" fmla="*/ 2378 h 662520"/>
              <a:gd name="connsiteX95" fmla="*/ 735025 w 1720672"/>
              <a:gd name="connsiteY95" fmla="*/ 0 h 662520"/>
              <a:gd name="connsiteX96" fmla="*/ 790395 w 1720672"/>
              <a:gd name="connsiteY96" fmla="*/ 3158 h 662520"/>
              <a:gd name="connsiteX97" fmla="*/ 838689 w 1720672"/>
              <a:gd name="connsiteY97" fmla="*/ 12853 h 662520"/>
              <a:gd name="connsiteX98" fmla="*/ 879380 w 1720672"/>
              <a:gd name="connsiteY98" fmla="*/ 29412 h 662520"/>
              <a:gd name="connsiteX99" fmla="*/ 911943 w 1720672"/>
              <a:gd name="connsiteY99" fmla="*/ 53163 h 662520"/>
              <a:gd name="connsiteX100" fmla="*/ 935853 w 1720672"/>
              <a:gd name="connsiteY100" fmla="*/ 84435 h 662520"/>
              <a:gd name="connsiteX101" fmla="*/ 950584 w 1720672"/>
              <a:gd name="connsiteY101" fmla="*/ 123555 h 662520"/>
              <a:gd name="connsiteX102" fmla="*/ 955611 w 1720672"/>
              <a:gd name="connsiteY102" fmla="*/ 170853 h 662520"/>
              <a:gd name="connsiteX103" fmla="*/ 949453 w 1720672"/>
              <a:gd name="connsiteY103" fmla="*/ 219568 h 662520"/>
              <a:gd name="connsiteX104" fmla="*/ 931581 w 1720672"/>
              <a:gd name="connsiteY104" fmla="*/ 258234 h 662520"/>
              <a:gd name="connsiteX105" fmla="*/ 902895 w 1720672"/>
              <a:gd name="connsiteY105" fmla="*/ 287843 h 662520"/>
              <a:gd name="connsiteX106" fmla="*/ 864296 w 1720672"/>
              <a:gd name="connsiteY106" fmla="*/ 309388 h 662520"/>
              <a:gd name="connsiteX107" fmla="*/ 816686 w 1720672"/>
              <a:gd name="connsiteY107" fmla="*/ 323862 h 662520"/>
              <a:gd name="connsiteX108" fmla="*/ 816686 w 1720672"/>
              <a:gd name="connsiteY108" fmla="*/ 327609 h 662520"/>
              <a:gd name="connsiteX109" fmla="*/ 870681 w 1720672"/>
              <a:gd name="connsiteY109" fmla="*/ 340566 h 662520"/>
              <a:gd name="connsiteX110" fmla="*/ 912283 w 1720672"/>
              <a:gd name="connsiteY110" fmla="*/ 362534 h 662520"/>
              <a:gd name="connsiteX111" fmla="*/ 941719 w 1720672"/>
              <a:gd name="connsiteY111" fmla="*/ 393513 h 662520"/>
              <a:gd name="connsiteX112" fmla="*/ 959215 w 1720672"/>
              <a:gd name="connsiteY112" fmla="*/ 433502 h 662520"/>
              <a:gd name="connsiteX113" fmla="*/ 964996 w 1720672"/>
              <a:gd name="connsiteY113" fmla="*/ 482498 h 662520"/>
              <a:gd name="connsiteX114" fmla="*/ 959936 w 1720672"/>
              <a:gd name="connsiteY114" fmla="*/ 527743 h 662520"/>
              <a:gd name="connsiteX115" fmla="*/ 944659 w 1720672"/>
              <a:gd name="connsiteY115" fmla="*/ 567021 h 662520"/>
              <a:gd name="connsiteX116" fmla="*/ 920122 w 1720672"/>
              <a:gd name="connsiteY116" fmla="*/ 600232 h 662520"/>
              <a:gd name="connsiteX117" fmla="*/ 887285 w 1720672"/>
              <a:gd name="connsiteY117" fmla="*/ 627278 h 662520"/>
              <a:gd name="connsiteX118" fmla="*/ 847106 w 1720672"/>
              <a:gd name="connsiteY118" fmla="*/ 648061 h 662520"/>
              <a:gd name="connsiteX119" fmla="*/ 800544 w 1720672"/>
              <a:gd name="connsiteY119" fmla="*/ 662482 h 662520"/>
              <a:gd name="connsiteX120" fmla="*/ 1360843 w 1720672"/>
              <a:gd name="connsiteY120" fmla="*/ 662495 h 662520"/>
              <a:gd name="connsiteX121" fmla="*/ 1322871 w 1720672"/>
              <a:gd name="connsiteY121" fmla="*/ 649352 h 662520"/>
              <a:gd name="connsiteX122" fmla="*/ 1287296 w 1720672"/>
              <a:gd name="connsiteY122" fmla="*/ 630560 h 662520"/>
              <a:gd name="connsiteX123" fmla="*/ 1254670 w 1720672"/>
              <a:gd name="connsiteY123" fmla="*/ 606062 h 662520"/>
              <a:gd name="connsiteX124" fmla="*/ 1225546 w 1720672"/>
              <a:gd name="connsiteY124" fmla="*/ 575802 h 662520"/>
              <a:gd name="connsiteX125" fmla="*/ 1200477 w 1720672"/>
              <a:gd name="connsiteY125" fmla="*/ 539722 h 662520"/>
              <a:gd name="connsiteX126" fmla="*/ 1180016 w 1720672"/>
              <a:gd name="connsiteY126" fmla="*/ 497766 h 662520"/>
              <a:gd name="connsiteX127" fmla="*/ 1164717 w 1720672"/>
              <a:gd name="connsiteY127" fmla="*/ 449876 h 662520"/>
              <a:gd name="connsiteX128" fmla="*/ 1155131 w 1720672"/>
              <a:gd name="connsiteY128" fmla="*/ 395995 h 662520"/>
              <a:gd name="connsiteX129" fmla="*/ 1151813 w 1720672"/>
              <a:gd name="connsiteY129" fmla="*/ 336067 h 662520"/>
              <a:gd name="connsiteX130" fmla="*/ 1155053 w 1720672"/>
              <a:gd name="connsiteY130" fmla="*/ 276826 h 662520"/>
              <a:gd name="connsiteX131" fmla="*/ 1164415 w 1720672"/>
              <a:gd name="connsiteY131" fmla="*/ 223488 h 662520"/>
              <a:gd name="connsiteX132" fmla="*/ 1179368 w 1720672"/>
              <a:gd name="connsiteY132" fmla="*/ 175997 h 662520"/>
              <a:gd name="connsiteX133" fmla="*/ 1199377 w 1720672"/>
              <a:gd name="connsiteY133" fmla="*/ 134299 h 662520"/>
              <a:gd name="connsiteX134" fmla="*/ 1223910 w 1720672"/>
              <a:gd name="connsiteY134" fmla="*/ 98339 h 662520"/>
              <a:gd name="connsiteX135" fmla="*/ 1252434 w 1720672"/>
              <a:gd name="connsiteY135" fmla="*/ 68062 h 662520"/>
              <a:gd name="connsiteX136" fmla="*/ 1284414 w 1720672"/>
              <a:gd name="connsiteY136" fmla="*/ 43413 h 662520"/>
              <a:gd name="connsiteX137" fmla="*/ 1319318 w 1720672"/>
              <a:gd name="connsiteY137" fmla="*/ 24337 h 662520"/>
              <a:gd name="connsiteX138" fmla="*/ 1356613 w 1720672"/>
              <a:gd name="connsiteY138" fmla="*/ 10780 h 662520"/>
              <a:gd name="connsiteX139" fmla="*/ 1395766 w 1720672"/>
              <a:gd name="connsiteY139" fmla="*/ 2685 h 662520"/>
              <a:gd name="connsiteX140" fmla="*/ 1436243 w 1720672"/>
              <a:gd name="connsiteY140" fmla="*/ 0 h 662520"/>
              <a:gd name="connsiteX141" fmla="*/ 1476722 w 1720672"/>
              <a:gd name="connsiteY141" fmla="*/ 2685 h 662520"/>
              <a:gd name="connsiteX142" fmla="*/ 1515876 w 1720672"/>
              <a:gd name="connsiteY142" fmla="*/ 10780 h 662520"/>
              <a:gd name="connsiteX143" fmla="*/ 1553172 w 1720672"/>
              <a:gd name="connsiteY143" fmla="*/ 24337 h 662520"/>
              <a:gd name="connsiteX144" fmla="*/ 1588076 w 1720672"/>
              <a:gd name="connsiteY144" fmla="*/ 43413 h 662520"/>
              <a:gd name="connsiteX145" fmla="*/ 1620056 w 1720672"/>
              <a:gd name="connsiteY145" fmla="*/ 68062 h 662520"/>
              <a:gd name="connsiteX146" fmla="*/ 1648579 w 1720672"/>
              <a:gd name="connsiteY146" fmla="*/ 98339 h 662520"/>
              <a:gd name="connsiteX147" fmla="*/ 1673111 w 1720672"/>
              <a:gd name="connsiteY147" fmla="*/ 134299 h 662520"/>
              <a:gd name="connsiteX148" fmla="*/ 1693119 w 1720672"/>
              <a:gd name="connsiteY148" fmla="*/ 175997 h 662520"/>
              <a:gd name="connsiteX149" fmla="*/ 1708071 w 1720672"/>
              <a:gd name="connsiteY149" fmla="*/ 223488 h 662520"/>
              <a:gd name="connsiteX150" fmla="*/ 1717433 w 1720672"/>
              <a:gd name="connsiteY150" fmla="*/ 276826 h 662520"/>
              <a:gd name="connsiteX151" fmla="*/ 1720672 w 1720672"/>
              <a:gd name="connsiteY151" fmla="*/ 336067 h 662520"/>
              <a:gd name="connsiteX0" fmla="*/ 74231 w 1717433"/>
              <a:gd name="connsiteY0" fmla="*/ 662482 h 662520"/>
              <a:gd name="connsiteX1" fmla="*/ 60344 w 1717433"/>
              <a:gd name="connsiteY1" fmla="*/ 659582 h 662520"/>
              <a:gd name="connsiteX2" fmla="*/ 47517 w 1717433"/>
              <a:gd name="connsiteY2" fmla="*/ 656437 h 662520"/>
              <a:gd name="connsiteX3" fmla="*/ 35823 w 1717433"/>
              <a:gd name="connsiteY3" fmla="*/ 653092 h 662520"/>
              <a:gd name="connsiteX4" fmla="*/ 25336 w 1717433"/>
              <a:gd name="connsiteY4" fmla="*/ 649592 h 662520"/>
              <a:gd name="connsiteX5" fmla="*/ 25336 w 1717433"/>
              <a:gd name="connsiteY5" fmla="*/ 533196 h 662520"/>
              <a:gd name="connsiteX6" fmla="*/ 104190 w 1717433"/>
              <a:gd name="connsiteY6" fmla="*/ 533196 h 662520"/>
              <a:gd name="connsiteX7" fmla="*/ 116931 w 1717433"/>
              <a:gd name="connsiteY7" fmla="*/ 550133 h 662520"/>
              <a:gd name="connsiteX8" fmla="*/ 135043 w 1717433"/>
              <a:gd name="connsiteY8" fmla="*/ 564522 h 662520"/>
              <a:gd name="connsiteX9" fmla="*/ 160020 w 1717433"/>
              <a:gd name="connsiteY9" fmla="*/ 574514 h 662520"/>
              <a:gd name="connsiteX10" fmla="*/ 193357 w 1717433"/>
              <a:gd name="connsiteY10" fmla="*/ 578256 h 662520"/>
              <a:gd name="connsiteX11" fmla="*/ 233829 w 1717433"/>
              <a:gd name="connsiteY11" fmla="*/ 573672 h 662520"/>
              <a:gd name="connsiteX12" fmla="*/ 297105 w 1717433"/>
              <a:gd name="connsiteY12" fmla="*/ 537246 h 662520"/>
              <a:gd name="connsiteX13" fmla="*/ 320040 w 1717433"/>
              <a:gd name="connsiteY13" fmla="*/ 505568 h 662520"/>
              <a:gd name="connsiteX14" fmla="*/ 337261 w 1717433"/>
              <a:gd name="connsiteY14" fmla="*/ 465022 h 662520"/>
              <a:gd name="connsiteX15" fmla="*/ 348834 w 1717433"/>
              <a:gd name="connsiteY15" fmla="*/ 415691 h 662520"/>
              <a:gd name="connsiteX16" fmla="*/ 354825 w 1717433"/>
              <a:gd name="connsiteY16" fmla="*/ 357657 h 662520"/>
              <a:gd name="connsiteX17" fmla="*/ 325357 w 1717433"/>
              <a:gd name="connsiteY17" fmla="*/ 385098 h 662520"/>
              <a:gd name="connsiteX18" fmla="*/ 289466 w 1717433"/>
              <a:gd name="connsiteY18" fmla="*/ 406117 h 662520"/>
              <a:gd name="connsiteX19" fmla="*/ 247767 w 1717433"/>
              <a:gd name="connsiteY19" fmla="*/ 419568 h 662520"/>
              <a:gd name="connsiteX20" fmla="*/ 200875 w 1717433"/>
              <a:gd name="connsiteY20" fmla="*/ 424306 h 662520"/>
              <a:gd name="connsiteX21" fmla="*/ 153099 w 1717433"/>
              <a:gd name="connsiteY21" fmla="*/ 420031 h 662520"/>
              <a:gd name="connsiteX22" fmla="*/ 110150 w 1717433"/>
              <a:gd name="connsiteY22" fmla="*/ 407348 h 662520"/>
              <a:gd name="connsiteX23" fmla="*/ 72948 w 1717433"/>
              <a:gd name="connsiteY23" fmla="*/ 386472 h 662520"/>
              <a:gd name="connsiteX24" fmla="*/ 42412 w 1717433"/>
              <a:gd name="connsiteY24" fmla="*/ 357614 h 662520"/>
              <a:gd name="connsiteX25" fmla="*/ 19463 w 1717433"/>
              <a:gd name="connsiteY25" fmla="*/ 320990 h 662520"/>
              <a:gd name="connsiteX26" fmla="*/ 5019 w 1717433"/>
              <a:gd name="connsiteY26" fmla="*/ 276814 h 662520"/>
              <a:gd name="connsiteX27" fmla="*/ 0 w 1717433"/>
              <a:gd name="connsiteY27" fmla="*/ 225297 h 662520"/>
              <a:gd name="connsiteX28" fmla="*/ 4447 w 1717433"/>
              <a:gd name="connsiteY28" fmla="*/ 178425 h 662520"/>
              <a:gd name="connsiteX29" fmla="*/ 17453 w 1717433"/>
              <a:gd name="connsiteY29" fmla="*/ 135445 h 662520"/>
              <a:gd name="connsiteX30" fmla="*/ 38511 w 1717433"/>
              <a:gd name="connsiteY30" fmla="*/ 97085 h 662520"/>
              <a:gd name="connsiteX31" fmla="*/ 67116 w 1717433"/>
              <a:gd name="connsiteY31" fmla="*/ 64071 h 662520"/>
              <a:gd name="connsiteX32" fmla="*/ 102760 w 1717433"/>
              <a:gd name="connsiteY32" fmla="*/ 37129 h 662520"/>
              <a:gd name="connsiteX33" fmla="*/ 144939 w 1717433"/>
              <a:gd name="connsiteY33" fmla="*/ 16986 h 662520"/>
              <a:gd name="connsiteX34" fmla="*/ 193146 w 1717433"/>
              <a:gd name="connsiteY34" fmla="*/ 4367 h 662520"/>
              <a:gd name="connsiteX35" fmla="*/ 246875 w 1717433"/>
              <a:gd name="connsiteY35" fmla="*/ 0 h 662520"/>
              <a:gd name="connsiteX36" fmla="*/ 290625 w 1717433"/>
              <a:gd name="connsiteY36" fmla="*/ 2882 h 662520"/>
              <a:gd name="connsiteX37" fmla="*/ 331492 w 1717433"/>
              <a:gd name="connsiteY37" fmla="*/ 11678 h 662520"/>
              <a:gd name="connsiteX38" fmla="*/ 369070 w 1717433"/>
              <a:gd name="connsiteY38" fmla="*/ 26614 h 662520"/>
              <a:gd name="connsiteX39" fmla="*/ 402953 w 1717433"/>
              <a:gd name="connsiteY39" fmla="*/ 47914 h 662520"/>
              <a:gd name="connsiteX40" fmla="*/ 432736 w 1717433"/>
              <a:gd name="connsiteY40" fmla="*/ 75804 h 662520"/>
              <a:gd name="connsiteX41" fmla="*/ 458013 w 1717433"/>
              <a:gd name="connsiteY41" fmla="*/ 110509 h 662520"/>
              <a:gd name="connsiteX42" fmla="*/ 478379 w 1717433"/>
              <a:gd name="connsiteY42" fmla="*/ 152255 h 662520"/>
              <a:gd name="connsiteX43" fmla="*/ 493429 w 1717433"/>
              <a:gd name="connsiteY43" fmla="*/ 201265 h 662520"/>
              <a:gd name="connsiteX44" fmla="*/ 502756 w 1717433"/>
              <a:gd name="connsiteY44" fmla="*/ 257766 h 662520"/>
              <a:gd name="connsiteX45" fmla="*/ 505955 w 1717433"/>
              <a:gd name="connsiteY45" fmla="*/ 321983 h 662520"/>
              <a:gd name="connsiteX46" fmla="*/ 503406 w 1717433"/>
              <a:gd name="connsiteY46" fmla="*/ 376707 h 662520"/>
              <a:gd name="connsiteX47" fmla="*/ 495858 w 1717433"/>
              <a:gd name="connsiteY47" fmla="*/ 427041 h 662520"/>
              <a:gd name="connsiteX48" fmla="*/ 483456 w 1717433"/>
              <a:gd name="connsiteY48" fmla="*/ 472909 h 662520"/>
              <a:gd name="connsiteX49" fmla="*/ 466346 w 1717433"/>
              <a:gd name="connsiteY49" fmla="*/ 514232 h 662520"/>
              <a:gd name="connsiteX50" fmla="*/ 444674 w 1717433"/>
              <a:gd name="connsiteY50" fmla="*/ 550937 h 662520"/>
              <a:gd name="connsiteX51" fmla="*/ 418587 w 1717433"/>
              <a:gd name="connsiteY51" fmla="*/ 582945 h 662520"/>
              <a:gd name="connsiteX52" fmla="*/ 388229 w 1717433"/>
              <a:gd name="connsiteY52" fmla="*/ 610181 h 662520"/>
              <a:gd name="connsiteX53" fmla="*/ 353748 w 1717433"/>
              <a:gd name="connsiteY53" fmla="*/ 632569 h 662520"/>
              <a:gd name="connsiteX54" fmla="*/ 315289 w 1717433"/>
              <a:gd name="connsiteY54" fmla="*/ 650033 h 662520"/>
              <a:gd name="connsiteX55" fmla="*/ 272999 w 1717433"/>
              <a:gd name="connsiteY55" fmla="*/ 662495 h 662520"/>
              <a:gd name="connsiteX56" fmla="*/ 592162 w 1717433"/>
              <a:gd name="connsiteY56" fmla="*/ 662520 h 662520"/>
              <a:gd name="connsiteX57" fmla="*/ 571167 w 1717433"/>
              <a:gd name="connsiteY57" fmla="*/ 658030 h 662520"/>
              <a:gd name="connsiteX58" fmla="*/ 551373 w 1717433"/>
              <a:gd name="connsiteY58" fmla="*/ 652783 h 662520"/>
              <a:gd name="connsiteX59" fmla="*/ 532537 w 1717433"/>
              <a:gd name="connsiteY59" fmla="*/ 646826 h 662520"/>
              <a:gd name="connsiteX60" fmla="*/ 514413 w 1717433"/>
              <a:gd name="connsiteY60" fmla="*/ 640206 h 662520"/>
              <a:gd name="connsiteX61" fmla="*/ 514413 w 1717433"/>
              <a:gd name="connsiteY61" fmla="*/ 516293 h 662520"/>
              <a:gd name="connsiteX62" fmla="*/ 596087 w 1717433"/>
              <a:gd name="connsiteY62" fmla="*/ 516293 h 662520"/>
              <a:gd name="connsiteX63" fmla="*/ 612203 w 1717433"/>
              <a:gd name="connsiteY63" fmla="*/ 539439 h 662520"/>
              <a:gd name="connsiteX64" fmla="*/ 635627 w 1717433"/>
              <a:gd name="connsiteY64" fmla="*/ 559242 h 662520"/>
              <a:gd name="connsiteX65" fmla="*/ 666972 w 1717433"/>
              <a:gd name="connsiteY65" fmla="*/ 573062 h 662520"/>
              <a:gd name="connsiteX66" fmla="*/ 706856 w 1717433"/>
              <a:gd name="connsiteY66" fmla="*/ 578256 h 662520"/>
              <a:gd name="connsiteX67" fmla="*/ 749359 w 1717433"/>
              <a:gd name="connsiteY67" fmla="*/ 571758 h 662520"/>
              <a:gd name="connsiteX68" fmla="*/ 784298 w 1717433"/>
              <a:gd name="connsiteY68" fmla="*/ 552322 h 662520"/>
              <a:gd name="connsiteX69" fmla="*/ 807972 w 1717433"/>
              <a:gd name="connsiteY69" fmla="*/ 520038 h 662520"/>
              <a:gd name="connsiteX70" fmla="*/ 816686 w 1717433"/>
              <a:gd name="connsiteY70" fmla="*/ 474992 h 662520"/>
              <a:gd name="connsiteX71" fmla="*/ 809424 w 1717433"/>
              <a:gd name="connsiteY71" fmla="*/ 430240 h 662520"/>
              <a:gd name="connsiteX72" fmla="*/ 787466 w 1717433"/>
              <a:gd name="connsiteY72" fmla="*/ 398602 h 662520"/>
              <a:gd name="connsiteX73" fmla="*/ 750549 w 1717433"/>
              <a:gd name="connsiteY73" fmla="*/ 379812 h 662520"/>
              <a:gd name="connsiteX74" fmla="*/ 698411 w 1717433"/>
              <a:gd name="connsiteY74" fmla="*/ 373608 h 662520"/>
              <a:gd name="connsiteX75" fmla="*/ 649592 w 1717433"/>
              <a:gd name="connsiteY75" fmla="*/ 373608 h 662520"/>
              <a:gd name="connsiteX76" fmla="*/ 649592 w 1717433"/>
              <a:gd name="connsiteY76" fmla="*/ 286308 h 662520"/>
              <a:gd name="connsiteX77" fmla="*/ 690892 w 1717433"/>
              <a:gd name="connsiteY77" fmla="*/ 286308 h 662520"/>
              <a:gd name="connsiteX78" fmla="*/ 744563 w 1717433"/>
              <a:gd name="connsiteY78" fmla="*/ 280133 h 662520"/>
              <a:gd name="connsiteX79" fmla="*/ 783007 w 1717433"/>
              <a:gd name="connsiteY79" fmla="*/ 261550 h 662520"/>
              <a:gd name="connsiteX80" fmla="*/ 806137 w 1717433"/>
              <a:gd name="connsiteY80" fmla="*/ 230469 h 662520"/>
              <a:gd name="connsiteX81" fmla="*/ 813866 w 1717433"/>
              <a:gd name="connsiteY81" fmla="*/ 186804 h 662520"/>
              <a:gd name="connsiteX82" fmla="*/ 808513 w 1717433"/>
              <a:gd name="connsiteY82" fmla="*/ 149115 h 662520"/>
              <a:gd name="connsiteX83" fmla="*/ 792160 w 1717433"/>
              <a:gd name="connsiteY83" fmla="*/ 121104 h 662520"/>
              <a:gd name="connsiteX84" fmla="*/ 764365 w 1717433"/>
              <a:gd name="connsiteY84" fmla="*/ 103651 h 662520"/>
              <a:gd name="connsiteX85" fmla="*/ 724687 w 1717433"/>
              <a:gd name="connsiteY85" fmla="*/ 97637 h 662520"/>
              <a:gd name="connsiteX86" fmla="*/ 687243 w 1717433"/>
              <a:gd name="connsiteY86" fmla="*/ 102374 h 662520"/>
              <a:gd name="connsiteX87" fmla="*/ 657456 w 1717433"/>
              <a:gd name="connsiteY87" fmla="*/ 115117 h 662520"/>
              <a:gd name="connsiteX88" fmla="*/ 634533 w 1717433"/>
              <a:gd name="connsiteY88" fmla="*/ 133668 h 662520"/>
              <a:gd name="connsiteX89" fmla="*/ 617677 w 1717433"/>
              <a:gd name="connsiteY89" fmla="*/ 155828 h 662520"/>
              <a:gd name="connsiteX90" fmla="*/ 539775 w 1717433"/>
              <a:gd name="connsiteY90" fmla="*/ 155828 h 662520"/>
              <a:gd name="connsiteX91" fmla="*/ 539775 w 1717433"/>
              <a:gd name="connsiteY91" fmla="*/ 33807 h 662520"/>
              <a:gd name="connsiteX92" fmla="*/ 584006 w 1717433"/>
              <a:gd name="connsiteY92" fmla="*/ 19813 h 662520"/>
              <a:gd name="connsiteX93" fmla="*/ 631056 w 1717433"/>
              <a:gd name="connsiteY93" fmla="*/ 9159 h 662520"/>
              <a:gd name="connsiteX94" fmla="*/ 681278 w 1717433"/>
              <a:gd name="connsiteY94" fmla="*/ 2378 h 662520"/>
              <a:gd name="connsiteX95" fmla="*/ 735025 w 1717433"/>
              <a:gd name="connsiteY95" fmla="*/ 0 h 662520"/>
              <a:gd name="connsiteX96" fmla="*/ 790395 w 1717433"/>
              <a:gd name="connsiteY96" fmla="*/ 3158 h 662520"/>
              <a:gd name="connsiteX97" fmla="*/ 838689 w 1717433"/>
              <a:gd name="connsiteY97" fmla="*/ 12853 h 662520"/>
              <a:gd name="connsiteX98" fmla="*/ 879380 w 1717433"/>
              <a:gd name="connsiteY98" fmla="*/ 29412 h 662520"/>
              <a:gd name="connsiteX99" fmla="*/ 911943 w 1717433"/>
              <a:gd name="connsiteY99" fmla="*/ 53163 h 662520"/>
              <a:gd name="connsiteX100" fmla="*/ 935853 w 1717433"/>
              <a:gd name="connsiteY100" fmla="*/ 84435 h 662520"/>
              <a:gd name="connsiteX101" fmla="*/ 950584 w 1717433"/>
              <a:gd name="connsiteY101" fmla="*/ 123555 h 662520"/>
              <a:gd name="connsiteX102" fmla="*/ 955611 w 1717433"/>
              <a:gd name="connsiteY102" fmla="*/ 170853 h 662520"/>
              <a:gd name="connsiteX103" fmla="*/ 949453 w 1717433"/>
              <a:gd name="connsiteY103" fmla="*/ 219568 h 662520"/>
              <a:gd name="connsiteX104" fmla="*/ 931581 w 1717433"/>
              <a:gd name="connsiteY104" fmla="*/ 258234 h 662520"/>
              <a:gd name="connsiteX105" fmla="*/ 902895 w 1717433"/>
              <a:gd name="connsiteY105" fmla="*/ 287843 h 662520"/>
              <a:gd name="connsiteX106" fmla="*/ 864296 w 1717433"/>
              <a:gd name="connsiteY106" fmla="*/ 309388 h 662520"/>
              <a:gd name="connsiteX107" fmla="*/ 816686 w 1717433"/>
              <a:gd name="connsiteY107" fmla="*/ 323862 h 662520"/>
              <a:gd name="connsiteX108" fmla="*/ 816686 w 1717433"/>
              <a:gd name="connsiteY108" fmla="*/ 327609 h 662520"/>
              <a:gd name="connsiteX109" fmla="*/ 870681 w 1717433"/>
              <a:gd name="connsiteY109" fmla="*/ 340566 h 662520"/>
              <a:gd name="connsiteX110" fmla="*/ 912283 w 1717433"/>
              <a:gd name="connsiteY110" fmla="*/ 362534 h 662520"/>
              <a:gd name="connsiteX111" fmla="*/ 941719 w 1717433"/>
              <a:gd name="connsiteY111" fmla="*/ 393513 h 662520"/>
              <a:gd name="connsiteX112" fmla="*/ 959215 w 1717433"/>
              <a:gd name="connsiteY112" fmla="*/ 433502 h 662520"/>
              <a:gd name="connsiteX113" fmla="*/ 964996 w 1717433"/>
              <a:gd name="connsiteY113" fmla="*/ 482498 h 662520"/>
              <a:gd name="connsiteX114" fmla="*/ 959936 w 1717433"/>
              <a:gd name="connsiteY114" fmla="*/ 527743 h 662520"/>
              <a:gd name="connsiteX115" fmla="*/ 944659 w 1717433"/>
              <a:gd name="connsiteY115" fmla="*/ 567021 h 662520"/>
              <a:gd name="connsiteX116" fmla="*/ 920122 w 1717433"/>
              <a:gd name="connsiteY116" fmla="*/ 600232 h 662520"/>
              <a:gd name="connsiteX117" fmla="*/ 887285 w 1717433"/>
              <a:gd name="connsiteY117" fmla="*/ 627278 h 662520"/>
              <a:gd name="connsiteX118" fmla="*/ 847106 w 1717433"/>
              <a:gd name="connsiteY118" fmla="*/ 648061 h 662520"/>
              <a:gd name="connsiteX119" fmla="*/ 800544 w 1717433"/>
              <a:gd name="connsiteY119" fmla="*/ 662482 h 662520"/>
              <a:gd name="connsiteX120" fmla="*/ 1360843 w 1717433"/>
              <a:gd name="connsiteY120" fmla="*/ 662495 h 662520"/>
              <a:gd name="connsiteX121" fmla="*/ 1322871 w 1717433"/>
              <a:gd name="connsiteY121" fmla="*/ 649352 h 662520"/>
              <a:gd name="connsiteX122" fmla="*/ 1287296 w 1717433"/>
              <a:gd name="connsiteY122" fmla="*/ 630560 h 662520"/>
              <a:gd name="connsiteX123" fmla="*/ 1254670 w 1717433"/>
              <a:gd name="connsiteY123" fmla="*/ 606062 h 662520"/>
              <a:gd name="connsiteX124" fmla="*/ 1225546 w 1717433"/>
              <a:gd name="connsiteY124" fmla="*/ 575802 h 662520"/>
              <a:gd name="connsiteX125" fmla="*/ 1200477 w 1717433"/>
              <a:gd name="connsiteY125" fmla="*/ 539722 h 662520"/>
              <a:gd name="connsiteX126" fmla="*/ 1180016 w 1717433"/>
              <a:gd name="connsiteY126" fmla="*/ 497766 h 662520"/>
              <a:gd name="connsiteX127" fmla="*/ 1164717 w 1717433"/>
              <a:gd name="connsiteY127" fmla="*/ 449876 h 662520"/>
              <a:gd name="connsiteX128" fmla="*/ 1155131 w 1717433"/>
              <a:gd name="connsiteY128" fmla="*/ 395995 h 662520"/>
              <a:gd name="connsiteX129" fmla="*/ 1151813 w 1717433"/>
              <a:gd name="connsiteY129" fmla="*/ 336067 h 662520"/>
              <a:gd name="connsiteX130" fmla="*/ 1155053 w 1717433"/>
              <a:gd name="connsiteY130" fmla="*/ 276826 h 662520"/>
              <a:gd name="connsiteX131" fmla="*/ 1164415 w 1717433"/>
              <a:gd name="connsiteY131" fmla="*/ 223488 h 662520"/>
              <a:gd name="connsiteX132" fmla="*/ 1179368 w 1717433"/>
              <a:gd name="connsiteY132" fmla="*/ 175997 h 662520"/>
              <a:gd name="connsiteX133" fmla="*/ 1199377 w 1717433"/>
              <a:gd name="connsiteY133" fmla="*/ 134299 h 662520"/>
              <a:gd name="connsiteX134" fmla="*/ 1223910 w 1717433"/>
              <a:gd name="connsiteY134" fmla="*/ 98339 h 662520"/>
              <a:gd name="connsiteX135" fmla="*/ 1252434 w 1717433"/>
              <a:gd name="connsiteY135" fmla="*/ 68062 h 662520"/>
              <a:gd name="connsiteX136" fmla="*/ 1284414 w 1717433"/>
              <a:gd name="connsiteY136" fmla="*/ 43413 h 662520"/>
              <a:gd name="connsiteX137" fmla="*/ 1319318 w 1717433"/>
              <a:gd name="connsiteY137" fmla="*/ 24337 h 662520"/>
              <a:gd name="connsiteX138" fmla="*/ 1356613 w 1717433"/>
              <a:gd name="connsiteY138" fmla="*/ 10780 h 662520"/>
              <a:gd name="connsiteX139" fmla="*/ 1395766 w 1717433"/>
              <a:gd name="connsiteY139" fmla="*/ 2685 h 662520"/>
              <a:gd name="connsiteX140" fmla="*/ 1436243 w 1717433"/>
              <a:gd name="connsiteY140" fmla="*/ 0 h 662520"/>
              <a:gd name="connsiteX141" fmla="*/ 1476722 w 1717433"/>
              <a:gd name="connsiteY141" fmla="*/ 2685 h 662520"/>
              <a:gd name="connsiteX142" fmla="*/ 1515876 w 1717433"/>
              <a:gd name="connsiteY142" fmla="*/ 10780 h 662520"/>
              <a:gd name="connsiteX143" fmla="*/ 1553172 w 1717433"/>
              <a:gd name="connsiteY143" fmla="*/ 24337 h 662520"/>
              <a:gd name="connsiteX144" fmla="*/ 1588076 w 1717433"/>
              <a:gd name="connsiteY144" fmla="*/ 43413 h 662520"/>
              <a:gd name="connsiteX145" fmla="*/ 1620056 w 1717433"/>
              <a:gd name="connsiteY145" fmla="*/ 68062 h 662520"/>
              <a:gd name="connsiteX146" fmla="*/ 1648579 w 1717433"/>
              <a:gd name="connsiteY146" fmla="*/ 98339 h 662520"/>
              <a:gd name="connsiteX147" fmla="*/ 1673111 w 1717433"/>
              <a:gd name="connsiteY147" fmla="*/ 134299 h 662520"/>
              <a:gd name="connsiteX148" fmla="*/ 1693119 w 1717433"/>
              <a:gd name="connsiteY148" fmla="*/ 175997 h 662520"/>
              <a:gd name="connsiteX149" fmla="*/ 1708071 w 1717433"/>
              <a:gd name="connsiteY149" fmla="*/ 223488 h 662520"/>
              <a:gd name="connsiteX150" fmla="*/ 1717433 w 1717433"/>
              <a:gd name="connsiteY150" fmla="*/ 276826 h 662520"/>
              <a:gd name="connsiteX0" fmla="*/ 74231 w 1708071"/>
              <a:gd name="connsiteY0" fmla="*/ 662482 h 662520"/>
              <a:gd name="connsiteX1" fmla="*/ 60344 w 1708071"/>
              <a:gd name="connsiteY1" fmla="*/ 659582 h 662520"/>
              <a:gd name="connsiteX2" fmla="*/ 47517 w 1708071"/>
              <a:gd name="connsiteY2" fmla="*/ 656437 h 662520"/>
              <a:gd name="connsiteX3" fmla="*/ 35823 w 1708071"/>
              <a:gd name="connsiteY3" fmla="*/ 653092 h 662520"/>
              <a:gd name="connsiteX4" fmla="*/ 25336 w 1708071"/>
              <a:gd name="connsiteY4" fmla="*/ 649592 h 662520"/>
              <a:gd name="connsiteX5" fmla="*/ 25336 w 1708071"/>
              <a:gd name="connsiteY5" fmla="*/ 533196 h 662520"/>
              <a:gd name="connsiteX6" fmla="*/ 104190 w 1708071"/>
              <a:gd name="connsiteY6" fmla="*/ 533196 h 662520"/>
              <a:gd name="connsiteX7" fmla="*/ 116931 w 1708071"/>
              <a:gd name="connsiteY7" fmla="*/ 550133 h 662520"/>
              <a:gd name="connsiteX8" fmla="*/ 135043 w 1708071"/>
              <a:gd name="connsiteY8" fmla="*/ 564522 h 662520"/>
              <a:gd name="connsiteX9" fmla="*/ 160020 w 1708071"/>
              <a:gd name="connsiteY9" fmla="*/ 574514 h 662520"/>
              <a:gd name="connsiteX10" fmla="*/ 193357 w 1708071"/>
              <a:gd name="connsiteY10" fmla="*/ 578256 h 662520"/>
              <a:gd name="connsiteX11" fmla="*/ 233829 w 1708071"/>
              <a:gd name="connsiteY11" fmla="*/ 573672 h 662520"/>
              <a:gd name="connsiteX12" fmla="*/ 297105 w 1708071"/>
              <a:gd name="connsiteY12" fmla="*/ 537246 h 662520"/>
              <a:gd name="connsiteX13" fmla="*/ 320040 w 1708071"/>
              <a:gd name="connsiteY13" fmla="*/ 505568 h 662520"/>
              <a:gd name="connsiteX14" fmla="*/ 337261 w 1708071"/>
              <a:gd name="connsiteY14" fmla="*/ 465022 h 662520"/>
              <a:gd name="connsiteX15" fmla="*/ 348834 w 1708071"/>
              <a:gd name="connsiteY15" fmla="*/ 415691 h 662520"/>
              <a:gd name="connsiteX16" fmla="*/ 354825 w 1708071"/>
              <a:gd name="connsiteY16" fmla="*/ 357657 h 662520"/>
              <a:gd name="connsiteX17" fmla="*/ 325357 w 1708071"/>
              <a:gd name="connsiteY17" fmla="*/ 385098 h 662520"/>
              <a:gd name="connsiteX18" fmla="*/ 289466 w 1708071"/>
              <a:gd name="connsiteY18" fmla="*/ 406117 h 662520"/>
              <a:gd name="connsiteX19" fmla="*/ 247767 w 1708071"/>
              <a:gd name="connsiteY19" fmla="*/ 419568 h 662520"/>
              <a:gd name="connsiteX20" fmla="*/ 200875 w 1708071"/>
              <a:gd name="connsiteY20" fmla="*/ 424306 h 662520"/>
              <a:gd name="connsiteX21" fmla="*/ 153099 w 1708071"/>
              <a:gd name="connsiteY21" fmla="*/ 420031 h 662520"/>
              <a:gd name="connsiteX22" fmla="*/ 110150 w 1708071"/>
              <a:gd name="connsiteY22" fmla="*/ 407348 h 662520"/>
              <a:gd name="connsiteX23" fmla="*/ 72948 w 1708071"/>
              <a:gd name="connsiteY23" fmla="*/ 386472 h 662520"/>
              <a:gd name="connsiteX24" fmla="*/ 42412 w 1708071"/>
              <a:gd name="connsiteY24" fmla="*/ 357614 h 662520"/>
              <a:gd name="connsiteX25" fmla="*/ 19463 w 1708071"/>
              <a:gd name="connsiteY25" fmla="*/ 320990 h 662520"/>
              <a:gd name="connsiteX26" fmla="*/ 5019 w 1708071"/>
              <a:gd name="connsiteY26" fmla="*/ 276814 h 662520"/>
              <a:gd name="connsiteX27" fmla="*/ 0 w 1708071"/>
              <a:gd name="connsiteY27" fmla="*/ 225297 h 662520"/>
              <a:gd name="connsiteX28" fmla="*/ 4447 w 1708071"/>
              <a:gd name="connsiteY28" fmla="*/ 178425 h 662520"/>
              <a:gd name="connsiteX29" fmla="*/ 17453 w 1708071"/>
              <a:gd name="connsiteY29" fmla="*/ 135445 h 662520"/>
              <a:gd name="connsiteX30" fmla="*/ 38511 w 1708071"/>
              <a:gd name="connsiteY30" fmla="*/ 97085 h 662520"/>
              <a:gd name="connsiteX31" fmla="*/ 67116 w 1708071"/>
              <a:gd name="connsiteY31" fmla="*/ 64071 h 662520"/>
              <a:gd name="connsiteX32" fmla="*/ 102760 w 1708071"/>
              <a:gd name="connsiteY32" fmla="*/ 37129 h 662520"/>
              <a:gd name="connsiteX33" fmla="*/ 144939 w 1708071"/>
              <a:gd name="connsiteY33" fmla="*/ 16986 h 662520"/>
              <a:gd name="connsiteX34" fmla="*/ 193146 w 1708071"/>
              <a:gd name="connsiteY34" fmla="*/ 4367 h 662520"/>
              <a:gd name="connsiteX35" fmla="*/ 246875 w 1708071"/>
              <a:gd name="connsiteY35" fmla="*/ 0 h 662520"/>
              <a:gd name="connsiteX36" fmla="*/ 290625 w 1708071"/>
              <a:gd name="connsiteY36" fmla="*/ 2882 h 662520"/>
              <a:gd name="connsiteX37" fmla="*/ 331492 w 1708071"/>
              <a:gd name="connsiteY37" fmla="*/ 11678 h 662520"/>
              <a:gd name="connsiteX38" fmla="*/ 369070 w 1708071"/>
              <a:gd name="connsiteY38" fmla="*/ 26614 h 662520"/>
              <a:gd name="connsiteX39" fmla="*/ 402953 w 1708071"/>
              <a:gd name="connsiteY39" fmla="*/ 47914 h 662520"/>
              <a:gd name="connsiteX40" fmla="*/ 432736 w 1708071"/>
              <a:gd name="connsiteY40" fmla="*/ 75804 h 662520"/>
              <a:gd name="connsiteX41" fmla="*/ 458013 w 1708071"/>
              <a:gd name="connsiteY41" fmla="*/ 110509 h 662520"/>
              <a:gd name="connsiteX42" fmla="*/ 478379 w 1708071"/>
              <a:gd name="connsiteY42" fmla="*/ 152255 h 662520"/>
              <a:gd name="connsiteX43" fmla="*/ 493429 w 1708071"/>
              <a:gd name="connsiteY43" fmla="*/ 201265 h 662520"/>
              <a:gd name="connsiteX44" fmla="*/ 502756 w 1708071"/>
              <a:gd name="connsiteY44" fmla="*/ 257766 h 662520"/>
              <a:gd name="connsiteX45" fmla="*/ 505955 w 1708071"/>
              <a:gd name="connsiteY45" fmla="*/ 321983 h 662520"/>
              <a:gd name="connsiteX46" fmla="*/ 503406 w 1708071"/>
              <a:gd name="connsiteY46" fmla="*/ 376707 h 662520"/>
              <a:gd name="connsiteX47" fmla="*/ 495858 w 1708071"/>
              <a:gd name="connsiteY47" fmla="*/ 427041 h 662520"/>
              <a:gd name="connsiteX48" fmla="*/ 483456 w 1708071"/>
              <a:gd name="connsiteY48" fmla="*/ 472909 h 662520"/>
              <a:gd name="connsiteX49" fmla="*/ 466346 w 1708071"/>
              <a:gd name="connsiteY49" fmla="*/ 514232 h 662520"/>
              <a:gd name="connsiteX50" fmla="*/ 444674 w 1708071"/>
              <a:gd name="connsiteY50" fmla="*/ 550937 h 662520"/>
              <a:gd name="connsiteX51" fmla="*/ 418587 w 1708071"/>
              <a:gd name="connsiteY51" fmla="*/ 582945 h 662520"/>
              <a:gd name="connsiteX52" fmla="*/ 388229 w 1708071"/>
              <a:gd name="connsiteY52" fmla="*/ 610181 h 662520"/>
              <a:gd name="connsiteX53" fmla="*/ 353748 w 1708071"/>
              <a:gd name="connsiteY53" fmla="*/ 632569 h 662520"/>
              <a:gd name="connsiteX54" fmla="*/ 315289 w 1708071"/>
              <a:gd name="connsiteY54" fmla="*/ 650033 h 662520"/>
              <a:gd name="connsiteX55" fmla="*/ 272999 w 1708071"/>
              <a:gd name="connsiteY55" fmla="*/ 662495 h 662520"/>
              <a:gd name="connsiteX56" fmla="*/ 592162 w 1708071"/>
              <a:gd name="connsiteY56" fmla="*/ 662520 h 662520"/>
              <a:gd name="connsiteX57" fmla="*/ 571167 w 1708071"/>
              <a:gd name="connsiteY57" fmla="*/ 658030 h 662520"/>
              <a:gd name="connsiteX58" fmla="*/ 551373 w 1708071"/>
              <a:gd name="connsiteY58" fmla="*/ 652783 h 662520"/>
              <a:gd name="connsiteX59" fmla="*/ 532537 w 1708071"/>
              <a:gd name="connsiteY59" fmla="*/ 646826 h 662520"/>
              <a:gd name="connsiteX60" fmla="*/ 514413 w 1708071"/>
              <a:gd name="connsiteY60" fmla="*/ 640206 h 662520"/>
              <a:gd name="connsiteX61" fmla="*/ 514413 w 1708071"/>
              <a:gd name="connsiteY61" fmla="*/ 516293 h 662520"/>
              <a:gd name="connsiteX62" fmla="*/ 596087 w 1708071"/>
              <a:gd name="connsiteY62" fmla="*/ 516293 h 662520"/>
              <a:gd name="connsiteX63" fmla="*/ 612203 w 1708071"/>
              <a:gd name="connsiteY63" fmla="*/ 539439 h 662520"/>
              <a:gd name="connsiteX64" fmla="*/ 635627 w 1708071"/>
              <a:gd name="connsiteY64" fmla="*/ 559242 h 662520"/>
              <a:gd name="connsiteX65" fmla="*/ 666972 w 1708071"/>
              <a:gd name="connsiteY65" fmla="*/ 573062 h 662520"/>
              <a:gd name="connsiteX66" fmla="*/ 706856 w 1708071"/>
              <a:gd name="connsiteY66" fmla="*/ 578256 h 662520"/>
              <a:gd name="connsiteX67" fmla="*/ 749359 w 1708071"/>
              <a:gd name="connsiteY67" fmla="*/ 571758 h 662520"/>
              <a:gd name="connsiteX68" fmla="*/ 784298 w 1708071"/>
              <a:gd name="connsiteY68" fmla="*/ 552322 h 662520"/>
              <a:gd name="connsiteX69" fmla="*/ 807972 w 1708071"/>
              <a:gd name="connsiteY69" fmla="*/ 520038 h 662520"/>
              <a:gd name="connsiteX70" fmla="*/ 816686 w 1708071"/>
              <a:gd name="connsiteY70" fmla="*/ 474992 h 662520"/>
              <a:gd name="connsiteX71" fmla="*/ 809424 w 1708071"/>
              <a:gd name="connsiteY71" fmla="*/ 430240 h 662520"/>
              <a:gd name="connsiteX72" fmla="*/ 787466 w 1708071"/>
              <a:gd name="connsiteY72" fmla="*/ 398602 h 662520"/>
              <a:gd name="connsiteX73" fmla="*/ 750549 w 1708071"/>
              <a:gd name="connsiteY73" fmla="*/ 379812 h 662520"/>
              <a:gd name="connsiteX74" fmla="*/ 698411 w 1708071"/>
              <a:gd name="connsiteY74" fmla="*/ 373608 h 662520"/>
              <a:gd name="connsiteX75" fmla="*/ 649592 w 1708071"/>
              <a:gd name="connsiteY75" fmla="*/ 373608 h 662520"/>
              <a:gd name="connsiteX76" fmla="*/ 649592 w 1708071"/>
              <a:gd name="connsiteY76" fmla="*/ 286308 h 662520"/>
              <a:gd name="connsiteX77" fmla="*/ 690892 w 1708071"/>
              <a:gd name="connsiteY77" fmla="*/ 286308 h 662520"/>
              <a:gd name="connsiteX78" fmla="*/ 744563 w 1708071"/>
              <a:gd name="connsiteY78" fmla="*/ 280133 h 662520"/>
              <a:gd name="connsiteX79" fmla="*/ 783007 w 1708071"/>
              <a:gd name="connsiteY79" fmla="*/ 261550 h 662520"/>
              <a:gd name="connsiteX80" fmla="*/ 806137 w 1708071"/>
              <a:gd name="connsiteY80" fmla="*/ 230469 h 662520"/>
              <a:gd name="connsiteX81" fmla="*/ 813866 w 1708071"/>
              <a:gd name="connsiteY81" fmla="*/ 186804 h 662520"/>
              <a:gd name="connsiteX82" fmla="*/ 808513 w 1708071"/>
              <a:gd name="connsiteY82" fmla="*/ 149115 h 662520"/>
              <a:gd name="connsiteX83" fmla="*/ 792160 w 1708071"/>
              <a:gd name="connsiteY83" fmla="*/ 121104 h 662520"/>
              <a:gd name="connsiteX84" fmla="*/ 764365 w 1708071"/>
              <a:gd name="connsiteY84" fmla="*/ 103651 h 662520"/>
              <a:gd name="connsiteX85" fmla="*/ 724687 w 1708071"/>
              <a:gd name="connsiteY85" fmla="*/ 97637 h 662520"/>
              <a:gd name="connsiteX86" fmla="*/ 687243 w 1708071"/>
              <a:gd name="connsiteY86" fmla="*/ 102374 h 662520"/>
              <a:gd name="connsiteX87" fmla="*/ 657456 w 1708071"/>
              <a:gd name="connsiteY87" fmla="*/ 115117 h 662520"/>
              <a:gd name="connsiteX88" fmla="*/ 634533 w 1708071"/>
              <a:gd name="connsiteY88" fmla="*/ 133668 h 662520"/>
              <a:gd name="connsiteX89" fmla="*/ 617677 w 1708071"/>
              <a:gd name="connsiteY89" fmla="*/ 155828 h 662520"/>
              <a:gd name="connsiteX90" fmla="*/ 539775 w 1708071"/>
              <a:gd name="connsiteY90" fmla="*/ 155828 h 662520"/>
              <a:gd name="connsiteX91" fmla="*/ 539775 w 1708071"/>
              <a:gd name="connsiteY91" fmla="*/ 33807 h 662520"/>
              <a:gd name="connsiteX92" fmla="*/ 584006 w 1708071"/>
              <a:gd name="connsiteY92" fmla="*/ 19813 h 662520"/>
              <a:gd name="connsiteX93" fmla="*/ 631056 w 1708071"/>
              <a:gd name="connsiteY93" fmla="*/ 9159 h 662520"/>
              <a:gd name="connsiteX94" fmla="*/ 681278 w 1708071"/>
              <a:gd name="connsiteY94" fmla="*/ 2378 h 662520"/>
              <a:gd name="connsiteX95" fmla="*/ 735025 w 1708071"/>
              <a:gd name="connsiteY95" fmla="*/ 0 h 662520"/>
              <a:gd name="connsiteX96" fmla="*/ 790395 w 1708071"/>
              <a:gd name="connsiteY96" fmla="*/ 3158 h 662520"/>
              <a:gd name="connsiteX97" fmla="*/ 838689 w 1708071"/>
              <a:gd name="connsiteY97" fmla="*/ 12853 h 662520"/>
              <a:gd name="connsiteX98" fmla="*/ 879380 w 1708071"/>
              <a:gd name="connsiteY98" fmla="*/ 29412 h 662520"/>
              <a:gd name="connsiteX99" fmla="*/ 911943 w 1708071"/>
              <a:gd name="connsiteY99" fmla="*/ 53163 h 662520"/>
              <a:gd name="connsiteX100" fmla="*/ 935853 w 1708071"/>
              <a:gd name="connsiteY100" fmla="*/ 84435 h 662520"/>
              <a:gd name="connsiteX101" fmla="*/ 950584 w 1708071"/>
              <a:gd name="connsiteY101" fmla="*/ 123555 h 662520"/>
              <a:gd name="connsiteX102" fmla="*/ 955611 w 1708071"/>
              <a:gd name="connsiteY102" fmla="*/ 170853 h 662520"/>
              <a:gd name="connsiteX103" fmla="*/ 949453 w 1708071"/>
              <a:gd name="connsiteY103" fmla="*/ 219568 h 662520"/>
              <a:gd name="connsiteX104" fmla="*/ 931581 w 1708071"/>
              <a:gd name="connsiteY104" fmla="*/ 258234 h 662520"/>
              <a:gd name="connsiteX105" fmla="*/ 902895 w 1708071"/>
              <a:gd name="connsiteY105" fmla="*/ 287843 h 662520"/>
              <a:gd name="connsiteX106" fmla="*/ 864296 w 1708071"/>
              <a:gd name="connsiteY106" fmla="*/ 309388 h 662520"/>
              <a:gd name="connsiteX107" fmla="*/ 816686 w 1708071"/>
              <a:gd name="connsiteY107" fmla="*/ 323862 h 662520"/>
              <a:gd name="connsiteX108" fmla="*/ 816686 w 1708071"/>
              <a:gd name="connsiteY108" fmla="*/ 327609 h 662520"/>
              <a:gd name="connsiteX109" fmla="*/ 870681 w 1708071"/>
              <a:gd name="connsiteY109" fmla="*/ 340566 h 662520"/>
              <a:gd name="connsiteX110" fmla="*/ 912283 w 1708071"/>
              <a:gd name="connsiteY110" fmla="*/ 362534 h 662520"/>
              <a:gd name="connsiteX111" fmla="*/ 941719 w 1708071"/>
              <a:gd name="connsiteY111" fmla="*/ 393513 h 662520"/>
              <a:gd name="connsiteX112" fmla="*/ 959215 w 1708071"/>
              <a:gd name="connsiteY112" fmla="*/ 433502 h 662520"/>
              <a:gd name="connsiteX113" fmla="*/ 964996 w 1708071"/>
              <a:gd name="connsiteY113" fmla="*/ 482498 h 662520"/>
              <a:gd name="connsiteX114" fmla="*/ 959936 w 1708071"/>
              <a:gd name="connsiteY114" fmla="*/ 527743 h 662520"/>
              <a:gd name="connsiteX115" fmla="*/ 944659 w 1708071"/>
              <a:gd name="connsiteY115" fmla="*/ 567021 h 662520"/>
              <a:gd name="connsiteX116" fmla="*/ 920122 w 1708071"/>
              <a:gd name="connsiteY116" fmla="*/ 600232 h 662520"/>
              <a:gd name="connsiteX117" fmla="*/ 887285 w 1708071"/>
              <a:gd name="connsiteY117" fmla="*/ 627278 h 662520"/>
              <a:gd name="connsiteX118" fmla="*/ 847106 w 1708071"/>
              <a:gd name="connsiteY118" fmla="*/ 648061 h 662520"/>
              <a:gd name="connsiteX119" fmla="*/ 800544 w 1708071"/>
              <a:gd name="connsiteY119" fmla="*/ 662482 h 662520"/>
              <a:gd name="connsiteX120" fmla="*/ 1360843 w 1708071"/>
              <a:gd name="connsiteY120" fmla="*/ 662495 h 662520"/>
              <a:gd name="connsiteX121" fmla="*/ 1322871 w 1708071"/>
              <a:gd name="connsiteY121" fmla="*/ 649352 h 662520"/>
              <a:gd name="connsiteX122" fmla="*/ 1287296 w 1708071"/>
              <a:gd name="connsiteY122" fmla="*/ 630560 h 662520"/>
              <a:gd name="connsiteX123" fmla="*/ 1254670 w 1708071"/>
              <a:gd name="connsiteY123" fmla="*/ 606062 h 662520"/>
              <a:gd name="connsiteX124" fmla="*/ 1225546 w 1708071"/>
              <a:gd name="connsiteY124" fmla="*/ 575802 h 662520"/>
              <a:gd name="connsiteX125" fmla="*/ 1200477 w 1708071"/>
              <a:gd name="connsiteY125" fmla="*/ 539722 h 662520"/>
              <a:gd name="connsiteX126" fmla="*/ 1180016 w 1708071"/>
              <a:gd name="connsiteY126" fmla="*/ 497766 h 662520"/>
              <a:gd name="connsiteX127" fmla="*/ 1164717 w 1708071"/>
              <a:gd name="connsiteY127" fmla="*/ 449876 h 662520"/>
              <a:gd name="connsiteX128" fmla="*/ 1155131 w 1708071"/>
              <a:gd name="connsiteY128" fmla="*/ 395995 h 662520"/>
              <a:gd name="connsiteX129" fmla="*/ 1151813 w 1708071"/>
              <a:gd name="connsiteY129" fmla="*/ 336067 h 662520"/>
              <a:gd name="connsiteX130" fmla="*/ 1155053 w 1708071"/>
              <a:gd name="connsiteY130" fmla="*/ 276826 h 662520"/>
              <a:gd name="connsiteX131" fmla="*/ 1164415 w 1708071"/>
              <a:gd name="connsiteY131" fmla="*/ 223488 h 662520"/>
              <a:gd name="connsiteX132" fmla="*/ 1179368 w 1708071"/>
              <a:gd name="connsiteY132" fmla="*/ 175997 h 662520"/>
              <a:gd name="connsiteX133" fmla="*/ 1199377 w 1708071"/>
              <a:gd name="connsiteY133" fmla="*/ 134299 h 662520"/>
              <a:gd name="connsiteX134" fmla="*/ 1223910 w 1708071"/>
              <a:gd name="connsiteY134" fmla="*/ 98339 h 662520"/>
              <a:gd name="connsiteX135" fmla="*/ 1252434 w 1708071"/>
              <a:gd name="connsiteY135" fmla="*/ 68062 h 662520"/>
              <a:gd name="connsiteX136" fmla="*/ 1284414 w 1708071"/>
              <a:gd name="connsiteY136" fmla="*/ 43413 h 662520"/>
              <a:gd name="connsiteX137" fmla="*/ 1319318 w 1708071"/>
              <a:gd name="connsiteY137" fmla="*/ 24337 h 662520"/>
              <a:gd name="connsiteX138" fmla="*/ 1356613 w 1708071"/>
              <a:gd name="connsiteY138" fmla="*/ 10780 h 662520"/>
              <a:gd name="connsiteX139" fmla="*/ 1395766 w 1708071"/>
              <a:gd name="connsiteY139" fmla="*/ 2685 h 662520"/>
              <a:gd name="connsiteX140" fmla="*/ 1436243 w 1708071"/>
              <a:gd name="connsiteY140" fmla="*/ 0 h 662520"/>
              <a:gd name="connsiteX141" fmla="*/ 1476722 w 1708071"/>
              <a:gd name="connsiteY141" fmla="*/ 2685 h 662520"/>
              <a:gd name="connsiteX142" fmla="*/ 1515876 w 1708071"/>
              <a:gd name="connsiteY142" fmla="*/ 10780 h 662520"/>
              <a:gd name="connsiteX143" fmla="*/ 1553172 w 1708071"/>
              <a:gd name="connsiteY143" fmla="*/ 24337 h 662520"/>
              <a:gd name="connsiteX144" fmla="*/ 1588076 w 1708071"/>
              <a:gd name="connsiteY144" fmla="*/ 43413 h 662520"/>
              <a:gd name="connsiteX145" fmla="*/ 1620056 w 1708071"/>
              <a:gd name="connsiteY145" fmla="*/ 68062 h 662520"/>
              <a:gd name="connsiteX146" fmla="*/ 1648579 w 1708071"/>
              <a:gd name="connsiteY146" fmla="*/ 98339 h 662520"/>
              <a:gd name="connsiteX147" fmla="*/ 1673111 w 1708071"/>
              <a:gd name="connsiteY147" fmla="*/ 134299 h 662520"/>
              <a:gd name="connsiteX148" fmla="*/ 1693119 w 1708071"/>
              <a:gd name="connsiteY148" fmla="*/ 175997 h 662520"/>
              <a:gd name="connsiteX149" fmla="*/ 1708071 w 1708071"/>
              <a:gd name="connsiteY149" fmla="*/ 223488 h 662520"/>
              <a:gd name="connsiteX0" fmla="*/ 74231 w 1693119"/>
              <a:gd name="connsiteY0" fmla="*/ 662482 h 662520"/>
              <a:gd name="connsiteX1" fmla="*/ 60344 w 1693119"/>
              <a:gd name="connsiteY1" fmla="*/ 659582 h 662520"/>
              <a:gd name="connsiteX2" fmla="*/ 47517 w 1693119"/>
              <a:gd name="connsiteY2" fmla="*/ 656437 h 662520"/>
              <a:gd name="connsiteX3" fmla="*/ 35823 w 1693119"/>
              <a:gd name="connsiteY3" fmla="*/ 653092 h 662520"/>
              <a:gd name="connsiteX4" fmla="*/ 25336 w 1693119"/>
              <a:gd name="connsiteY4" fmla="*/ 649592 h 662520"/>
              <a:gd name="connsiteX5" fmla="*/ 25336 w 1693119"/>
              <a:gd name="connsiteY5" fmla="*/ 533196 h 662520"/>
              <a:gd name="connsiteX6" fmla="*/ 104190 w 1693119"/>
              <a:gd name="connsiteY6" fmla="*/ 533196 h 662520"/>
              <a:gd name="connsiteX7" fmla="*/ 116931 w 1693119"/>
              <a:gd name="connsiteY7" fmla="*/ 550133 h 662520"/>
              <a:gd name="connsiteX8" fmla="*/ 135043 w 1693119"/>
              <a:gd name="connsiteY8" fmla="*/ 564522 h 662520"/>
              <a:gd name="connsiteX9" fmla="*/ 160020 w 1693119"/>
              <a:gd name="connsiteY9" fmla="*/ 574514 h 662520"/>
              <a:gd name="connsiteX10" fmla="*/ 193357 w 1693119"/>
              <a:gd name="connsiteY10" fmla="*/ 578256 h 662520"/>
              <a:gd name="connsiteX11" fmla="*/ 233829 w 1693119"/>
              <a:gd name="connsiteY11" fmla="*/ 573672 h 662520"/>
              <a:gd name="connsiteX12" fmla="*/ 297105 w 1693119"/>
              <a:gd name="connsiteY12" fmla="*/ 537246 h 662520"/>
              <a:gd name="connsiteX13" fmla="*/ 320040 w 1693119"/>
              <a:gd name="connsiteY13" fmla="*/ 505568 h 662520"/>
              <a:gd name="connsiteX14" fmla="*/ 337261 w 1693119"/>
              <a:gd name="connsiteY14" fmla="*/ 465022 h 662520"/>
              <a:gd name="connsiteX15" fmla="*/ 348834 w 1693119"/>
              <a:gd name="connsiteY15" fmla="*/ 415691 h 662520"/>
              <a:gd name="connsiteX16" fmla="*/ 354825 w 1693119"/>
              <a:gd name="connsiteY16" fmla="*/ 357657 h 662520"/>
              <a:gd name="connsiteX17" fmla="*/ 325357 w 1693119"/>
              <a:gd name="connsiteY17" fmla="*/ 385098 h 662520"/>
              <a:gd name="connsiteX18" fmla="*/ 289466 w 1693119"/>
              <a:gd name="connsiteY18" fmla="*/ 406117 h 662520"/>
              <a:gd name="connsiteX19" fmla="*/ 247767 w 1693119"/>
              <a:gd name="connsiteY19" fmla="*/ 419568 h 662520"/>
              <a:gd name="connsiteX20" fmla="*/ 200875 w 1693119"/>
              <a:gd name="connsiteY20" fmla="*/ 424306 h 662520"/>
              <a:gd name="connsiteX21" fmla="*/ 153099 w 1693119"/>
              <a:gd name="connsiteY21" fmla="*/ 420031 h 662520"/>
              <a:gd name="connsiteX22" fmla="*/ 110150 w 1693119"/>
              <a:gd name="connsiteY22" fmla="*/ 407348 h 662520"/>
              <a:gd name="connsiteX23" fmla="*/ 72948 w 1693119"/>
              <a:gd name="connsiteY23" fmla="*/ 386472 h 662520"/>
              <a:gd name="connsiteX24" fmla="*/ 42412 w 1693119"/>
              <a:gd name="connsiteY24" fmla="*/ 357614 h 662520"/>
              <a:gd name="connsiteX25" fmla="*/ 19463 w 1693119"/>
              <a:gd name="connsiteY25" fmla="*/ 320990 h 662520"/>
              <a:gd name="connsiteX26" fmla="*/ 5019 w 1693119"/>
              <a:gd name="connsiteY26" fmla="*/ 276814 h 662520"/>
              <a:gd name="connsiteX27" fmla="*/ 0 w 1693119"/>
              <a:gd name="connsiteY27" fmla="*/ 225297 h 662520"/>
              <a:gd name="connsiteX28" fmla="*/ 4447 w 1693119"/>
              <a:gd name="connsiteY28" fmla="*/ 178425 h 662520"/>
              <a:gd name="connsiteX29" fmla="*/ 17453 w 1693119"/>
              <a:gd name="connsiteY29" fmla="*/ 135445 h 662520"/>
              <a:gd name="connsiteX30" fmla="*/ 38511 w 1693119"/>
              <a:gd name="connsiteY30" fmla="*/ 97085 h 662520"/>
              <a:gd name="connsiteX31" fmla="*/ 67116 w 1693119"/>
              <a:gd name="connsiteY31" fmla="*/ 64071 h 662520"/>
              <a:gd name="connsiteX32" fmla="*/ 102760 w 1693119"/>
              <a:gd name="connsiteY32" fmla="*/ 37129 h 662520"/>
              <a:gd name="connsiteX33" fmla="*/ 144939 w 1693119"/>
              <a:gd name="connsiteY33" fmla="*/ 16986 h 662520"/>
              <a:gd name="connsiteX34" fmla="*/ 193146 w 1693119"/>
              <a:gd name="connsiteY34" fmla="*/ 4367 h 662520"/>
              <a:gd name="connsiteX35" fmla="*/ 246875 w 1693119"/>
              <a:gd name="connsiteY35" fmla="*/ 0 h 662520"/>
              <a:gd name="connsiteX36" fmla="*/ 290625 w 1693119"/>
              <a:gd name="connsiteY36" fmla="*/ 2882 h 662520"/>
              <a:gd name="connsiteX37" fmla="*/ 331492 w 1693119"/>
              <a:gd name="connsiteY37" fmla="*/ 11678 h 662520"/>
              <a:gd name="connsiteX38" fmla="*/ 369070 w 1693119"/>
              <a:gd name="connsiteY38" fmla="*/ 26614 h 662520"/>
              <a:gd name="connsiteX39" fmla="*/ 402953 w 1693119"/>
              <a:gd name="connsiteY39" fmla="*/ 47914 h 662520"/>
              <a:gd name="connsiteX40" fmla="*/ 432736 w 1693119"/>
              <a:gd name="connsiteY40" fmla="*/ 75804 h 662520"/>
              <a:gd name="connsiteX41" fmla="*/ 458013 w 1693119"/>
              <a:gd name="connsiteY41" fmla="*/ 110509 h 662520"/>
              <a:gd name="connsiteX42" fmla="*/ 478379 w 1693119"/>
              <a:gd name="connsiteY42" fmla="*/ 152255 h 662520"/>
              <a:gd name="connsiteX43" fmla="*/ 493429 w 1693119"/>
              <a:gd name="connsiteY43" fmla="*/ 201265 h 662520"/>
              <a:gd name="connsiteX44" fmla="*/ 502756 w 1693119"/>
              <a:gd name="connsiteY44" fmla="*/ 257766 h 662520"/>
              <a:gd name="connsiteX45" fmla="*/ 505955 w 1693119"/>
              <a:gd name="connsiteY45" fmla="*/ 321983 h 662520"/>
              <a:gd name="connsiteX46" fmla="*/ 503406 w 1693119"/>
              <a:gd name="connsiteY46" fmla="*/ 376707 h 662520"/>
              <a:gd name="connsiteX47" fmla="*/ 495858 w 1693119"/>
              <a:gd name="connsiteY47" fmla="*/ 427041 h 662520"/>
              <a:gd name="connsiteX48" fmla="*/ 483456 w 1693119"/>
              <a:gd name="connsiteY48" fmla="*/ 472909 h 662520"/>
              <a:gd name="connsiteX49" fmla="*/ 466346 w 1693119"/>
              <a:gd name="connsiteY49" fmla="*/ 514232 h 662520"/>
              <a:gd name="connsiteX50" fmla="*/ 444674 w 1693119"/>
              <a:gd name="connsiteY50" fmla="*/ 550937 h 662520"/>
              <a:gd name="connsiteX51" fmla="*/ 418587 w 1693119"/>
              <a:gd name="connsiteY51" fmla="*/ 582945 h 662520"/>
              <a:gd name="connsiteX52" fmla="*/ 388229 w 1693119"/>
              <a:gd name="connsiteY52" fmla="*/ 610181 h 662520"/>
              <a:gd name="connsiteX53" fmla="*/ 353748 w 1693119"/>
              <a:gd name="connsiteY53" fmla="*/ 632569 h 662520"/>
              <a:gd name="connsiteX54" fmla="*/ 315289 w 1693119"/>
              <a:gd name="connsiteY54" fmla="*/ 650033 h 662520"/>
              <a:gd name="connsiteX55" fmla="*/ 272999 w 1693119"/>
              <a:gd name="connsiteY55" fmla="*/ 662495 h 662520"/>
              <a:gd name="connsiteX56" fmla="*/ 592162 w 1693119"/>
              <a:gd name="connsiteY56" fmla="*/ 662520 h 662520"/>
              <a:gd name="connsiteX57" fmla="*/ 571167 w 1693119"/>
              <a:gd name="connsiteY57" fmla="*/ 658030 h 662520"/>
              <a:gd name="connsiteX58" fmla="*/ 551373 w 1693119"/>
              <a:gd name="connsiteY58" fmla="*/ 652783 h 662520"/>
              <a:gd name="connsiteX59" fmla="*/ 532537 w 1693119"/>
              <a:gd name="connsiteY59" fmla="*/ 646826 h 662520"/>
              <a:gd name="connsiteX60" fmla="*/ 514413 w 1693119"/>
              <a:gd name="connsiteY60" fmla="*/ 640206 h 662520"/>
              <a:gd name="connsiteX61" fmla="*/ 514413 w 1693119"/>
              <a:gd name="connsiteY61" fmla="*/ 516293 h 662520"/>
              <a:gd name="connsiteX62" fmla="*/ 596087 w 1693119"/>
              <a:gd name="connsiteY62" fmla="*/ 516293 h 662520"/>
              <a:gd name="connsiteX63" fmla="*/ 612203 w 1693119"/>
              <a:gd name="connsiteY63" fmla="*/ 539439 h 662520"/>
              <a:gd name="connsiteX64" fmla="*/ 635627 w 1693119"/>
              <a:gd name="connsiteY64" fmla="*/ 559242 h 662520"/>
              <a:gd name="connsiteX65" fmla="*/ 666972 w 1693119"/>
              <a:gd name="connsiteY65" fmla="*/ 573062 h 662520"/>
              <a:gd name="connsiteX66" fmla="*/ 706856 w 1693119"/>
              <a:gd name="connsiteY66" fmla="*/ 578256 h 662520"/>
              <a:gd name="connsiteX67" fmla="*/ 749359 w 1693119"/>
              <a:gd name="connsiteY67" fmla="*/ 571758 h 662520"/>
              <a:gd name="connsiteX68" fmla="*/ 784298 w 1693119"/>
              <a:gd name="connsiteY68" fmla="*/ 552322 h 662520"/>
              <a:gd name="connsiteX69" fmla="*/ 807972 w 1693119"/>
              <a:gd name="connsiteY69" fmla="*/ 520038 h 662520"/>
              <a:gd name="connsiteX70" fmla="*/ 816686 w 1693119"/>
              <a:gd name="connsiteY70" fmla="*/ 474992 h 662520"/>
              <a:gd name="connsiteX71" fmla="*/ 809424 w 1693119"/>
              <a:gd name="connsiteY71" fmla="*/ 430240 h 662520"/>
              <a:gd name="connsiteX72" fmla="*/ 787466 w 1693119"/>
              <a:gd name="connsiteY72" fmla="*/ 398602 h 662520"/>
              <a:gd name="connsiteX73" fmla="*/ 750549 w 1693119"/>
              <a:gd name="connsiteY73" fmla="*/ 379812 h 662520"/>
              <a:gd name="connsiteX74" fmla="*/ 698411 w 1693119"/>
              <a:gd name="connsiteY74" fmla="*/ 373608 h 662520"/>
              <a:gd name="connsiteX75" fmla="*/ 649592 w 1693119"/>
              <a:gd name="connsiteY75" fmla="*/ 373608 h 662520"/>
              <a:gd name="connsiteX76" fmla="*/ 649592 w 1693119"/>
              <a:gd name="connsiteY76" fmla="*/ 286308 h 662520"/>
              <a:gd name="connsiteX77" fmla="*/ 690892 w 1693119"/>
              <a:gd name="connsiteY77" fmla="*/ 286308 h 662520"/>
              <a:gd name="connsiteX78" fmla="*/ 744563 w 1693119"/>
              <a:gd name="connsiteY78" fmla="*/ 280133 h 662520"/>
              <a:gd name="connsiteX79" fmla="*/ 783007 w 1693119"/>
              <a:gd name="connsiteY79" fmla="*/ 261550 h 662520"/>
              <a:gd name="connsiteX80" fmla="*/ 806137 w 1693119"/>
              <a:gd name="connsiteY80" fmla="*/ 230469 h 662520"/>
              <a:gd name="connsiteX81" fmla="*/ 813866 w 1693119"/>
              <a:gd name="connsiteY81" fmla="*/ 186804 h 662520"/>
              <a:gd name="connsiteX82" fmla="*/ 808513 w 1693119"/>
              <a:gd name="connsiteY82" fmla="*/ 149115 h 662520"/>
              <a:gd name="connsiteX83" fmla="*/ 792160 w 1693119"/>
              <a:gd name="connsiteY83" fmla="*/ 121104 h 662520"/>
              <a:gd name="connsiteX84" fmla="*/ 764365 w 1693119"/>
              <a:gd name="connsiteY84" fmla="*/ 103651 h 662520"/>
              <a:gd name="connsiteX85" fmla="*/ 724687 w 1693119"/>
              <a:gd name="connsiteY85" fmla="*/ 97637 h 662520"/>
              <a:gd name="connsiteX86" fmla="*/ 687243 w 1693119"/>
              <a:gd name="connsiteY86" fmla="*/ 102374 h 662520"/>
              <a:gd name="connsiteX87" fmla="*/ 657456 w 1693119"/>
              <a:gd name="connsiteY87" fmla="*/ 115117 h 662520"/>
              <a:gd name="connsiteX88" fmla="*/ 634533 w 1693119"/>
              <a:gd name="connsiteY88" fmla="*/ 133668 h 662520"/>
              <a:gd name="connsiteX89" fmla="*/ 617677 w 1693119"/>
              <a:gd name="connsiteY89" fmla="*/ 155828 h 662520"/>
              <a:gd name="connsiteX90" fmla="*/ 539775 w 1693119"/>
              <a:gd name="connsiteY90" fmla="*/ 155828 h 662520"/>
              <a:gd name="connsiteX91" fmla="*/ 539775 w 1693119"/>
              <a:gd name="connsiteY91" fmla="*/ 33807 h 662520"/>
              <a:gd name="connsiteX92" fmla="*/ 584006 w 1693119"/>
              <a:gd name="connsiteY92" fmla="*/ 19813 h 662520"/>
              <a:gd name="connsiteX93" fmla="*/ 631056 w 1693119"/>
              <a:gd name="connsiteY93" fmla="*/ 9159 h 662520"/>
              <a:gd name="connsiteX94" fmla="*/ 681278 w 1693119"/>
              <a:gd name="connsiteY94" fmla="*/ 2378 h 662520"/>
              <a:gd name="connsiteX95" fmla="*/ 735025 w 1693119"/>
              <a:gd name="connsiteY95" fmla="*/ 0 h 662520"/>
              <a:gd name="connsiteX96" fmla="*/ 790395 w 1693119"/>
              <a:gd name="connsiteY96" fmla="*/ 3158 h 662520"/>
              <a:gd name="connsiteX97" fmla="*/ 838689 w 1693119"/>
              <a:gd name="connsiteY97" fmla="*/ 12853 h 662520"/>
              <a:gd name="connsiteX98" fmla="*/ 879380 w 1693119"/>
              <a:gd name="connsiteY98" fmla="*/ 29412 h 662520"/>
              <a:gd name="connsiteX99" fmla="*/ 911943 w 1693119"/>
              <a:gd name="connsiteY99" fmla="*/ 53163 h 662520"/>
              <a:gd name="connsiteX100" fmla="*/ 935853 w 1693119"/>
              <a:gd name="connsiteY100" fmla="*/ 84435 h 662520"/>
              <a:gd name="connsiteX101" fmla="*/ 950584 w 1693119"/>
              <a:gd name="connsiteY101" fmla="*/ 123555 h 662520"/>
              <a:gd name="connsiteX102" fmla="*/ 955611 w 1693119"/>
              <a:gd name="connsiteY102" fmla="*/ 170853 h 662520"/>
              <a:gd name="connsiteX103" fmla="*/ 949453 w 1693119"/>
              <a:gd name="connsiteY103" fmla="*/ 219568 h 662520"/>
              <a:gd name="connsiteX104" fmla="*/ 931581 w 1693119"/>
              <a:gd name="connsiteY104" fmla="*/ 258234 h 662520"/>
              <a:gd name="connsiteX105" fmla="*/ 902895 w 1693119"/>
              <a:gd name="connsiteY105" fmla="*/ 287843 h 662520"/>
              <a:gd name="connsiteX106" fmla="*/ 864296 w 1693119"/>
              <a:gd name="connsiteY106" fmla="*/ 309388 h 662520"/>
              <a:gd name="connsiteX107" fmla="*/ 816686 w 1693119"/>
              <a:gd name="connsiteY107" fmla="*/ 323862 h 662520"/>
              <a:gd name="connsiteX108" fmla="*/ 816686 w 1693119"/>
              <a:gd name="connsiteY108" fmla="*/ 327609 h 662520"/>
              <a:gd name="connsiteX109" fmla="*/ 870681 w 1693119"/>
              <a:gd name="connsiteY109" fmla="*/ 340566 h 662520"/>
              <a:gd name="connsiteX110" fmla="*/ 912283 w 1693119"/>
              <a:gd name="connsiteY110" fmla="*/ 362534 h 662520"/>
              <a:gd name="connsiteX111" fmla="*/ 941719 w 1693119"/>
              <a:gd name="connsiteY111" fmla="*/ 393513 h 662520"/>
              <a:gd name="connsiteX112" fmla="*/ 959215 w 1693119"/>
              <a:gd name="connsiteY112" fmla="*/ 433502 h 662520"/>
              <a:gd name="connsiteX113" fmla="*/ 964996 w 1693119"/>
              <a:gd name="connsiteY113" fmla="*/ 482498 h 662520"/>
              <a:gd name="connsiteX114" fmla="*/ 959936 w 1693119"/>
              <a:gd name="connsiteY114" fmla="*/ 527743 h 662520"/>
              <a:gd name="connsiteX115" fmla="*/ 944659 w 1693119"/>
              <a:gd name="connsiteY115" fmla="*/ 567021 h 662520"/>
              <a:gd name="connsiteX116" fmla="*/ 920122 w 1693119"/>
              <a:gd name="connsiteY116" fmla="*/ 600232 h 662520"/>
              <a:gd name="connsiteX117" fmla="*/ 887285 w 1693119"/>
              <a:gd name="connsiteY117" fmla="*/ 627278 h 662520"/>
              <a:gd name="connsiteX118" fmla="*/ 847106 w 1693119"/>
              <a:gd name="connsiteY118" fmla="*/ 648061 h 662520"/>
              <a:gd name="connsiteX119" fmla="*/ 800544 w 1693119"/>
              <a:gd name="connsiteY119" fmla="*/ 662482 h 662520"/>
              <a:gd name="connsiteX120" fmla="*/ 1360843 w 1693119"/>
              <a:gd name="connsiteY120" fmla="*/ 662495 h 662520"/>
              <a:gd name="connsiteX121" fmla="*/ 1322871 w 1693119"/>
              <a:gd name="connsiteY121" fmla="*/ 649352 h 662520"/>
              <a:gd name="connsiteX122" fmla="*/ 1287296 w 1693119"/>
              <a:gd name="connsiteY122" fmla="*/ 630560 h 662520"/>
              <a:gd name="connsiteX123" fmla="*/ 1254670 w 1693119"/>
              <a:gd name="connsiteY123" fmla="*/ 606062 h 662520"/>
              <a:gd name="connsiteX124" fmla="*/ 1225546 w 1693119"/>
              <a:gd name="connsiteY124" fmla="*/ 575802 h 662520"/>
              <a:gd name="connsiteX125" fmla="*/ 1200477 w 1693119"/>
              <a:gd name="connsiteY125" fmla="*/ 539722 h 662520"/>
              <a:gd name="connsiteX126" fmla="*/ 1180016 w 1693119"/>
              <a:gd name="connsiteY126" fmla="*/ 497766 h 662520"/>
              <a:gd name="connsiteX127" fmla="*/ 1164717 w 1693119"/>
              <a:gd name="connsiteY127" fmla="*/ 449876 h 662520"/>
              <a:gd name="connsiteX128" fmla="*/ 1155131 w 1693119"/>
              <a:gd name="connsiteY128" fmla="*/ 395995 h 662520"/>
              <a:gd name="connsiteX129" fmla="*/ 1151813 w 1693119"/>
              <a:gd name="connsiteY129" fmla="*/ 336067 h 662520"/>
              <a:gd name="connsiteX130" fmla="*/ 1155053 w 1693119"/>
              <a:gd name="connsiteY130" fmla="*/ 276826 h 662520"/>
              <a:gd name="connsiteX131" fmla="*/ 1164415 w 1693119"/>
              <a:gd name="connsiteY131" fmla="*/ 223488 h 662520"/>
              <a:gd name="connsiteX132" fmla="*/ 1179368 w 1693119"/>
              <a:gd name="connsiteY132" fmla="*/ 175997 h 662520"/>
              <a:gd name="connsiteX133" fmla="*/ 1199377 w 1693119"/>
              <a:gd name="connsiteY133" fmla="*/ 134299 h 662520"/>
              <a:gd name="connsiteX134" fmla="*/ 1223910 w 1693119"/>
              <a:gd name="connsiteY134" fmla="*/ 98339 h 662520"/>
              <a:gd name="connsiteX135" fmla="*/ 1252434 w 1693119"/>
              <a:gd name="connsiteY135" fmla="*/ 68062 h 662520"/>
              <a:gd name="connsiteX136" fmla="*/ 1284414 w 1693119"/>
              <a:gd name="connsiteY136" fmla="*/ 43413 h 662520"/>
              <a:gd name="connsiteX137" fmla="*/ 1319318 w 1693119"/>
              <a:gd name="connsiteY137" fmla="*/ 24337 h 662520"/>
              <a:gd name="connsiteX138" fmla="*/ 1356613 w 1693119"/>
              <a:gd name="connsiteY138" fmla="*/ 10780 h 662520"/>
              <a:gd name="connsiteX139" fmla="*/ 1395766 w 1693119"/>
              <a:gd name="connsiteY139" fmla="*/ 2685 h 662520"/>
              <a:gd name="connsiteX140" fmla="*/ 1436243 w 1693119"/>
              <a:gd name="connsiteY140" fmla="*/ 0 h 662520"/>
              <a:gd name="connsiteX141" fmla="*/ 1476722 w 1693119"/>
              <a:gd name="connsiteY141" fmla="*/ 2685 h 662520"/>
              <a:gd name="connsiteX142" fmla="*/ 1515876 w 1693119"/>
              <a:gd name="connsiteY142" fmla="*/ 10780 h 662520"/>
              <a:gd name="connsiteX143" fmla="*/ 1553172 w 1693119"/>
              <a:gd name="connsiteY143" fmla="*/ 24337 h 662520"/>
              <a:gd name="connsiteX144" fmla="*/ 1588076 w 1693119"/>
              <a:gd name="connsiteY144" fmla="*/ 43413 h 662520"/>
              <a:gd name="connsiteX145" fmla="*/ 1620056 w 1693119"/>
              <a:gd name="connsiteY145" fmla="*/ 68062 h 662520"/>
              <a:gd name="connsiteX146" fmla="*/ 1648579 w 1693119"/>
              <a:gd name="connsiteY146" fmla="*/ 98339 h 662520"/>
              <a:gd name="connsiteX147" fmla="*/ 1673111 w 1693119"/>
              <a:gd name="connsiteY147" fmla="*/ 134299 h 662520"/>
              <a:gd name="connsiteX148" fmla="*/ 1693119 w 1693119"/>
              <a:gd name="connsiteY148" fmla="*/ 175997 h 662520"/>
              <a:gd name="connsiteX0" fmla="*/ 74231 w 1673111"/>
              <a:gd name="connsiteY0" fmla="*/ 662482 h 662520"/>
              <a:gd name="connsiteX1" fmla="*/ 60344 w 1673111"/>
              <a:gd name="connsiteY1" fmla="*/ 659582 h 662520"/>
              <a:gd name="connsiteX2" fmla="*/ 47517 w 1673111"/>
              <a:gd name="connsiteY2" fmla="*/ 656437 h 662520"/>
              <a:gd name="connsiteX3" fmla="*/ 35823 w 1673111"/>
              <a:gd name="connsiteY3" fmla="*/ 653092 h 662520"/>
              <a:gd name="connsiteX4" fmla="*/ 25336 w 1673111"/>
              <a:gd name="connsiteY4" fmla="*/ 649592 h 662520"/>
              <a:gd name="connsiteX5" fmla="*/ 25336 w 1673111"/>
              <a:gd name="connsiteY5" fmla="*/ 533196 h 662520"/>
              <a:gd name="connsiteX6" fmla="*/ 104190 w 1673111"/>
              <a:gd name="connsiteY6" fmla="*/ 533196 h 662520"/>
              <a:gd name="connsiteX7" fmla="*/ 116931 w 1673111"/>
              <a:gd name="connsiteY7" fmla="*/ 550133 h 662520"/>
              <a:gd name="connsiteX8" fmla="*/ 135043 w 1673111"/>
              <a:gd name="connsiteY8" fmla="*/ 564522 h 662520"/>
              <a:gd name="connsiteX9" fmla="*/ 160020 w 1673111"/>
              <a:gd name="connsiteY9" fmla="*/ 574514 h 662520"/>
              <a:gd name="connsiteX10" fmla="*/ 193357 w 1673111"/>
              <a:gd name="connsiteY10" fmla="*/ 578256 h 662520"/>
              <a:gd name="connsiteX11" fmla="*/ 233829 w 1673111"/>
              <a:gd name="connsiteY11" fmla="*/ 573672 h 662520"/>
              <a:gd name="connsiteX12" fmla="*/ 297105 w 1673111"/>
              <a:gd name="connsiteY12" fmla="*/ 537246 h 662520"/>
              <a:gd name="connsiteX13" fmla="*/ 320040 w 1673111"/>
              <a:gd name="connsiteY13" fmla="*/ 505568 h 662520"/>
              <a:gd name="connsiteX14" fmla="*/ 337261 w 1673111"/>
              <a:gd name="connsiteY14" fmla="*/ 465022 h 662520"/>
              <a:gd name="connsiteX15" fmla="*/ 348834 w 1673111"/>
              <a:gd name="connsiteY15" fmla="*/ 415691 h 662520"/>
              <a:gd name="connsiteX16" fmla="*/ 354825 w 1673111"/>
              <a:gd name="connsiteY16" fmla="*/ 357657 h 662520"/>
              <a:gd name="connsiteX17" fmla="*/ 325357 w 1673111"/>
              <a:gd name="connsiteY17" fmla="*/ 385098 h 662520"/>
              <a:gd name="connsiteX18" fmla="*/ 289466 w 1673111"/>
              <a:gd name="connsiteY18" fmla="*/ 406117 h 662520"/>
              <a:gd name="connsiteX19" fmla="*/ 247767 w 1673111"/>
              <a:gd name="connsiteY19" fmla="*/ 419568 h 662520"/>
              <a:gd name="connsiteX20" fmla="*/ 200875 w 1673111"/>
              <a:gd name="connsiteY20" fmla="*/ 424306 h 662520"/>
              <a:gd name="connsiteX21" fmla="*/ 153099 w 1673111"/>
              <a:gd name="connsiteY21" fmla="*/ 420031 h 662520"/>
              <a:gd name="connsiteX22" fmla="*/ 110150 w 1673111"/>
              <a:gd name="connsiteY22" fmla="*/ 407348 h 662520"/>
              <a:gd name="connsiteX23" fmla="*/ 72948 w 1673111"/>
              <a:gd name="connsiteY23" fmla="*/ 386472 h 662520"/>
              <a:gd name="connsiteX24" fmla="*/ 42412 w 1673111"/>
              <a:gd name="connsiteY24" fmla="*/ 357614 h 662520"/>
              <a:gd name="connsiteX25" fmla="*/ 19463 w 1673111"/>
              <a:gd name="connsiteY25" fmla="*/ 320990 h 662520"/>
              <a:gd name="connsiteX26" fmla="*/ 5019 w 1673111"/>
              <a:gd name="connsiteY26" fmla="*/ 276814 h 662520"/>
              <a:gd name="connsiteX27" fmla="*/ 0 w 1673111"/>
              <a:gd name="connsiteY27" fmla="*/ 225297 h 662520"/>
              <a:gd name="connsiteX28" fmla="*/ 4447 w 1673111"/>
              <a:gd name="connsiteY28" fmla="*/ 178425 h 662520"/>
              <a:gd name="connsiteX29" fmla="*/ 17453 w 1673111"/>
              <a:gd name="connsiteY29" fmla="*/ 135445 h 662520"/>
              <a:gd name="connsiteX30" fmla="*/ 38511 w 1673111"/>
              <a:gd name="connsiteY30" fmla="*/ 97085 h 662520"/>
              <a:gd name="connsiteX31" fmla="*/ 67116 w 1673111"/>
              <a:gd name="connsiteY31" fmla="*/ 64071 h 662520"/>
              <a:gd name="connsiteX32" fmla="*/ 102760 w 1673111"/>
              <a:gd name="connsiteY32" fmla="*/ 37129 h 662520"/>
              <a:gd name="connsiteX33" fmla="*/ 144939 w 1673111"/>
              <a:gd name="connsiteY33" fmla="*/ 16986 h 662520"/>
              <a:gd name="connsiteX34" fmla="*/ 193146 w 1673111"/>
              <a:gd name="connsiteY34" fmla="*/ 4367 h 662520"/>
              <a:gd name="connsiteX35" fmla="*/ 246875 w 1673111"/>
              <a:gd name="connsiteY35" fmla="*/ 0 h 662520"/>
              <a:gd name="connsiteX36" fmla="*/ 290625 w 1673111"/>
              <a:gd name="connsiteY36" fmla="*/ 2882 h 662520"/>
              <a:gd name="connsiteX37" fmla="*/ 331492 w 1673111"/>
              <a:gd name="connsiteY37" fmla="*/ 11678 h 662520"/>
              <a:gd name="connsiteX38" fmla="*/ 369070 w 1673111"/>
              <a:gd name="connsiteY38" fmla="*/ 26614 h 662520"/>
              <a:gd name="connsiteX39" fmla="*/ 402953 w 1673111"/>
              <a:gd name="connsiteY39" fmla="*/ 47914 h 662520"/>
              <a:gd name="connsiteX40" fmla="*/ 432736 w 1673111"/>
              <a:gd name="connsiteY40" fmla="*/ 75804 h 662520"/>
              <a:gd name="connsiteX41" fmla="*/ 458013 w 1673111"/>
              <a:gd name="connsiteY41" fmla="*/ 110509 h 662520"/>
              <a:gd name="connsiteX42" fmla="*/ 478379 w 1673111"/>
              <a:gd name="connsiteY42" fmla="*/ 152255 h 662520"/>
              <a:gd name="connsiteX43" fmla="*/ 493429 w 1673111"/>
              <a:gd name="connsiteY43" fmla="*/ 201265 h 662520"/>
              <a:gd name="connsiteX44" fmla="*/ 502756 w 1673111"/>
              <a:gd name="connsiteY44" fmla="*/ 257766 h 662520"/>
              <a:gd name="connsiteX45" fmla="*/ 505955 w 1673111"/>
              <a:gd name="connsiteY45" fmla="*/ 321983 h 662520"/>
              <a:gd name="connsiteX46" fmla="*/ 503406 w 1673111"/>
              <a:gd name="connsiteY46" fmla="*/ 376707 h 662520"/>
              <a:gd name="connsiteX47" fmla="*/ 495858 w 1673111"/>
              <a:gd name="connsiteY47" fmla="*/ 427041 h 662520"/>
              <a:gd name="connsiteX48" fmla="*/ 483456 w 1673111"/>
              <a:gd name="connsiteY48" fmla="*/ 472909 h 662520"/>
              <a:gd name="connsiteX49" fmla="*/ 466346 w 1673111"/>
              <a:gd name="connsiteY49" fmla="*/ 514232 h 662520"/>
              <a:gd name="connsiteX50" fmla="*/ 444674 w 1673111"/>
              <a:gd name="connsiteY50" fmla="*/ 550937 h 662520"/>
              <a:gd name="connsiteX51" fmla="*/ 418587 w 1673111"/>
              <a:gd name="connsiteY51" fmla="*/ 582945 h 662520"/>
              <a:gd name="connsiteX52" fmla="*/ 388229 w 1673111"/>
              <a:gd name="connsiteY52" fmla="*/ 610181 h 662520"/>
              <a:gd name="connsiteX53" fmla="*/ 353748 w 1673111"/>
              <a:gd name="connsiteY53" fmla="*/ 632569 h 662520"/>
              <a:gd name="connsiteX54" fmla="*/ 315289 w 1673111"/>
              <a:gd name="connsiteY54" fmla="*/ 650033 h 662520"/>
              <a:gd name="connsiteX55" fmla="*/ 272999 w 1673111"/>
              <a:gd name="connsiteY55" fmla="*/ 662495 h 662520"/>
              <a:gd name="connsiteX56" fmla="*/ 592162 w 1673111"/>
              <a:gd name="connsiteY56" fmla="*/ 662520 h 662520"/>
              <a:gd name="connsiteX57" fmla="*/ 571167 w 1673111"/>
              <a:gd name="connsiteY57" fmla="*/ 658030 h 662520"/>
              <a:gd name="connsiteX58" fmla="*/ 551373 w 1673111"/>
              <a:gd name="connsiteY58" fmla="*/ 652783 h 662520"/>
              <a:gd name="connsiteX59" fmla="*/ 532537 w 1673111"/>
              <a:gd name="connsiteY59" fmla="*/ 646826 h 662520"/>
              <a:gd name="connsiteX60" fmla="*/ 514413 w 1673111"/>
              <a:gd name="connsiteY60" fmla="*/ 640206 h 662520"/>
              <a:gd name="connsiteX61" fmla="*/ 514413 w 1673111"/>
              <a:gd name="connsiteY61" fmla="*/ 516293 h 662520"/>
              <a:gd name="connsiteX62" fmla="*/ 596087 w 1673111"/>
              <a:gd name="connsiteY62" fmla="*/ 516293 h 662520"/>
              <a:gd name="connsiteX63" fmla="*/ 612203 w 1673111"/>
              <a:gd name="connsiteY63" fmla="*/ 539439 h 662520"/>
              <a:gd name="connsiteX64" fmla="*/ 635627 w 1673111"/>
              <a:gd name="connsiteY64" fmla="*/ 559242 h 662520"/>
              <a:gd name="connsiteX65" fmla="*/ 666972 w 1673111"/>
              <a:gd name="connsiteY65" fmla="*/ 573062 h 662520"/>
              <a:gd name="connsiteX66" fmla="*/ 706856 w 1673111"/>
              <a:gd name="connsiteY66" fmla="*/ 578256 h 662520"/>
              <a:gd name="connsiteX67" fmla="*/ 749359 w 1673111"/>
              <a:gd name="connsiteY67" fmla="*/ 571758 h 662520"/>
              <a:gd name="connsiteX68" fmla="*/ 784298 w 1673111"/>
              <a:gd name="connsiteY68" fmla="*/ 552322 h 662520"/>
              <a:gd name="connsiteX69" fmla="*/ 807972 w 1673111"/>
              <a:gd name="connsiteY69" fmla="*/ 520038 h 662520"/>
              <a:gd name="connsiteX70" fmla="*/ 816686 w 1673111"/>
              <a:gd name="connsiteY70" fmla="*/ 474992 h 662520"/>
              <a:gd name="connsiteX71" fmla="*/ 809424 w 1673111"/>
              <a:gd name="connsiteY71" fmla="*/ 430240 h 662520"/>
              <a:gd name="connsiteX72" fmla="*/ 787466 w 1673111"/>
              <a:gd name="connsiteY72" fmla="*/ 398602 h 662520"/>
              <a:gd name="connsiteX73" fmla="*/ 750549 w 1673111"/>
              <a:gd name="connsiteY73" fmla="*/ 379812 h 662520"/>
              <a:gd name="connsiteX74" fmla="*/ 698411 w 1673111"/>
              <a:gd name="connsiteY74" fmla="*/ 373608 h 662520"/>
              <a:gd name="connsiteX75" fmla="*/ 649592 w 1673111"/>
              <a:gd name="connsiteY75" fmla="*/ 373608 h 662520"/>
              <a:gd name="connsiteX76" fmla="*/ 649592 w 1673111"/>
              <a:gd name="connsiteY76" fmla="*/ 286308 h 662520"/>
              <a:gd name="connsiteX77" fmla="*/ 690892 w 1673111"/>
              <a:gd name="connsiteY77" fmla="*/ 286308 h 662520"/>
              <a:gd name="connsiteX78" fmla="*/ 744563 w 1673111"/>
              <a:gd name="connsiteY78" fmla="*/ 280133 h 662520"/>
              <a:gd name="connsiteX79" fmla="*/ 783007 w 1673111"/>
              <a:gd name="connsiteY79" fmla="*/ 261550 h 662520"/>
              <a:gd name="connsiteX80" fmla="*/ 806137 w 1673111"/>
              <a:gd name="connsiteY80" fmla="*/ 230469 h 662520"/>
              <a:gd name="connsiteX81" fmla="*/ 813866 w 1673111"/>
              <a:gd name="connsiteY81" fmla="*/ 186804 h 662520"/>
              <a:gd name="connsiteX82" fmla="*/ 808513 w 1673111"/>
              <a:gd name="connsiteY82" fmla="*/ 149115 h 662520"/>
              <a:gd name="connsiteX83" fmla="*/ 792160 w 1673111"/>
              <a:gd name="connsiteY83" fmla="*/ 121104 h 662520"/>
              <a:gd name="connsiteX84" fmla="*/ 764365 w 1673111"/>
              <a:gd name="connsiteY84" fmla="*/ 103651 h 662520"/>
              <a:gd name="connsiteX85" fmla="*/ 724687 w 1673111"/>
              <a:gd name="connsiteY85" fmla="*/ 97637 h 662520"/>
              <a:gd name="connsiteX86" fmla="*/ 687243 w 1673111"/>
              <a:gd name="connsiteY86" fmla="*/ 102374 h 662520"/>
              <a:gd name="connsiteX87" fmla="*/ 657456 w 1673111"/>
              <a:gd name="connsiteY87" fmla="*/ 115117 h 662520"/>
              <a:gd name="connsiteX88" fmla="*/ 634533 w 1673111"/>
              <a:gd name="connsiteY88" fmla="*/ 133668 h 662520"/>
              <a:gd name="connsiteX89" fmla="*/ 617677 w 1673111"/>
              <a:gd name="connsiteY89" fmla="*/ 155828 h 662520"/>
              <a:gd name="connsiteX90" fmla="*/ 539775 w 1673111"/>
              <a:gd name="connsiteY90" fmla="*/ 155828 h 662520"/>
              <a:gd name="connsiteX91" fmla="*/ 539775 w 1673111"/>
              <a:gd name="connsiteY91" fmla="*/ 33807 h 662520"/>
              <a:gd name="connsiteX92" fmla="*/ 584006 w 1673111"/>
              <a:gd name="connsiteY92" fmla="*/ 19813 h 662520"/>
              <a:gd name="connsiteX93" fmla="*/ 631056 w 1673111"/>
              <a:gd name="connsiteY93" fmla="*/ 9159 h 662520"/>
              <a:gd name="connsiteX94" fmla="*/ 681278 w 1673111"/>
              <a:gd name="connsiteY94" fmla="*/ 2378 h 662520"/>
              <a:gd name="connsiteX95" fmla="*/ 735025 w 1673111"/>
              <a:gd name="connsiteY95" fmla="*/ 0 h 662520"/>
              <a:gd name="connsiteX96" fmla="*/ 790395 w 1673111"/>
              <a:gd name="connsiteY96" fmla="*/ 3158 h 662520"/>
              <a:gd name="connsiteX97" fmla="*/ 838689 w 1673111"/>
              <a:gd name="connsiteY97" fmla="*/ 12853 h 662520"/>
              <a:gd name="connsiteX98" fmla="*/ 879380 w 1673111"/>
              <a:gd name="connsiteY98" fmla="*/ 29412 h 662520"/>
              <a:gd name="connsiteX99" fmla="*/ 911943 w 1673111"/>
              <a:gd name="connsiteY99" fmla="*/ 53163 h 662520"/>
              <a:gd name="connsiteX100" fmla="*/ 935853 w 1673111"/>
              <a:gd name="connsiteY100" fmla="*/ 84435 h 662520"/>
              <a:gd name="connsiteX101" fmla="*/ 950584 w 1673111"/>
              <a:gd name="connsiteY101" fmla="*/ 123555 h 662520"/>
              <a:gd name="connsiteX102" fmla="*/ 955611 w 1673111"/>
              <a:gd name="connsiteY102" fmla="*/ 170853 h 662520"/>
              <a:gd name="connsiteX103" fmla="*/ 949453 w 1673111"/>
              <a:gd name="connsiteY103" fmla="*/ 219568 h 662520"/>
              <a:gd name="connsiteX104" fmla="*/ 931581 w 1673111"/>
              <a:gd name="connsiteY104" fmla="*/ 258234 h 662520"/>
              <a:gd name="connsiteX105" fmla="*/ 902895 w 1673111"/>
              <a:gd name="connsiteY105" fmla="*/ 287843 h 662520"/>
              <a:gd name="connsiteX106" fmla="*/ 864296 w 1673111"/>
              <a:gd name="connsiteY106" fmla="*/ 309388 h 662520"/>
              <a:gd name="connsiteX107" fmla="*/ 816686 w 1673111"/>
              <a:gd name="connsiteY107" fmla="*/ 323862 h 662520"/>
              <a:gd name="connsiteX108" fmla="*/ 816686 w 1673111"/>
              <a:gd name="connsiteY108" fmla="*/ 327609 h 662520"/>
              <a:gd name="connsiteX109" fmla="*/ 870681 w 1673111"/>
              <a:gd name="connsiteY109" fmla="*/ 340566 h 662520"/>
              <a:gd name="connsiteX110" fmla="*/ 912283 w 1673111"/>
              <a:gd name="connsiteY110" fmla="*/ 362534 h 662520"/>
              <a:gd name="connsiteX111" fmla="*/ 941719 w 1673111"/>
              <a:gd name="connsiteY111" fmla="*/ 393513 h 662520"/>
              <a:gd name="connsiteX112" fmla="*/ 959215 w 1673111"/>
              <a:gd name="connsiteY112" fmla="*/ 433502 h 662520"/>
              <a:gd name="connsiteX113" fmla="*/ 964996 w 1673111"/>
              <a:gd name="connsiteY113" fmla="*/ 482498 h 662520"/>
              <a:gd name="connsiteX114" fmla="*/ 959936 w 1673111"/>
              <a:gd name="connsiteY114" fmla="*/ 527743 h 662520"/>
              <a:gd name="connsiteX115" fmla="*/ 944659 w 1673111"/>
              <a:gd name="connsiteY115" fmla="*/ 567021 h 662520"/>
              <a:gd name="connsiteX116" fmla="*/ 920122 w 1673111"/>
              <a:gd name="connsiteY116" fmla="*/ 600232 h 662520"/>
              <a:gd name="connsiteX117" fmla="*/ 887285 w 1673111"/>
              <a:gd name="connsiteY117" fmla="*/ 627278 h 662520"/>
              <a:gd name="connsiteX118" fmla="*/ 847106 w 1673111"/>
              <a:gd name="connsiteY118" fmla="*/ 648061 h 662520"/>
              <a:gd name="connsiteX119" fmla="*/ 800544 w 1673111"/>
              <a:gd name="connsiteY119" fmla="*/ 662482 h 662520"/>
              <a:gd name="connsiteX120" fmla="*/ 1360843 w 1673111"/>
              <a:gd name="connsiteY120" fmla="*/ 662495 h 662520"/>
              <a:gd name="connsiteX121" fmla="*/ 1322871 w 1673111"/>
              <a:gd name="connsiteY121" fmla="*/ 649352 h 662520"/>
              <a:gd name="connsiteX122" fmla="*/ 1287296 w 1673111"/>
              <a:gd name="connsiteY122" fmla="*/ 630560 h 662520"/>
              <a:gd name="connsiteX123" fmla="*/ 1254670 w 1673111"/>
              <a:gd name="connsiteY123" fmla="*/ 606062 h 662520"/>
              <a:gd name="connsiteX124" fmla="*/ 1225546 w 1673111"/>
              <a:gd name="connsiteY124" fmla="*/ 575802 h 662520"/>
              <a:gd name="connsiteX125" fmla="*/ 1200477 w 1673111"/>
              <a:gd name="connsiteY125" fmla="*/ 539722 h 662520"/>
              <a:gd name="connsiteX126" fmla="*/ 1180016 w 1673111"/>
              <a:gd name="connsiteY126" fmla="*/ 497766 h 662520"/>
              <a:gd name="connsiteX127" fmla="*/ 1164717 w 1673111"/>
              <a:gd name="connsiteY127" fmla="*/ 449876 h 662520"/>
              <a:gd name="connsiteX128" fmla="*/ 1155131 w 1673111"/>
              <a:gd name="connsiteY128" fmla="*/ 395995 h 662520"/>
              <a:gd name="connsiteX129" fmla="*/ 1151813 w 1673111"/>
              <a:gd name="connsiteY129" fmla="*/ 336067 h 662520"/>
              <a:gd name="connsiteX130" fmla="*/ 1155053 w 1673111"/>
              <a:gd name="connsiteY130" fmla="*/ 276826 h 662520"/>
              <a:gd name="connsiteX131" fmla="*/ 1164415 w 1673111"/>
              <a:gd name="connsiteY131" fmla="*/ 223488 h 662520"/>
              <a:gd name="connsiteX132" fmla="*/ 1179368 w 1673111"/>
              <a:gd name="connsiteY132" fmla="*/ 175997 h 662520"/>
              <a:gd name="connsiteX133" fmla="*/ 1199377 w 1673111"/>
              <a:gd name="connsiteY133" fmla="*/ 134299 h 662520"/>
              <a:gd name="connsiteX134" fmla="*/ 1223910 w 1673111"/>
              <a:gd name="connsiteY134" fmla="*/ 98339 h 662520"/>
              <a:gd name="connsiteX135" fmla="*/ 1252434 w 1673111"/>
              <a:gd name="connsiteY135" fmla="*/ 68062 h 662520"/>
              <a:gd name="connsiteX136" fmla="*/ 1284414 w 1673111"/>
              <a:gd name="connsiteY136" fmla="*/ 43413 h 662520"/>
              <a:gd name="connsiteX137" fmla="*/ 1319318 w 1673111"/>
              <a:gd name="connsiteY137" fmla="*/ 24337 h 662520"/>
              <a:gd name="connsiteX138" fmla="*/ 1356613 w 1673111"/>
              <a:gd name="connsiteY138" fmla="*/ 10780 h 662520"/>
              <a:gd name="connsiteX139" fmla="*/ 1395766 w 1673111"/>
              <a:gd name="connsiteY139" fmla="*/ 2685 h 662520"/>
              <a:gd name="connsiteX140" fmla="*/ 1436243 w 1673111"/>
              <a:gd name="connsiteY140" fmla="*/ 0 h 662520"/>
              <a:gd name="connsiteX141" fmla="*/ 1476722 w 1673111"/>
              <a:gd name="connsiteY141" fmla="*/ 2685 h 662520"/>
              <a:gd name="connsiteX142" fmla="*/ 1515876 w 1673111"/>
              <a:gd name="connsiteY142" fmla="*/ 10780 h 662520"/>
              <a:gd name="connsiteX143" fmla="*/ 1553172 w 1673111"/>
              <a:gd name="connsiteY143" fmla="*/ 24337 h 662520"/>
              <a:gd name="connsiteX144" fmla="*/ 1588076 w 1673111"/>
              <a:gd name="connsiteY144" fmla="*/ 43413 h 662520"/>
              <a:gd name="connsiteX145" fmla="*/ 1620056 w 1673111"/>
              <a:gd name="connsiteY145" fmla="*/ 68062 h 662520"/>
              <a:gd name="connsiteX146" fmla="*/ 1648579 w 1673111"/>
              <a:gd name="connsiteY146" fmla="*/ 98339 h 662520"/>
              <a:gd name="connsiteX147" fmla="*/ 1673111 w 1673111"/>
              <a:gd name="connsiteY147" fmla="*/ 134299 h 662520"/>
              <a:gd name="connsiteX0" fmla="*/ 74231 w 1648579"/>
              <a:gd name="connsiteY0" fmla="*/ 662482 h 662520"/>
              <a:gd name="connsiteX1" fmla="*/ 60344 w 1648579"/>
              <a:gd name="connsiteY1" fmla="*/ 659582 h 662520"/>
              <a:gd name="connsiteX2" fmla="*/ 47517 w 1648579"/>
              <a:gd name="connsiteY2" fmla="*/ 656437 h 662520"/>
              <a:gd name="connsiteX3" fmla="*/ 35823 w 1648579"/>
              <a:gd name="connsiteY3" fmla="*/ 653092 h 662520"/>
              <a:gd name="connsiteX4" fmla="*/ 25336 w 1648579"/>
              <a:gd name="connsiteY4" fmla="*/ 649592 h 662520"/>
              <a:gd name="connsiteX5" fmla="*/ 25336 w 1648579"/>
              <a:gd name="connsiteY5" fmla="*/ 533196 h 662520"/>
              <a:gd name="connsiteX6" fmla="*/ 104190 w 1648579"/>
              <a:gd name="connsiteY6" fmla="*/ 533196 h 662520"/>
              <a:gd name="connsiteX7" fmla="*/ 116931 w 1648579"/>
              <a:gd name="connsiteY7" fmla="*/ 550133 h 662520"/>
              <a:gd name="connsiteX8" fmla="*/ 135043 w 1648579"/>
              <a:gd name="connsiteY8" fmla="*/ 564522 h 662520"/>
              <a:gd name="connsiteX9" fmla="*/ 160020 w 1648579"/>
              <a:gd name="connsiteY9" fmla="*/ 574514 h 662520"/>
              <a:gd name="connsiteX10" fmla="*/ 193357 w 1648579"/>
              <a:gd name="connsiteY10" fmla="*/ 578256 h 662520"/>
              <a:gd name="connsiteX11" fmla="*/ 233829 w 1648579"/>
              <a:gd name="connsiteY11" fmla="*/ 573672 h 662520"/>
              <a:gd name="connsiteX12" fmla="*/ 297105 w 1648579"/>
              <a:gd name="connsiteY12" fmla="*/ 537246 h 662520"/>
              <a:gd name="connsiteX13" fmla="*/ 320040 w 1648579"/>
              <a:gd name="connsiteY13" fmla="*/ 505568 h 662520"/>
              <a:gd name="connsiteX14" fmla="*/ 337261 w 1648579"/>
              <a:gd name="connsiteY14" fmla="*/ 465022 h 662520"/>
              <a:gd name="connsiteX15" fmla="*/ 348834 w 1648579"/>
              <a:gd name="connsiteY15" fmla="*/ 415691 h 662520"/>
              <a:gd name="connsiteX16" fmla="*/ 354825 w 1648579"/>
              <a:gd name="connsiteY16" fmla="*/ 357657 h 662520"/>
              <a:gd name="connsiteX17" fmla="*/ 325357 w 1648579"/>
              <a:gd name="connsiteY17" fmla="*/ 385098 h 662520"/>
              <a:gd name="connsiteX18" fmla="*/ 289466 w 1648579"/>
              <a:gd name="connsiteY18" fmla="*/ 406117 h 662520"/>
              <a:gd name="connsiteX19" fmla="*/ 247767 w 1648579"/>
              <a:gd name="connsiteY19" fmla="*/ 419568 h 662520"/>
              <a:gd name="connsiteX20" fmla="*/ 200875 w 1648579"/>
              <a:gd name="connsiteY20" fmla="*/ 424306 h 662520"/>
              <a:gd name="connsiteX21" fmla="*/ 153099 w 1648579"/>
              <a:gd name="connsiteY21" fmla="*/ 420031 h 662520"/>
              <a:gd name="connsiteX22" fmla="*/ 110150 w 1648579"/>
              <a:gd name="connsiteY22" fmla="*/ 407348 h 662520"/>
              <a:gd name="connsiteX23" fmla="*/ 72948 w 1648579"/>
              <a:gd name="connsiteY23" fmla="*/ 386472 h 662520"/>
              <a:gd name="connsiteX24" fmla="*/ 42412 w 1648579"/>
              <a:gd name="connsiteY24" fmla="*/ 357614 h 662520"/>
              <a:gd name="connsiteX25" fmla="*/ 19463 w 1648579"/>
              <a:gd name="connsiteY25" fmla="*/ 320990 h 662520"/>
              <a:gd name="connsiteX26" fmla="*/ 5019 w 1648579"/>
              <a:gd name="connsiteY26" fmla="*/ 276814 h 662520"/>
              <a:gd name="connsiteX27" fmla="*/ 0 w 1648579"/>
              <a:gd name="connsiteY27" fmla="*/ 225297 h 662520"/>
              <a:gd name="connsiteX28" fmla="*/ 4447 w 1648579"/>
              <a:gd name="connsiteY28" fmla="*/ 178425 h 662520"/>
              <a:gd name="connsiteX29" fmla="*/ 17453 w 1648579"/>
              <a:gd name="connsiteY29" fmla="*/ 135445 h 662520"/>
              <a:gd name="connsiteX30" fmla="*/ 38511 w 1648579"/>
              <a:gd name="connsiteY30" fmla="*/ 97085 h 662520"/>
              <a:gd name="connsiteX31" fmla="*/ 67116 w 1648579"/>
              <a:gd name="connsiteY31" fmla="*/ 64071 h 662520"/>
              <a:gd name="connsiteX32" fmla="*/ 102760 w 1648579"/>
              <a:gd name="connsiteY32" fmla="*/ 37129 h 662520"/>
              <a:gd name="connsiteX33" fmla="*/ 144939 w 1648579"/>
              <a:gd name="connsiteY33" fmla="*/ 16986 h 662520"/>
              <a:gd name="connsiteX34" fmla="*/ 193146 w 1648579"/>
              <a:gd name="connsiteY34" fmla="*/ 4367 h 662520"/>
              <a:gd name="connsiteX35" fmla="*/ 246875 w 1648579"/>
              <a:gd name="connsiteY35" fmla="*/ 0 h 662520"/>
              <a:gd name="connsiteX36" fmla="*/ 290625 w 1648579"/>
              <a:gd name="connsiteY36" fmla="*/ 2882 h 662520"/>
              <a:gd name="connsiteX37" fmla="*/ 331492 w 1648579"/>
              <a:gd name="connsiteY37" fmla="*/ 11678 h 662520"/>
              <a:gd name="connsiteX38" fmla="*/ 369070 w 1648579"/>
              <a:gd name="connsiteY38" fmla="*/ 26614 h 662520"/>
              <a:gd name="connsiteX39" fmla="*/ 402953 w 1648579"/>
              <a:gd name="connsiteY39" fmla="*/ 47914 h 662520"/>
              <a:gd name="connsiteX40" fmla="*/ 432736 w 1648579"/>
              <a:gd name="connsiteY40" fmla="*/ 75804 h 662520"/>
              <a:gd name="connsiteX41" fmla="*/ 458013 w 1648579"/>
              <a:gd name="connsiteY41" fmla="*/ 110509 h 662520"/>
              <a:gd name="connsiteX42" fmla="*/ 478379 w 1648579"/>
              <a:gd name="connsiteY42" fmla="*/ 152255 h 662520"/>
              <a:gd name="connsiteX43" fmla="*/ 493429 w 1648579"/>
              <a:gd name="connsiteY43" fmla="*/ 201265 h 662520"/>
              <a:gd name="connsiteX44" fmla="*/ 502756 w 1648579"/>
              <a:gd name="connsiteY44" fmla="*/ 257766 h 662520"/>
              <a:gd name="connsiteX45" fmla="*/ 505955 w 1648579"/>
              <a:gd name="connsiteY45" fmla="*/ 321983 h 662520"/>
              <a:gd name="connsiteX46" fmla="*/ 503406 w 1648579"/>
              <a:gd name="connsiteY46" fmla="*/ 376707 h 662520"/>
              <a:gd name="connsiteX47" fmla="*/ 495858 w 1648579"/>
              <a:gd name="connsiteY47" fmla="*/ 427041 h 662520"/>
              <a:gd name="connsiteX48" fmla="*/ 483456 w 1648579"/>
              <a:gd name="connsiteY48" fmla="*/ 472909 h 662520"/>
              <a:gd name="connsiteX49" fmla="*/ 466346 w 1648579"/>
              <a:gd name="connsiteY49" fmla="*/ 514232 h 662520"/>
              <a:gd name="connsiteX50" fmla="*/ 444674 w 1648579"/>
              <a:gd name="connsiteY50" fmla="*/ 550937 h 662520"/>
              <a:gd name="connsiteX51" fmla="*/ 418587 w 1648579"/>
              <a:gd name="connsiteY51" fmla="*/ 582945 h 662520"/>
              <a:gd name="connsiteX52" fmla="*/ 388229 w 1648579"/>
              <a:gd name="connsiteY52" fmla="*/ 610181 h 662520"/>
              <a:gd name="connsiteX53" fmla="*/ 353748 w 1648579"/>
              <a:gd name="connsiteY53" fmla="*/ 632569 h 662520"/>
              <a:gd name="connsiteX54" fmla="*/ 315289 w 1648579"/>
              <a:gd name="connsiteY54" fmla="*/ 650033 h 662520"/>
              <a:gd name="connsiteX55" fmla="*/ 272999 w 1648579"/>
              <a:gd name="connsiteY55" fmla="*/ 662495 h 662520"/>
              <a:gd name="connsiteX56" fmla="*/ 592162 w 1648579"/>
              <a:gd name="connsiteY56" fmla="*/ 662520 h 662520"/>
              <a:gd name="connsiteX57" fmla="*/ 571167 w 1648579"/>
              <a:gd name="connsiteY57" fmla="*/ 658030 h 662520"/>
              <a:gd name="connsiteX58" fmla="*/ 551373 w 1648579"/>
              <a:gd name="connsiteY58" fmla="*/ 652783 h 662520"/>
              <a:gd name="connsiteX59" fmla="*/ 532537 w 1648579"/>
              <a:gd name="connsiteY59" fmla="*/ 646826 h 662520"/>
              <a:gd name="connsiteX60" fmla="*/ 514413 w 1648579"/>
              <a:gd name="connsiteY60" fmla="*/ 640206 h 662520"/>
              <a:gd name="connsiteX61" fmla="*/ 514413 w 1648579"/>
              <a:gd name="connsiteY61" fmla="*/ 516293 h 662520"/>
              <a:gd name="connsiteX62" fmla="*/ 596087 w 1648579"/>
              <a:gd name="connsiteY62" fmla="*/ 516293 h 662520"/>
              <a:gd name="connsiteX63" fmla="*/ 612203 w 1648579"/>
              <a:gd name="connsiteY63" fmla="*/ 539439 h 662520"/>
              <a:gd name="connsiteX64" fmla="*/ 635627 w 1648579"/>
              <a:gd name="connsiteY64" fmla="*/ 559242 h 662520"/>
              <a:gd name="connsiteX65" fmla="*/ 666972 w 1648579"/>
              <a:gd name="connsiteY65" fmla="*/ 573062 h 662520"/>
              <a:gd name="connsiteX66" fmla="*/ 706856 w 1648579"/>
              <a:gd name="connsiteY66" fmla="*/ 578256 h 662520"/>
              <a:gd name="connsiteX67" fmla="*/ 749359 w 1648579"/>
              <a:gd name="connsiteY67" fmla="*/ 571758 h 662520"/>
              <a:gd name="connsiteX68" fmla="*/ 784298 w 1648579"/>
              <a:gd name="connsiteY68" fmla="*/ 552322 h 662520"/>
              <a:gd name="connsiteX69" fmla="*/ 807972 w 1648579"/>
              <a:gd name="connsiteY69" fmla="*/ 520038 h 662520"/>
              <a:gd name="connsiteX70" fmla="*/ 816686 w 1648579"/>
              <a:gd name="connsiteY70" fmla="*/ 474992 h 662520"/>
              <a:gd name="connsiteX71" fmla="*/ 809424 w 1648579"/>
              <a:gd name="connsiteY71" fmla="*/ 430240 h 662520"/>
              <a:gd name="connsiteX72" fmla="*/ 787466 w 1648579"/>
              <a:gd name="connsiteY72" fmla="*/ 398602 h 662520"/>
              <a:gd name="connsiteX73" fmla="*/ 750549 w 1648579"/>
              <a:gd name="connsiteY73" fmla="*/ 379812 h 662520"/>
              <a:gd name="connsiteX74" fmla="*/ 698411 w 1648579"/>
              <a:gd name="connsiteY74" fmla="*/ 373608 h 662520"/>
              <a:gd name="connsiteX75" fmla="*/ 649592 w 1648579"/>
              <a:gd name="connsiteY75" fmla="*/ 373608 h 662520"/>
              <a:gd name="connsiteX76" fmla="*/ 649592 w 1648579"/>
              <a:gd name="connsiteY76" fmla="*/ 286308 h 662520"/>
              <a:gd name="connsiteX77" fmla="*/ 690892 w 1648579"/>
              <a:gd name="connsiteY77" fmla="*/ 286308 h 662520"/>
              <a:gd name="connsiteX78" fmla="*/ 744563 w 1648579"/>
              <a:gd name="connsiteY78" fmla="*/ 280133 h 662520"/>
              <a:gd name="connsiteX79" fmla="*/ 783007 w 1648579"/>
              <a:gd name="connsiteY79" fmla="*/ 261550 h 662520"/>
              <a:gd name="connsiteX80" fmla="*/ 806137 w 1648579"/>
              <a:gd name="connsiteY80" fmla="*/ 230469 h 662520"/>
              <a:gd name="connsiteX81" fmla="*/ 813866 w 1648579"/>
              <a:gd name="connsiteY81" fmla="*/ 186804 h 662520"/>
              <a:gd name="connsiteX82" fmla="*/ 808513 w 1648579"/>
              <a:gd name="connsiteY82" fmla="*/ 149115 h 662520"/>
              <a:gd name="connsiteX83" fmla="*/ 792160 w 1648579"/>
              <a:gd name="connsiteY83" fmla="*/ 121104 h 662520"/>
              <a:gd name="connsiteX84" fmla="*/ 764365 w 1648579"/>
              <a:gd name="connsiteY84" fmla="*/ 103651 h 662520"/>
              <a:gd name="connsiteX85" fmla="*/ 724687 w 1648579"/>
              <a:gd name="connsiteY85" fmla="*/ 97637 h 662520"/>
              <a:gd name="connsiteX86" fmla="*/ 687243 w 1648579"/>
              <a:gd name="connsiteY86" fmla="*/ 102374 h 662520"/>
              <a:gd name="connsiteX87" fmla="*/ 657456 w 1648579"/>
              <a:gd name="connsiteY87" fmla="*/ 115117 h 662520"/>
              <a:gd name="connsiteX88" fmla="*/ 634533 w 1648579"/>
              <a:gd name="connsiteY88" fmla="*/ 133668 h 662520"/>
              <a:gd name="connsiteX89" fmla="*/ 617677 w 1648579"/>
              <a:gd name="connsiteY89" fmla="*/ 155828 h 662520"/>
              <a:gd name="connsiteX90" fmla="*/ 539775 w 1648579"/>
              <a:gd name="connsiteY90" fmla="*/ 155828 h 662520"/>
              <a:gd name="connsiteX91" fmla="*/ 539775 w 1648579"/>
              <a:gd name="connsiteY91" fmla="*/ 33807 h 662520"/>
              <a:gd name="connsiteX92" fmla="*/ 584006 w 1648579"/>
              <a:gd name="connsiteY92" fmla="*/ 19813 h 662520"/>
              <a:gd name="connsiteX93" fmla="*/ 631056 w 1648579"/>
              <a:gd name="connsiteY93" fmla="*/ 9159 h 662520"/>
              <a:gd name="connsiteX94" fmla="*/ 681278 w 1648579"/>
              <a:gd name="connsiteY94" fmla="*/ 2378 h 662520"/>
              <a:gd name="connsiteX95" fmla="*/ 735025 w 1648579"/>
              <a:gd name="connsiteY95" fmla="*/ 0 h 662520"/>
              <a:gd name="connsiteX96" fmla="*/ 790395 w 1648579"/>
              <a:gd name="connsiteY96" fmla="*/ 3158 h 662520"/>
              <a:gd name="connsiteX97" fmla="*/ 838689 w 1648579"/>
              <a:gd name="connsiteY97" fmla="*/ 12853 h 662520"/>
              <a:gd name="connsiteX98" fmla="*/ 879380 w 1648579"/>
              <a:gd name="connsiteY98" fmla="*/ 29412 h 662520"/>
              <a:gd name="connsiteX99" fmla="*/ 911943 w 1648579"/>
              <a:gd name="connsiteY99" fmla="*/ 53163 h 662520"/>
              <a:gd name="connsiteX100" fmla="*/ 935853 w 1648579"/>
              <a:gd name="connsiteY100" fmla="*/ 84435 h 662520"/>
              <a:gd name="connsiteX101" fmla="*/ 950584 w 1648579"/>
              <a:gd name="connsiteY101" fmla="*/ 123555 h 662520"/>
              <a:gd name="connsiteX102" fmla="*/ 955611 w 1648579"/>
              <a:gd name="connsiteY102" fmla="*/ 170853 h 662520"/>
              <a:gd name="connsiteX103" fmla="*/ 949453 w 1648579"/>
              <a:gd name="connsiteY103" fmla="*/ 219568 h 662520"/>
              <a:gd name="connsiteX104" fmla="*/ 931581 w 1648579"/>
              <a:gd name="connsiteY104" fmla="*/ 258234 h 662520"/>
              <a:gd name="connsiteX105" fmla="*/ 902895 w 1648579"/>
              <a:gd name="connsiteY105" fmla="*/ 287843 h 662520"/>
              <a:gd name="connsiteX106" fmla="*/ 864296 w 1648579"/>
              <a:gd name="connsiteY106" fmla="*/ 309388 h 662520"/>
              <a:gd name="connsiteX107" fmla="*/ 816686 w 1648579"/>
              <a:gd name="connsiteY107" fmla="*/ 323862 h 662520"/>
              <a:gd name="connsiteX108" fmla="*/ 816686 w 1648579"/>
              <a:gd name="connsiteY108" fmla="*/ 327609 h 662520"/>
              <a:gd name="connsiteX109" fmla="*/ 870681 w 1648579"/>
              <a:gd name="connsiteY109" fmla="*/ 340566 h 662520"/>
              <a:gd name="connsiteX110" fmla="*/ 912283 w 1648579"/>
              <a:gd name="connsiteY110" fmla="*/ 362534 h 662520"/>
              <a:gd name="connsiteX111" fmla="*/ 941719 w 1648579"/>
              <a:gd name="connsiteY111" fmla="*/ 393513 h 662520"/>
              <a:gd name="connsiteX112" fmla="*/ 959215 w 1648579"/>
              <a:gd name="connsiteY112" fmla="*/ 433502 h 662520"/>
              <a:gd name="connsiteX113" fmla="*/ 964996 w 1648579"/>
              <a:gd name="connsiteY113" fmla="*/ 482498 h 662520"/>
              <a:gd name="connsiteX114" fmla="*/ 959936 w 1648579"/>
              <a:gd name="connsiteY114" fmla="*/ 527743 h 662520"/>
              <a:gd name="connsiteX115" fmla="*/ 944659 w 1648579"/>
              <a:gd name="connsiteY115" fmla="*/ 567021 h 662520"/>
              <a:gd name="connsiteX116" fmla="*/ 920122 w 1648579"/>
              <a:gd name="connsiteY116" fmla="*/ 600232 h 662520"/>
              <a:gd name="connsiteX117" fmla="*/ 887285 w 1648579"/>
              <a:gd name="connsiteY117" fmla="*/ 627278 h 662520"/>
              <a:gd name="connsiteX118" fmla="*/ 847106 w 1648579"/>
              <a:gd name="connsiteY118" fmla="*/ 648061 h 662520"/>
              <a:gd name="connsiteX119" fmla="*/ 800544 w 1648579"/>
              <a:gd name="connsiteY119" fmla="*/ 662482 h 662520"/>
              <a:gd name="connsiteX120" fmla="*/ 1360843 w 1648579"/>
              <a:gd name="connsiteY120" fmla="*/ 662495 h 662520"/>
              <a:gd name="connsiteX121" fmla="*/ 1322871 w 1648579"/>
              <a:gd name="connsiteY121" fmla="*/ 649352 h 662520"/>
              <a:gd name="connsiteX122" fmla="*/ 1287296 w 1648579"/>
              <a:gd name="connsiteY122" fmla="*/ 630560 h 662520"/>
              <a:gd name="connsiteX123" fmla="*/ 1254670 w 1648579"/>
              <a:gd name="connsiteY123" fmla="*/ 606062 h 662520"/>
              <a:gd name="connsiteX124" fmla="*/ 1225546 w 1648579"/>
              <a:gd name="connsiteY124" fmla="*/ 575802 h 662520"/>
              <a:gd name="connsiteX125" fmla="*/ 1200477 w 1648579"/>
              <a:gd name="connsiteY125" fmla="*/ 539722 h 662520"/>
              <a:gd name="connsiteX126" fmla="*/ 1180016 w 1648579"/>
              <a:gd name="connsiteY126" fmla="*/ 497766 h 662520"/>
              <a:gd name="connsiteX127" fmla="*/ 1164717 w 1648579"/>
              <a:gd name="connsiteY127" fmla="*/ 449876 h 662520"/>
              <a:gd name="connsiteX128" fmla="*/ 1155131 w 1648579"/>
              <a:gd name="connsiteY128" fmla="*/ 395995 h 662520"/>
              <a:gd name="connsiteX129" fmla="*/ 1151813 w 1648579"/>
              <a:gd name="connsiteY129" fmla="*/ 336067 h 662520"/>
              <a:gd name="connsiteX130" fmla="*/ 1155053 w 1648579"/>
              <a:gd name="connsiteY130" fmla="*/ 276826 h 662520"/>
              <a:gd name="connsiteX131" fmla="*/ 1164415 w 1648579"/>
              <a:gd name="connsiteY131" fmla="*/ 223488 h 662520"/>
              <a:gd name="connsiteX132" fmla="*/ 1179368 w 1648579"/>
              <a:gd name="connsiteY132" fmla="*/ 175997 h 662520"/>
              <a:gd name="connsiteX133" fmla="*/ 1199377 w 1648579"/>
              <a:gd name="connsiteY133" fmla="*/ 134299 h 662520"/>
              <a:gd name="connsiteX134" fmla="*/ 1223910 w 1648579"/>
              <a:gd name="connsiteY134" fmla="*/ 98339 h 662520"/>
              <a:gd name="connsiteX135" fmla="*/ 1252434 w 1648579"/>
              <a:gd name="connsiteY135" fmla="*/ 68062 h 662520"/>
              <a:gd name="connsiteX136" fmla="*/ 1284414 w 1648579"/>
              <a:gd name="connsiteY136" fmla="*/ 43413 h 662520"/>
              <a:gd name="connsiteX137" fmla="*/ 1319318 w 1648579"/>
              <a:gd name="connsiteY137" fmla="*/ 24337 h 662520"/>
              <a:gd name="connsiteX138" fmla="*/ 1356613 w 1648579"/>
              <a:gd name="connsiteY138" fmla="*/ 10780 h 662520"/>
              <a:gd name="connsiteX139" fmla="*/ 1395766 w 1648579"/>
              <a:gd name="connsiteY139" fmla="*/ 2685 h 662520"/>
              <a:gd name="connsiteX140" fmla="*/ 1436243 w 1648579"/>
              <a:gd name="connsiteY140" fmla="*/ 0 h 662520"/>
              <a:gd name="connsiteX141" fmla="*/ 1476722 w 1648579"/>
              <a:gd name="connsiteY141" fmla="*/ 2685 h 662520"/>
              <a:gd name="connsiteX142" fmla="*/ 1515876 w 1648579"/>
              <a:gd name="connsiteY142" fmla="*/ 10780 h 662520"/>
              <a:gd name="connsiteX143" fmla="*/ 1553172 w 1648579"/>
              <a:gd name="connsiteY143" fmla="*/ 24337 h 662520"/>
              <a:gd name="connsiteX144" fmla="*/ 1588076 w 1648579"/>
              <a:gd name="connsiteY144" fmla="*/ 43413 h 662520"/>
              <a:gd name="connsiteX145" fmla="*/ 1620056 w 1648579"/>
              <a:gd name="connsiteY145" fmla="*/ 68062 h 662520"/>
              <a:gd name="connsiteX146" fmla="*/ 1648579 w 1648579"/>
              <a:gd name="connsiteY146" fmla="*/ 98339 h 662520"/>
              <a:gd name="connsiteX0" fmla="*/ 74231 w 1620056"/>
              <a:gd name="connsiteY0" fmla="*/ 662482 h 662520"/>
              <a:gd name="connsiteX1" fmla="*/ 60344 w 1620056"/>
              <a:gd name="connsiteY1" fmla="*/ 659582 h 662520"/>
              <a:gd name="connsiteX2" fmla="*/ 47517 w 1620056"/>
              <a:gd name="connsiteY2" fmla="*/ 656437 h 662520"/>
              <a:gd name="connsiteX3" fmla="*/ 35823 w 1620056"/>
              <a:gd name="connsiteY3" fmla="*/ 653092 h 662520"/>
              <a:gd name="connsiteX4" fmla="*/ 25336 w 1620056"/>
              <a:gd name="connsiteY4" fmla="*/ 649592 h 662520"/>
              <a:gd name="connsiteX5" fmla="*/ 25336 w 1620056"/>
              <a:gd name="connsiteY5" fmla="*/ 533196 h 662520"/>
              <a:gd name="connsiteX6" fmla="*/ 104190 w 1620056"/>
              <a:gd name="connsiteY6" fmla="*/ 533196 h 662520"/>
              <a:gd name="connsiteX7" fmla="*/ 116931 w 1620056"/>
              <a:gd name="connsiteY7" fmla="*/ 550133 h 662520"/>
              <a:gd name="connsiteX8" fmla="*/ 135043 w 1620056"/>
              <a:gd name="connsiteY8" fmla="*/ 564522 h 662520"/>
              <a:gd name="connsiteX9" fmla="*/ 160020 w 1620056"/>
              <a:gd name="connsiteY9" fmla="*/ 574514 h 662520"/>
              <a:gd name="connsiteX10" fmla="*/ 193357 w 1620056"/>
              <a:gd name="connsiteY10" fmla="*/ 578256 h 662520"/>
              <a:gd name="connsiteX11" fmla="*/ 233829 w 1620056"/>
              <a:gd name="connsiteY11" fmla="*/ 573672 h 662520"/>
              <a:gd name="connsiteX12" fmla="*/ 297105 w 1620056"/>
              <a:gd name="connsiteY12" fmla="*/ 537246 h 662520"/>
              <a:gd name="connsiteX13" fmla="*/ 320040 w 1620056"/>
              <a:gd name="connsiteY13" fmla="*/ 505568 h 662520"/>
              <a:gd name="connsiteX14" fmla="*/ 337261 w 1620056"/>
              <a:gd name="connsiteY14" fmla="*/ 465022 h 662520"/>
              <a:gd name="connsiteX15" fmla="*/ 348834 w 1620056"/>
              <a:gd name="connsiteY15" fmla="*/ 415691 h 662520"/>
              <a:gd name="connsiteX16" fmla="*/ 354825 w 1620056"/>
              <a:gd name="connsiteY16" fmla="*/ 357657 h 662520"/>
              <a:gd name="connsiteX17" fmla="*/ 325357 w 1620056"/>
              <a:gd name="connsiteY17" fmla="*/ 385098 h 662520"/>
              <a:gd name="connsiteX18" fmla="*/ 289466 w 1620056"/>
              <a:gd name="connsiteY18" fmla="*/ 406117 h 662520"/>
              <a:gd name="connsiteX19" fmla="*/ 247767 w 1620056"/>
              <a:gd name="connsiteY19" fmla="*/ 419568 h 662520"/>
              <a:gd name="connsiteX20" fmla="*/ 200875 w 1620056"/>
              <a:gd name="connsiteY20" fmla="*/ 424306 h 662520"/>
              <a:gd name="connsiteX21" fmla="*/ 153099 w 1620056"/>
              <a:gd name="connsiteY21" fmla="*/ 420031 h 662520"/>
              <a:gd name="connsiteX22" fmla="*/ 110150 w 1620056"/>
              <a:gd name="connsiteY22" fmla="*/ 407348 h 662520"/>
              <a:gd name="connsiteX23" fmla="*/ 72948 w 1620056"/>
              <a:gd name="connsiteY23" fmla="*/ 386472 h 662520"/>
              <a:gd name="connsiteX24" fmla="*/ 42412 w 1620056"/>
              <a:gd name="connsiteY24" fmla="*/ 357614 h 662520"/>
              <a:gd name="connsiteX25" fmla="*/ 19463 w 1620056"/>
              <a:gd name="connsiteY25" fmla="*/ 320990 h 662520"/>
              <a:gd name="connsiteX26" fmla="*/ 5019 w 1620056"/>
              <a:gd name="connsiteY26" fmla="*/ 276814 h 662520"/>
              <a:gd name="connsiteX27" fmla="*/ 0 w 1620056"/>
              <a:gd name="connsiteY27" fmla="*/ 225297 h 662520"/>
              <a:gd name="connsiteX28" fmla="*/ 4447 w 1620056"/>
              <a:gd name="connsiteY28" fmla="*/ 178425 h 662520"/>
              <a:gd name="connsiteX29" fmla="*/ 17453 w 1620056"/>
              <a:gd name="connsiteY29" fmla="*/ 135445 h 662520"/>
              <a:gd name="connsiteX30" fmla="*/ 38511 w 1620056"/>
              <a:gd name="connsiteY30" fmla="*/ 97085 h 662520"/>
              <a:gd name="connsiteX31" fmla="*/ 67116 w 1620056"/>
              <a:gd name="connsiteY31" fmla="*/ 64071 h 662520"/>
              <a:gd name="connsiteX32" fmla="*/ 102760 w 1620056"/>
              <a:gd name="connsiteY32" fmla="*/ 37129 h 662520"/>
              <a:gd name="connsiteX33" fmla="*/ 144939 w 1620056"/>
              <a:gd name="connsiteY33" fmla="*/ 16986 h 662520"/>
              <a:gd name="connsiteX34" fmla="*/ 193146 w 1620056"/>
              <a:gd name="connsiteY34" fmla="*/ 4367 h 662520"/>
              <a:gd name="connsiteX35" fmla="*/ 246875 w 1620056"/>
              <a:gd name="connsiteY35" fmla="*/ 0 h 662520"/>
              <a:gd name="connsiteX36" fmla="*/ 290625 w 1620056"/>
              <a:gd name="connsiteY36" fmla="*/ 2882 h 662520"/>
              <a:gd name="connsiteX37" fmla="*/ 331492 w 1620056"/>
              <a:gd name="connsiteY37" fmla="*/ 11678 h 662520"/>
              <a:gd name="connsiteX38" fmla="*/ 369070 w 1620056"/>
              <a:gd name="connsiteY38" fmla="*/ 26614 h 662520"/>
              <a:gd name="connsiteX39" fmla="*/ 402953 w 1620056"/>
              <a:gd name="connsiteY39" fmla="*/ 47914 h 662520"/>
              <a:gd name="connsiteX40" fmla="*/ 432736 w 1620056"/>
              <a:gd name="connsiteY40" fmla="*/ 75804 h 662520"/>
              <a:gd name="connsiteX41" fmla="*/ 458013 w 1620056"/>
              <a:gd name="connsiteY41" fmla="*/ 110509 h 662520"/>
              <a:gd name="connsiteX42" fmla="*/ 478379 w 1620056"/>
              <a:gd name="connsiteY42" fmla="*/ 152255 h 662520"/>
              <a:gd name="connsiteX43" fmla="*/ 493429 w 1620056"/>
              <a:gd name="connsiteY43" fmla="*/ 201265 h 662520"/>
              <a:gd name="connsiteX44" fmla="*/ 502756 w 1620056"/>
              <a:gd name="connsiteY44" fmla="*/ 257766 h 662520"/>
              <a:gd name="connsiteX45" fmla="*/ 505955 w 1620056"/>
              <a:gd name="connsiteY45" fmla="*/ 321983 h 662520"/>
              <a:gd name="connsiteX46" fmla="*/ 503406 w 1620056"/>
              <a:gd name="connsiteY46" fmla="*/ 376707 h 662520"/>
              <a:gd name="connsiteX47" fmla="*/ 495858 w 1620056"/>
              <a:gd name="connsiteY47" fmla="*/ 427041 h 662520"/>
              <a:gd name="connsiteX48" fmla="*/ 483456 w 1620056"/>
              <a:gd name="connsiteY48" fmla="*/ 472909 h 662520"/>
              <a:gd name="connsiteX49" fmla="*/ 466346 w 1620056"/>
              <a:gd name="connsiteY49" fmla="*/ 514232 h 662520"/>
              <a:gd name="connsiteX50" fmla="*/ 444674 w 1620056"/>
              <a:gd name="connsiteY50" fmla="*/ 550937 h 662520"/>
              <a:gd name="connsiteX51" fmla="*/ 418587 w 1620056"/>
              <a:gd name="connsiteY51" fmla="*/ 582945 h 662520"/>
              <a:gd name="connsiteX52" fmla="*/ 388229 w 1620056"/>
              <a:gd name="connsiteY52" fmla="*/ 610181 h 662520"/>
              <a:gd name="connsiteX53" fmla="*/ 353748 w 1620056"/>
              <a:gd name="connsiteY53" fmla="*/ 632569 h 662520"/>
              <a:gd name="connsiteX54" fmla="*/ 315289 w 1620056"/>
              <a:gd name="connsiteY54" fmla="*/ 650033 h 662520"/>
              <a:gd name="connsiteX55" fmla="*/ 272999 w 1620056"/>
              <a:gd name="connsiteY55" fmla="*/ 662495 h 662520"/>
              <a:gd name="connsiteX56" fmla="*/ 592162 w 1620056"/>
              <a:gd name="connsiteY56" fmla="*/ 662520 h 662520"/>
              <a:gd name="connsiteX57" fmla="*/ 571167 w 1620056"/>
              <a:gd name="connsiteY57" fmla="*/ 658030 h 662520"/>
              <a:gd name="connsiteX58" fmla="*/ 551373 w 1620056"/>
              <a:gd name="connsiteY58" fmla="*/ 652783 h 662520"/>
              <a:gd name="connsiteX59" fmla="*/ 532537 w 1620056"/>
              <a:gd name="connsiteY59" fmla="*/ 646826 h 662520"/>
              <a:gd name="connsiteX60" fmla="*/ 514413 w 1620056"/>
              <a:gd name="connsiteY60" fmla="*/ 640206 h 662520"/>
              <a:gd name="connsiteX61" fmla="*/ 514413 w 1620056"/>
              <a:gd name="connsiteY61" fmla="*/ 516293 h 662520"/>
              <a:gd name="connsiteX62" fmla="*/ 596087 w 1620056"/>
              <a:gd name="connsiteY62" fmla="*/ 516293 h 662520"/>
              <a:gd name="connsiteX63" fmla="*/ 612203 w 1620056"/>
              <a:gd name="connsiteY63" fmla="*/ 539439 h 662520"/>
              <a:gd name="connsiteX64" fmla="*/ 635627 w 1620056"/>
              <a:gd name="connsiteY64" fmla="*/ 559242 h 662520"/>
              <a:gd name="connsiteX65" fmla="*/ 666972 w 1620056"/>
              <a:gd name="connsiteY65" fmla="*/ 573062 h 662520"/>
              <a:gd name="connsiteX66" fmla="*/ 706856 w 1620056"/>
              <a:gd name="connsiteY66" fmla="*/ 578256 h 662520"/>
              <a:gd name="connsiteX67" fmla="*/ 749359 w 1620056"/>
              <a:gd name="connsiteY67" fmla="*/ 571758 h 662520"/>
              <a:gd name="connsiteX68" fmla="*/ 784298 w 1620056"/>
              <a:gd name="connsiteY68" fmla="*/ 552322 h 662520"/>
              <a:gd name="connsiteX69" fmla="*/ 807972 w 1620056"/>
              <a:gd name="connsiteY69" fmla="*/ 520038 h 662520"/>
              <a:gd name="connsiteX70" fmla="*/ 816686 w 1620056"/>
              <a:gd name="connsiteY70" fmla="*/ 474992 h 662520"/>
              <a:gd name="connsiteX71" fmla="*/ 809424 w 1620056"/>
              <a:gd name="connsiteY71" fmla="*/ 430240 h 662520"/>
              <a:gd name="connsiteX72" fmla="*/ 787466 w 1620056"/>
              <a:gd name="connsiteY72" fmla="*/ 398602 h 662520"/>
              <a:gd name="connsiteX73" fmla="*/ 750549 w 1620056"/>
              <a:gd name="connsiteY73" fmla="*/ 379812 h 662520"/>
              <a:gd name="connsiteX74" fmla="*/ 698411 w 1620056"/>
              <a:gd name="connsiteY74" fmla="*/ 373608 h 662520"/>
              <a:gd name="connsiteX75" fmla="*/ 649592 w 1620056"/>
              <a:gd name="connsiteY75" fmla="*/ 373608 h 662520"/>
              <a:gd name="connsiteX76" fmla="*/ 649592 w 1620056"/>
              <a:gd name="connsiteY76" fmla="*/ 286308 h 662520"/>
              <a:gd name="connsiteX77" fmla="*/ 690892 w 1620056"/>
              <a:gd name="connsiteY77" fmla="*/ 286308 h 662520"/>
              <a:gd name="connsiteX78" fmla="*/ 744563 w 1620056"/>
              <a:gd name="connsiteY78" fmla="*/ 280133 h 662520"/>
              <a:gd name="connsiteX79" fmla="*/ 783007 w 1620056"/>
              <a:gd name="connsiteY79" fmla="*/ 261550 h 662520"/>
              <a:gd name="connsiteX80" fmla="*/ 806137 w 1620056"/>
              <a:gd name="connsiteY80" fmla="*/ 230469 h 662520"/>
              <a:gd name="connsiteX81" fmla="*/ 813866 w 1620056"/>
              <a:gd name="connsiteY81" fmla="*/ 186804 h 662520"/>
              <a:gd name="connsiteX82" fmla="*/ 808513 w 1620056"/>
              <a:gd name="connsiteY82" fmla="*/ 149115 h 662520"/>
              <a:gd name="connsiteX83" fmla="*/ 792160 w 1620056"/>
              <a:gd name="connsiteY83" fmla="*/ 121104 h 662520"/>
              <a:gd name="connsiteX84" fmla="*/ 764365 w 1620056"/>
              <a:gd name="connsiteY84" fmla="*/ 103651 h 662520"/>
              <a:gd name="connsiteX85" fmla="*/ 724687 w 1620056"/>
              <a:gd name="connsiteY85" fmla="*/ 97637 h 662520"/>
              <a:gd name="connsiteX86" fmla="*/ 687243 w 1620056"/>
              <a:gd name="connsiteY86" fmla="*/ 102374 h 662520"/>
              <a:gd name="connsiteX87" fmla="*/ 657456 w 1620056"/>
              <a:gd name="connsiteY87" fmla="*/ 115117 h 662520"/>
              <a:gd name="connsiteX88" fmla="*/ 634533 w 1620056"/>
              <a:gd name="connsiteY88" fmla="*/ 133668 h 662520"/>
              <a:gd name="connsiteX89" fmla="*/ 617677 w 1620056"/>
              <a:gd name="connsiteY89" fmla="*/ 155828 h 662520"/>
              <a:gd name="connsiteX90" fmla="*/ 539775 w 1620056"/>
              <a:gd name="connsiteY90" fmla="*/ 155828 h 662520"/>
              <a:gd name="connsiteX91" fmla="*/ 539775 w 1620056"/>
              <a:gd name="connsiteY91" fmla="*/ 33807 h 662520"/>
              <a:gd name="connsiteX92" fmla="*/ 584006 w 1620056"/>
              <a:gd name="connsiteY92" fmla="*/ 19813 h 662520"/>
              <a:gd name="connsiteX93" fmla="*/ 631056 w 1620056"/>
              <a:gd name="connsiteY93" fmla="*/ 9159 h 662520"/>
              <a:gd name="connsiteX94" fmla="*/ 681278 w 1620056"/>
              <a:gd name="connsiteY94" fmla="*/ 2378 h 662520"/>
              <a:gd name="connsiteX95" fmla="*/ 735025 w 1620056"/>
              <a:gd name="connsiteY95" fmla="*/ 0 h 662520"/>
              <a:gd name="connsiteX96" fmla="*/ 790395 w 1620056"/>
              <a:gd name="connsiteY96" fmla="*/ 3158 h 662520"/>
              <a:gd name="connsiteX97" fmla="*/ 838689 w 1620056"/>
              <a:gd name="connsiteY97" fmla="*/ 12853 h 662520"/>
              <a:gd name="connsiteX98" fmla="*/ 879380 w 1620056"/>
              <a:gd name="connsiteY98" fmla="*/ 29412 h 662520"/>
              <a:gd name="connsiteX99" fmla="*/ 911943 w 1620056"/>
              <a:gd name="connsiteY99" fmla="*/ 53163 h 662520"/>
              <a:gd name="connsiteX100" fmla="*/ 935853 w 1620056"/>
              <a:gd name="connsiteY100" fmla="*/ 84435 h 662520"/>
              <a:gd name="connsiteX101" fmla="*/ 950584 w 1620056"/>
              <a:gd name="connsiteY101" fmla="*/ 123555 h 662520"/>
              <a:gd name="connsiteX102" fmla="*/ 955611 w 1620056"/>
              <a:gd name="connsiteY102" fmla="*/ 170853 h 662520"/>
              <a:gd name="connsiteX103" fmla="*/ 949453 w 1620056"/>
              <a:gd name="connsiteY103" fmla="*/ 219568 h 662520"/>
              <a:gd name="connsiteX104" fmla="*/ 931581 w 1620056"/>
              <a:gd name="connsiteY104" fmla="*/ 258234 h 662520"/>
              <a:gd name="connsiteX105" fmla="*/ 902895 w 1620056"/>
              <a:gd name="connsiteY105" fmla="*/ 287843 h 662520"/>
              <a:gd name="connsiteX106" fmla="*/ 864296 w 1620056"/>
              <a:gd name="connsiteY106" fmla="*/ 309388 h 662520"/>
              <a:gd name="connsiteX107" fmla="*/ 816686 w 1620056"/>
              <a:gd name="connsiteY107" fmla="*/ 323862 h 662520"/>
              <a:gd name="connsiteX108" fmla="*/ 816686 w 1620056"/>
              <a:gd name="connsiteY108" fmla="*/ 327609 h 662520"/>
              <a:gd name="connsiteX109" fmla="*/ 870681 w 1620056"/>
              <a:gd name="connsiteY109" fmla="*/ 340566 h 662520"/>
              <a:gd name="connsiteX110" fmla="*/ 912283 w 1620056"/>
              <a:gd name="connsiteY110" fmla="*/ 362534 h 662520"/>
              <a:gd name="connsiteX111" fmla="*/ 941719 w 1620056"/>
              <a:gd name="connsiteY111" fmla="*/ 393513 h 662520"/>
              <a:gd name="connsiteX112" fmla="*/ 959215 w 1620056"/>
              <a:gd name="connsiteY112" fmla="*/ 433502 h 662520"/>
              <a:gd name="connsiteX113" fmla="*/ 964996 w 1620056"/>
              <a:gd name="connsiteY113" fmla="*/ 482498 h 662520"/>
              <a:gd name="connsiteX114" fmla="*/ 959936 w 1620056"/>
              <a:gd name="connsiteY114" fmla="*/ 527743 h 662520"/>
              <a:gd name="connsiteX115" fmla="*/ 944659 w 1620056"/>
              <a:gd name="connsiteY115" fmla="*/ 567021 h 662520"/>
              <a:gd name="connsiteX116" fmla="*/ 920122 w 1620056"/>
              <a:gd name="connsiteY116" fmla="*/ 600232 h 662520"/>
              <a:gd name="connsiteX117" fmla="*/ 887285 w 1620056"/>
              <a:gd name="connsiteY117" fmla="*/ 627278 h 662520"/>
              <a:gd name="connsiteX118" fmla="*/ 847106 w 1620056"/>
              <a:gd name="connsiteY118" fmla="*/ 648061 h 662520"/>
              <a:gd name="connsiteX119" fmla="*/ 800544 w 1620056"/>
              <a:gd name="connsiteY119" fmla="*/ 662482 h 662520"/>
              <a:gd name="connsiteX120" fmla="*/ 1360843 w 1620056"/>
              <a:gd name="connsiteY120" fmla="*/ 662495 h 662520"/>
              <a:gd name="connsiteX121" fmla="*/ 1322871 w 1620056"/>
              <a:gd name="connsiteY121" fmla="*/ 649352 h 662520"/>
              <a:gd name="connsiteX122" fmla="*/ 1287296 w 1620056"/>
              <a:gd name="connsiteY122" fmla="*/ 630560 h 662520"/>
              <a:gd name="connsiteX123" fmla="*/ 1254670 w 1620056"/>
              <a:gd name="connsiteY123" fmla="*/ 606062 h 662520"/>
              <a:gd name="connsiteX124" fmla="*/ 1225546 w 1620056"/>
              <a:gd name="connsiteY124" fmla="*/ 575802 h 662520"/>
              <a:gd name="connsiteX125" fmla="*/ 1200477 w 1620056"/>
              <a:gd name="connsiteY125" fmla="*/ 539722 h 662520"/>
              <a:gd name="connsiteX126" fmla="*/ 1180016 w 1620056"/>
              <a:gd name="connsiteY126" fmla="*/ 497766 h 662520"/>
              <a:gd name="connsiteX127" fmla="*/ 1164717 w 1620056"/>
              <a:gd name="connsiteY127" fmla="*/ 449876 h 662520"/>
              <a:gd name="connsiteX128" fmla="*/ 1155131 w 1620056"/>
              <a:gd name="connsiteY128" fmla="*/ 395995 h 662520"/>
              <a:gd name="connsiteX129" fmla="*/ 1151813 w 1620056"/>
              <a:gd name="connsiteY129" fmla="*/ 336067 h 662520"/>
              <a:gd name="connsiteX130" fmla="*/ 1155053 w 1620056"/>
              <a:gd name="connsiteY130" fmla="*/ 276826 h 662520"/>
              <a:gd name="connsiteX131" fmla="*/ 1164415 w 1620056"/>
              <a:gd name="connsiteY131" fmla="*/ 223488 h 662520"/>
              <a:gd name="connsiteX132" fmla="*/ 1179368 w 1620056"/>
              <a:gd name="connsiteY132" fmla="*/ 175997 h 662520"/>
              <a:gd name="connsiteX133" fmla="*/ 1199377 w 1620056"/>
              <a:gd name="connsiteY133" fmla="*/ 134299 h 662520"/>
              <a:gd name="connsiteX134" fmla="*/ 1223910 w 1620056"/>
              <a:gd name="connsiteY134" fmla="*/ 98339 h 662520"/>
              <a:gd name="connsiteX135" fmla="*/ 1252434 w 1620056"/>
              <a:gd name="connsiteY135" fmla="*/ 68062 h 662520"/>
              <a:gd name="connsiteX136" fmla="*/ 1284414 w 1620056"/>
              <a:gd name="connsiteY136" fmla="*/ 43413 h 662520"/>
              <a:gd name="connsiteX137" fmla="*/ 1319318 w 1620056"/>
              <a:gd name="connsiteY137" fmla="*/ 24337 h 662520"/>
              <a:gd name="connsiteX138" fmla="*/ 1356613 w 1620056"/>
              <a:gd name="connsiteY138" fmla="*/ 10780 h 662520"/>
              <a:gd name="connsiteX139" fmla="*/ 1395766 w 1620056"/>
              <a:gd name="connsiteY139" fmla="*/ 2685 h 662520"/>
              <a:gd name="connsiteX140" fmla="*/ 1436243 w 1620056"/>
              <a:gd name="connsiteY140" fmla="*/ 0 h 662520"/>
              <a:gd name="connsiteX141" fmla="*/ 1476722 w 1620056"/>
              <a:gd name="connsiteY141" fmla="*/ 2685 h 662520"/>
              <a:gd name="connsiteX142" fmla="*/ 1515876 w 1620056"/>
              <a:gd name="connsiteY142" fmla="*/ 10780 h 662520"/>
              <a:gd name="connsiteX143" fmla="*/ 1553172 w 1620056"/>
              <a:gd name="connsiteY143" fmla="*/ 24337 h 662520"/>
              <a:gd name="connsiteX144" fmla="*/ 1588076 w 1620056"/>
              <a:gd name="connsiteY144" fmla="*/ 43413 h 662520"/>
              <a:gd name="connsiteX145" fmla="*/ 1620056 w 1620056"/>
              <a:gd name="connsiteY145" fmla="*/ 68062 h 662520"/>
              <a:gd name="connsiteX0" fmla="*/ 74231 w 1588076"/>
              <a:gd name="connsiteY0" fmla="*/ 662482 h 662520"/>
              <a:gd name="connsiteX1" fmla="*/ 60344 w 1588076"/>
              <a:gd name="connsiteY1" fmla="*/ 659582 h 662520"/>
              <a:gd name="connsiteX2" fmla="*/ 47517 w 1588076"/>
              <a:gd name="connsiteY2" fmla="*/ 656437 h 662520"/>
              <a:gd name="connsiteX3" fmla="*/ 35823 w 1588076"/>
              <a:gd name="connsiteY3" fmla="*/ 653092 h 662520"/>
              <a:gd name="connsiteX4" fmla="*/ 25336 w 1588076"/>
              <a:gd name="connsiteY4" fmla="*/ 649592 h 662520"/>
              <a:gd name="connsiteX5" fmla="*/ 25336 w 1588076"/>
              <a:gd name="connsiteY5" fmla="*/ 533196 h 662520"/>
              <a:gd name="connsiteX6" fmla="*/ 104190 w 1588076"/>
              <a:gd name="connsiteY6" fmla="*/ 533196 h 662520"/>
              <a:gd name="connsiteX7" fmla="*/ 116931 w 1588076"/>
              <a:gd name="connsiteY7" fmla="*/ 550133 h 662520"/>
              <a:gd name="connsiteX8" fmla="*/ 135043 w 1588076"/>
              <a:gd name="connsiteY8" fmla="*/ 564522 h 662520"/>
              <a:gd name="connsiteX9" fmla="*/ 160020 w 1588076"/>
              <a:gd name="connsiteY9" fmla="*/ 574514 h 662520"/>
              <a:gd name="connsiteX10" fmla="*/ 193357 w 1588076"/>
              <a:gd name="connsiteY10" fmla="*/ 578256 h 662520"/>
              <a:gd name="connsiteX11" fmla="*/ 233829 w 1588076"/>
              <a:gd name="connsiteY11" fmla="*/ 573672 h 662520"/>
              <a:gd name="connsiteX12" fmla="*/ 297105 w 1588076"/>
              <a:gd name="connsiteY12" fmla="*/ 537246 h 662520"/>
              <a:gd name="connsiteX13" fmla="*/ 320040 w 1588076"/>
              <a:gd name="connsiteY13" fmla="*/ 505568 h 662520"/>
              <a:gd name="connsiteX14" fmla="*/ 337261 w 1588076"/>
              <a:gd name="connsiteY14" fmla="*/ 465022 h 662520"/>
              <a:gd name="connsiteX15" fmla="*/ 348834 w 1588076"/>
              <a:gd name="connsiteY15" fmla="*/ 415691 h 662520"/>
              <a:gd name="connsiteX16" fmla="*/ 354825 w 1588076"/>
              <a:gd name="connsiteY16" fmla="*/ 357657 h 662520"/>
              <a:gd name="connsiteX17" fmla="*/ 325357 w 1588076"/>
              <a:gd name="connsiteY17" fmla="*/ 385098 h 662520"/>
              <a:gd name="connsiteX18" fmla="*/ 289466 w 1588076"/>
              <a:gd name="connsiteY18" fmla="*/ 406117 h 662520"/>
              <a:gd name="connsiteX19" fmla="*/ 247767 w 1588076"/>
              <a:gd name="connsiteY19" fmla="*/ 419568 h 662520"/>
              <a:gd name="connsiteX20" fmla="*/ 200875 w 1588076"/>
              <a:gd name="connsiteY20" fmla="*/ 424306 h 662520"/>
              <a:gd name="connsiteX21" fmla="*/ 153099 w 1588076"/>
              <a:gd name="connsiteY21" fmla="*/ 420031 h 662520"/>
              <a:gd name="connsiteX22" fmla="*/ 110150 w 1588076"/>
              <a:gd name="connsiteY22" fmla="*/ 407348 h 662520"/>
              <a:gd name="connsiteX23" fmla="*/ 72948 w 1588076"/>
              <a:gd name="connsiteY23" fmla="*/ 386472 h 662520"/>
              <a:gd name="connsiteX24" fmla="*/ 42412 w 1588076"/>
              <a:gd name="connsiteY24" fmla="*/ 357614 h 662520"/>
              <a:gd name="connsiteX25" fmla="*/ 19463 w 1588076"/>
              <a:gd name="connsiteY25" fmla="*/ 320990 h 662520"/>
              <a:gd name="connsiteX26" fmla="*/ 5019 w 1588076"/>
              <a:gd name="connsiteY26" fmla="*/ 276814 h 662520"/>
              <a:gd name="connsiteX27" fmla="*/ 0 w 1588076"/>
              <a:gd name="connsiteY27" fmla="*/ 225297 h 662520"/>
              <a:gd name="connsiteX28" fmla="*/ 4447 w 1588076"/>
              <a:gd name="connsiteY28" fmla="*/ 178425 h 662520"/>
              <a:gd name="connsiteX29" fmla="*/ 17453 w 1588076"/>
              <a:gd name="connsiteY29" fmla="*/ 135445 h 662520"/>
              <a:gd name="connsiteX30" fmla="*/ 38511 w 1588076"/>
              <a:gd name="connsiteY30" fmla="*/ 97085 h 662520"/>
              <a:gd name="connsiteX31" fmla="*/ 67116 w 1588076"/>
              <a:gd name="connsiteY31" fmla="*/ 64071 h 662520"/>
              <a:gd name="connsiteX32" fmla="*/ 102760 w 1588076"/>
              <a:gd name="connsiteY32" fmla="*/ 37129 h 662520"/>
              <a:gd name="connsiteX33" fmla="*/ 144939 w 1588076"/>
              <a:gd name="connsiteY33" fmla="*/ 16986 h 662520"/>
              <a:gd name="connsiteX34" fmla="*/ 193146 w 1588076"/>
              <a:gd name="connsiteY34" fmla="*/ 4367 h 662520"/>
              <a:gd name="connsiteX35" fmla="*/ 246875 w 1588076"/>
              <a:gd name="connsiteY35" fmla="*/ 0 h 662520"/>
              <a:gd name="connsiteX36" fmla="*/ 290625 w 1588076"/>
              <a:gd name="connsiteY36" fmla="*/ 2882 h 662520"/>
              <a:gd name="connsiteX37" fmla="*/ 331492 w 1588076"/>
              <a:gd name="connsiteY37" fmla="*/ 11678 h 662520"/>
              <a:gd name="connsiteX38" fmla="*/ 369070 w 1588076"/>
              <a:gd name="connsiteY38" fmla="*/ 26614 h 662520"/>
              <a:gd name="connsiteX39" fmla="*/ 402953 w 1588076"/>
              <a:gd name="connsiteY39" fmla="*/ 47914 h 662520"/>
              <a:gd name="connsiteX40" fmla="*/ 432736 w 1588076"/>
              <a:gd name="connsiteY40" fmla="*/ 75804 h 662520"/>
              <a:gd name="connsiteX41" fmla="*/ 458013 w 1588076"/>
              <a:gd name="connsiteY41" fmla="*/ 110509 h 662520"/>
              <a:gd name="connsiteX42" fmla="*/ 478379 w 1588076"/>
              <a:gd name="connsiteY42" fmla="*/ 152255 h 662520"/>
              <a:gd name="connsiteX43" fmla="*/ 493429 w 1588076"/>
              <a:gd name="connsiteY43" fmla="*/ 201265 h 662520"/>
              <a:gd name="connsiteX44" fmla="*/ 502756 w 1588076"/>
              <a:gd name="connsiteY44" fmla="*/ 257766 h 662520"/>
              <a:gd name="connsiteX45" fmla="*/ 505955 w 1588076"/>
              <a:gd name="connsiteY45" fmla="*/ 321983 h 662520"/>
              <a:gd name="connsiteX46" fmla="*/ 503406 w 1588076"/>
              <a:gd name="connsiteY46" fmla="*/ 376707 h 662520"/>
              <a:gd name="connsiteX47" fmla="*/ 495858 w 1588076"/>
              <a:gd name="connsiteY47" fmla="*/ 427041 h 662520"/>
              <a:gd name="connsiteX48" fmla="*/ 483456 w 1588076"/>
              <a:gd name="connsiteY48" fmla="*/ 472909 h 662520"/>
              <a:gd name="connsiteX49" fmla="*/ 466346 w 1588076"/>
              <a:gd name="connsiteY49" fmla="*/ 514232 h 662520"/>
              <a:gd name="connsiteX50" fmla="*/ 444674 w 1588076"/>
              <a:gd name="connsiteY50" fmla="*/ 550937 h 662520"/>
              <a:gd name="connsiteX51" fmla="*/ 418587 w 1588076"/>
              <a:gd name="connsiteY51" fmla="*/ 582945 h 662520"/>
              <a:gd name="connsiteX52" fmla="*/ 388229 w 1588076"/>
              <a:gd name="connsiteY52" fmla="*/ 610181 h 662520"/>
              <a:gd name="connsiteX53" fmla="*/ 353748 w 1588076"/>
              <a:gd name="connsiteY53" fmla="*/ 632569 h 662520"/>
              <a:gd name="connsiteX54" fmla="*/ 315289 w 1588076"/>
              <a:gd name="connsiteY54" fmla="*/ 650033 h 662520"/>
              <a:gd name="connsiteX55" fmla="*/ 272999 w 1588076"/>
              <a:gd name="connsiteY55" fmla="*/ 662495 h 662520"/>
              <a:gd name="connsiteX56" fmla="*/ 592162 w 1588076"/>
              <a:gd name="connsiteY56" fmla="*/ 662520 h 662520"/>
              <a:gd name="connsiteX57" fmla="*/ 571167 w 1588076"/>
              <a:gd name="connsiteY57" fmla="*/ 658030 h 662520"/>
              <a:gd name="connsiteX58" fmla="*/ 551373 w 1588076"/>
              <a:gd name="connsiteY58" fmla="*/ 652783 h 662520"/>
              <a:gd name="connsiteX59" fmla="*/ 532537 w 1588076"/>
              <a:gd name="connsiteY59" fmla="*/ 646826 h 662520"/>
              <a:gd name="connsiteX60" fmla="*/ 514413 w 1588076"/>
              <a:gd name="connsiteY60" fmla="*/ 640206 h 662520"/>
              <a:gd name="connsiteX61" fmla="*/ 514413 w 1588076"/>
              <a:gd name="connsiteY61" fmla="*/ 516293 h 662520"/>
              <a:gd name="connsiteX62" fmla="*/ 596087 w 1588076"/>
              <a:gd name="connsiteY62" fmla="*/ 516293 h 662520"/>
              <a:gd name="connsiteX63" fmla="*/ 612203 w 1588076"/>
              <a:gd name="connsiteY63" fmla="*/ 539439 h 662520"/>
              <a:gd name="connsiteX64" fmla="*/ 635627 w 1588076"/>
              <a:gd name="connsiteY64" fmla="*/ 559242 h 662520"/>
              <a:gd name="connsiteX65" fmla="*/ 666972 w 1588076"/>
              <a:gd name="connsiteY65" fmla="*/ 573062 h 662520"/>
              <a:gd name="connsiteX66" fmla="*/ 706856 w 1588076"/>
              <a:gd name="connsiteY66" fmla="*/ 578256 h 662520"/>
              <a:gd name="connsiteX67" fmla="*/ 749359 w 1588076"/>
              <a:gd name="connsiteY67" fmla="*/ 571758 h 662520"/>
              <a:gd name="connsiteX68" fmla="*/ 784298 w 1588076"/>
              <a:gd name="connsiteY68" fmla="*/ 552322 h 662520"/>
              <a:gd name="connsiteX69" fmla="*/ 807972 w 1588076"/>
              <a:gd name="connsiteY69" fmla="*/ 520038 h 662520"/>
              <a:gd name="connsiteX70" fmla="*/ 816686 w 1588076"/>
              <a:gd name="connsiteY70" fmla="*/ 474992 h 662520"/>
              <a:gd name="connsiteX71" fmla="*/ 809424 w 1588076"/>
              <a:gd name="connsiteY71" fmla="*/ 430240 h 662520"/>
              <a:gd name="connsiteX72" fmla="*/ 787466 w 1588076"/>
              <a:gd name="connsiteY72" fmla="*/ 398602 h 662520"/>
              <a:gd name="connsiteX73" fmla="*/ 750549 w 1588076"/>
              <a:gd name="connsiteY73" fmla="*/ 379812 h 662520"/>
              <a:gd name="connsiteX74" fmla="*/ 698411 w 1588076"/>
              <a:gd name="connsiteY74" fmla="*/ 373608 h 662520"/>
              <a:gd name="connsiteX75" fmla="*/ 649592 w 1588076"/>
              <a:gd name="connsiteY75" fmla="*/ 373608 h 662520"/>
              <a:gd name="connsiteX76" fmla="*/ 649592 w 1588076"/>
              <a:gd name="connsiteY76" fmla="*/ 286308 h 662520"/>
              <a:gd name="connsiteX77" fmla="*/ 690892 w 1588076"/>
              <a:gd name="connsiteY77" fmla="*/ 286308 h 662520"/>
              <a:gd name="connsiteX78" fmla="*/ 744563 w 1588076"/>
              <a:gd name="connsiteY78" fmla="*/ 280133 h 662520"/>
              <a:gd name="connsiteX79" fmla="*/ 783007 w 1588076"/>
              <a:gd name="connsiteY79" fmla="*/ 261550 h 662520"/>
              <a:gd name="connsiteX80" fmla="*/ 806137 w 1588076"/>
              <a:gd name="connsiteY80" fmla="*/ 230469 h 662520"/>
              <a:gd name="connsiteX81" fmla="*/ 813866 w 1588076"/>
              <a:gd name="connsiteY81" fmla="*/ 186804 h 662520"/>
              <a:gd name="connsiteX82" fmla="*/ 808513 w 1588076"/>
              <a:gd name="connsiteY82" fmla="*/ 149115 h 662520"/>
              <a:gd name="connsiteX83" fmla="*/ 792160 w 1588076"/>
              <a:gd name="connsiteY83" fmla="*/ 121104 h 662520"/>
              <a:gd name="connsiteX84" fmla="*/ 764365 w 1588076"/>
              <a:gd name="connsiteY84" fmla="*/ 103651 h 662520"/>
              <a:gd name="connsiteX85" fmla="*/ 724687 w 1588076"/>
              <a:gd name="connsiteY85" fmla="*/ 97637 h 662520"/>
              <a:gd name="connsiteX86" fmla="*/ 687243 w 1588076"/>
              <a:gd name="connsiteY86" fmla="*/ 102374 h 662520"/>
              <a:gd name="connsiteX87" fmla="*/ 657456 w 1588076"/>
              <a:gd name="connsiteY87" fmla="*/ 115117 h 662520"/>
              <a:gd name="connsiteX88" fmla="*/ 634533 w 1588076"/>
              <a:gd name="connsiteY88" fmla="*/ 133668 h 662520"/>
              <a:gd name="connsiteX89" fmla="*/ 617677 w 1588076"/>
              <a:gd name="connsiteY89" fmla="*/ 155828 h 662520"/>
              <a:gd name="connsiteX90" fmla="*/ 539775 w 1588076"/>
              <a:gd name="connsiteY90" fmla="*/ 155828 h 662520"/>
              <a:gd name="connsiteX91" fmla="*/ 539775 w 1588076"/>
              <a:gd name="connsiteY91" fmla="*/ 33807 h 662520"/>
              <a:gd name="connsiteX92" fmla="*/ 584006 w 1588076"/>
              <a:gd name="connsiteY92" fmla="*/ 19813 h 662520"/>
              <a:gd name="connsiteX93" fmla="*/ 631056 w 1588076"/>
              <a:gd name="connsiteY93" fmla="*/ 9159 h 662520"/>
              <a:gd name="connsiteX94" fmla="*/ 681278 w 1588076"/>
              <a:gd name="connsiteY94" fmla="*/ 2378 h 662520"/>
              <a:gd name="connsiteX95" fmla="*/ 735025 w 1588076"/>
              <a:gd name="connsiteY95" fmla="*/ 0 h 662520"/>
              <a:gd name="connsiteX96" fmla="*/ 790395 w 1588076"/>
              <a:gd name="connsiteY96" fmla="*/ 3158 h 662520"/>
              <a:gd name="connsiteX97" fmla="*/ 838689 w 1588076"/>
              <a:gd name="connsiteY97" fmla="*/ 12853 h 662520"/>
              <a:gd name="connsiteX98" fmla="*/ 879380 w 1588076"/>
              <a:gd name="connsiteY98" fmla="*/ 29412 h 662520"/>
              <a:gd name="connsiteX99" fmla="*/ 911943 w 1588076"/>
              <a:gd name="connsiteY99" fmla="*/ 53163 h 662520"/>
              <a:gd name="connsiteX100" fmla="*/ 935853 w 1588076"/>
              <a:gd name="connsiteY100" fmla="*/ 84435 h 662520"/>
              <a:gd name="connsiteX101" fmla="*/ 950584 w 1588076"/>
              <a:gd name="connsiteY101" fmla="*/ 123555 h 662520"/>
              <a:gd name="connsiteX102" fmla="*/ 955611 w 1588076"/>
              <a:gd name="connsiteY102" fmla="*/ 170853 h 662520"/>
              <a:gd name="connsiteX103" fmla="*/ 949453 w 1588076"/>
              <a:gd name="connsiteY103" fmla="*/ 219568 h 662520"/>
              <a:gd name="connsiteX104" fmla="*/ 931581 w 1588076"/>
              <a:gd name="connsiteY104" fmla="*/ 258234 h 662520"/>
              <a:gd name="connsiteX105" fmla="*/ 902895 w 1588076"/>
              <a:gd name="connsiteY105" fmla="*/ 287843 h 662520"/>
              <a:gd name="connsiteX106" fmla="*/ 864296 w 1588076"/>
              <a:gd name="connsiteY106" fmla="*/ 309388 h 662520"/>
              <a:gd name="connsiteX107" fmla="*/ 816686 w 1588076"/>
              <a:gd name="connsiteY107" fmla="*/ 323862 h 662520"/>
              <a:gd name="connsiteX108" fmla="*/ 816686 w 1588076"/>
              <a:gd name="connsiteY108" fmla="*/ 327609 h 662520"/>
              <a:gd name="connsiteX109" fmla="*/ 870681 w 1588076"/>
              <a:gd name="connsiteY109" fmla="*/ 340566 h 662520"/>
              <a:gd name="connsiteX110" fmla="*/ 912283 w 1588076"/>
              <a:gd name="connsiteY110" fmla="*/ 362534 h 662520"/>
              <a:gd name="connsiteX111" fmla="*/ 941719 w 1588076"/>
              <a:gd name="connsiteY111" fmla="*/ 393513 h 662520"/>
              <a:gd name="connsiteX112" fmla="*/ 959215 w 1588076"/>
              <a:gd name="connsiteY112" fmla="*/ 433502 h 662520"/>
              <a:gd name="connsiteX113" fmla="*/ 964996 w 1588076"/>
              <a:gd name="connsiteY113" fmla="*/ 482498 h 662520"/>
              <a:gd name="connsiteX114" fmla="*/ 959936 w 1588076"/>
              <a:gd name="connsiteY114" fmla="*/ 527743 h 662520"/>
              <a:gd name="connsiteX115" fmla="*/ 944659 w 1588076"/>
              <a:gd name="connsiteY115" fmla="*/ 567021 h 662520"/>
              <a:gd name="connsiteX116" fmla="*/ 920122 w 1588076"/>
              <a:gd name="connsiteY116" fmla="*/ 600232 h 662520"/>
              <a:gd name="connsiteX117" fmla="*/ 887285 w 1588076"/>
              <a:gd name="connsiteY117" fmla="*/ 627278 h 662520"/>
              <a:gd name="connsiteX118" fmla="*/ 847106 w 1588076"/>
              <a:gd name="connsiteY118" fmla="*/ 648061 h 662520"/>
              <a:gd name="connsiteX119" fmla="*/ 800544 w 1588076"/>
              <a:gd name="connsiteY119" fmla="*/ 662482 h 662520"/>
              <a:gd name="connsiteX120" fmla="*/ 1360843 w 1588076"/>
              <a:gd name="connsiteY120" fmla="*/ 662495 h 662520"/>
              <a:gd name="connsiteX121" fmla="*/ 1322871 w 1588076"/>
              <a:gd name="connsiteY121" fmla="*/ 649352 h 662520"/>
              <a:gd name="connsiteX122" fmla="*/ 1287296 w 1588076"/>
              <a:gd name="connsiteY122" fmla="*/ 630560 h 662520"/>
              <a:gd name="connsiteX123" fmla="*/ 1254670 w 1588076"/>
              <a:gd name="connsiteY123" fmla="*/ 606062 h 662520"/>
              <a:gd name="connsiteX124" fmla="*/ 1225546 w 1588076"/>
              <a:gd name="connsiteY124" fmla="*/ 575802 h 662520"/>
              <a:gd name="connsiteX125" fmla="*/ 1200477 w 1588076"/>
              <a:gd name="connsiteY125" fmla="*/ 539722 h 662520"/>
              <a:gd name="connsiteX126" fmla="*/ 1180016 w 1588076"/>
              <a:gd name="connsiteY126" fmla="*/ 497766 h 662520"/>
              <a:gd name="connsiteX127" fmla="*/ 1164717 w 1588076"/>
              <a:gd name="connsiteY127" fmla="*/ 449876 h 662520"/>
              <a:gd name="connsiteX128" fmla="*/ 1155131 w 1588076"/>
              <a:gd name="connsiteY128" fmla="*/ 395995 h 662520"/>
              <a:gd name="connsiteX129" fmla="*/ 1151813 w 1588076"/>
              <a:gd name="connsiteY129" fmla="*/ 336067 h 662520"/>
              <a:gd name="connsiteX130" fmla="*/ 1155053 w 1588076"/>
              <a:gd name="connsiteY130" fmla="*/ 276826 h 662520"/>
              <a:gd name="connsiteX131" fmla="*/ 1164415 w 1588076"/>
              <a:gd name="connsiteY131" fmla="*/ 223488 h 662520"/>
              <a:gd name="connsiteX132" fmla="*/ 1179368 w 1588076"/>
              <a:gd name="connsiteY132" fmla="*/ 175997 h 662520"/>
              <a:gd name="connsiteX133" fmla="*/ 1199377 w 1588076"/>
              <a:gd name="connsiteY133" fmla="*/ 134299 h 662520"/>
              <a:gd name="connsiteX134" fmla="*/ 1223910 w 1588076"/>
              <a:gd name="connsiteY134" fmla="*/ 98339 h 662520"/>
              <a:gd name="connsiteX135" fmla="*/ 1252434 w 1588076"/>
              <a:gd name="connsiteY135" fmla="*/ 68062 h 662520"/>
              <a:gd name="connsiteX136" fmla="*/ 1284414 w 1588076"/>
              <a:gd name="connsiteY136" fmla="*/ 43413 h 662520"/>
              <a:gd name="connsiteX137" fmla="*/ 1319318 w 1588076"/>
              <a:gd name="connsiteY137" fmla="*/ 24337 h 662520"/>
              <a:gd name="connsiteX138" fmla="*/ 1356613 w 1588076"/>
              <a:gd name="connsiteY138" fmla="*/ 10780 h 662520"/>
              <a:gd name="connsiteX139" fmla="*/ 1395766 w 1588076"/>
              <a:gd name="connsiteY139" fmla="*/ 2685 h 662520"/>
              <a:gd name="connsiteX140" fmla="*/ 1436243 w 1588076"/>
              <a:gd name="connsiteY140" fmla="*/ 0 h 662520"/>
              <a:gd name="connsiteX141" fmla="*/ 1476722 w 1588076"/>
              <a:gd name="connsiteY141" fmla="*/ 2685 h 662520"/>
              <a:gd name="connsiteX142" fmla="*/ 1515876 w 1588076"/>
              <a:gd name="connsiteY142" fmla="*/ 10780 h 662520"/>
              <a:gd name="connsiteX143" fmla="*/ 1553172 w 1588076"/>
              <a:gd name="connsiteY143" fmla="*/ 24337 h 662520"/>
              <a:gd name="connsiteX144" fmla="*/ 1588076 w 1588076"/>
              <a:gd name="connsiteY144" fmla="*/ 43413 h 662520"/>
              <a:gd name="connsiteX0" fmla="*/ 74231 w 1553172"/>
              <a:gd name="connsiteY0" fmla="*/ 662482 h 662520"/>
              <a:gd name="connsiteX1" fmla="*/ 60344 w 1553172"/>
              <a:gd name="connsiteY1" fmla="*/ 659582 h 662520"/>
              <a:gd name="connsiteX2" fmla="*/ 47517 w 1553172"/>
              <a:gd name="connsiteY2" fmla="*/ 656437 h 662520"/>
              <a:gd name="connsiteX3" fmla="*/ 35823 w 1553172"/>
              <a:gd name="connsiteY3" fmla="*/ 653092 h 662520"/>
              <a:gd name="connsiteX4" fmla="*/ 25336 w 1553172"/>
              <a:gd name="connsiteY4" fmla="*/ 649592 h 662520"/>
              <a:gd name="connsiteX5" fmla="*/ 25336 w 1553172"/>
              <a:gd name="connsiteY5" fmla="*/ 533196 h 662520"/>
              <a:gd name="connsiteX6" fmla="*/ 104190 w 1553172"/>
              <a:gd name="connsiteY6" fmla="*/ 533196 h 662520"/>
              <a:gd name="connsiteX7" fmla="*/ 116931 w 1553172"/>
              <a:gd name="connsiteY7" fmla="*/ 550133 h 662520"/>
              <a:gd name="connsiteX8" fmla="*/ 135043 w 1553172"/>
              <a:gd name="connsiteY8" fmla="*/ 564522 h 662520"/>
              <a:gd name="connsiteX9" fmla="*/ 160020 w 1553172"/>
              <a:gd name="connsiteY9" fmla="*/ 574514 h 662520"/>
              <a:gd name="connsiteX10" fmla="*/ 193357 w 1553172"/>
              <a:gd name="connsiteY10" fmla="*/ 578256 h 662520"/>
              <a:gd name="connsiteX11" fmla="*/ 233829 w 1553172"/>
              <a:gd name="connsiteY11" fmla="*/ 573672 h 662520"/>
              <a:gd name="connsiteX12" fmla="*/ 297105 w 1553172"/>
              <a:gd name="connsiteY12" fmla="*/ 537246 h 662520"/>
              <a:gd name="connsiteX13" fmla="*/ 320040 w 1553172"/>
              <a:gd name="connsiteY13" fmla="*/ 505568 h 662520"/>
              <a:gd name="connsiteX14" fmla="*/ 337261 w 1553172"/>
              <a:gd name="connsiteY14" fmla="*/ 465022 h 662520"/>
              <a:gd name="connsiteX15" fmla="*/ 348834 w 1553172"/>
              <a:gd name="connsiteY15" fmla="*/ 415691 h 662520"/>
              <a:gd name="connsiteX16" fmla="*/ 354825 w 1553172"/>
              <a:gd name="connsiteY16" fmla="*/ 357657 h 662520"/>
              <a:gd name="connsiteX17" fmla="*/ 325357 w 1553172"/>
              <a:gd name="connsiteY17" fmla="*/ 385098 h 662520"/>
              <a:gd name="connsiteX18" fmla="*/ 289466 w 1553172"/>
              <a:gd name="connsiteY18" fmla="*/ 406117 h 662520"/>
              <a:gd name="connsiteX19" fmla="*/ 247767 w 1553172"/>
              <a:gd name="connsiteY19" fmla="*/ 419568 h 662520"/>
              <a:gd name="connsiteX20" fmla="*/ 200875 w 1553172"/>
              <a:gd name="connsiteY20" fmla="*/ 424306 h 662520"/>
              <a:gd name="connsiteX21" fmla="*/ 153099 w 1553172"/>
              <a:gd name="connsiteY21" fmla="*/ 420031 h 662520"/>
              <a:gd name="connsiteX22" fmla="*/ 110150 w 1553172"/>
              <a:gd name="connsiteY22" fmla="*/ 407348 h 662520"/>
              <a:gd name="connsiteX23" fmla="*/ 72948 w 1553172"/>
              <a:gd name="connsiteY23" fmla="*/ 386472 h 662520"/>
              <a:gd name="connsiteX24" fmla="*/ 42412 w 1553172"/>
              <a:gd name="connsiteY24" fmla="*/ 357614 h 662520"/>
              <a:gd name="connsiteX25" fmla="*/ 19463 w 1553172"/>
              <a:gd name="connsiteY25" fmla="*/ 320990 h 662520"/>
              <a:gd name="connsiteX26" fmla="*/ 5019 w 1553172"/>
              <a:gd name="connsiteY26" fmla="*/ 276814 h 662520"/>
              <a:gd name="connsiteX27" fmla="*/ 0 w 1553172"/>
              <a:gd name="connsiteY27" fmla="*/ 225297 h 662520"/>
              <a:gd name="connsiteX28" fmla="*/ 4447 w 1553172"/>
              <a:gd name="connsiteY28" fmla="*/ 178425 h 662520"/>
              <a:gd name="connsiteX29" fmla="*/ 17453 w 1553172"/>
              <a:gd name="connsiteY29" fmla="*/ 135445 h 662520"/>
              <a:gd name="connsiteX30" fmla="*/ 38511 w 1553172"/>
              <a:gd name="connsiteY30" fmla="*/ 97085 h 662520"/>
              <a:gd name="connsiteX31" fmla="*/ 67116 w 1553172"/>
              <a:gd name="connsiteY31" fmla="*/ 64071 h 662520"/>
              <a:gd name="connsiteX32" fmla="*/ 102760 w 1553172"/>
              <a:gd name="connsiteY32" fmla="*/ 37129 h 662520"/>
              <a:gd name="connsiteX33" fmla="*/ 144939 w 1553172"/>
              <a:gd name="connsiteY33" fmla="*/ 16986 h 662520"/>
              <a:gd name="connsiteX34" fmla="*/ 193146 w 1553172"/>
              <a:gd name="connsiteY34" fmla="*/ 4367 h 662520"/>
              <a:gd name="connsiteX35" fmla="*/ 246875 w 1553172"/>
              <a:gd name="connsiteY35" fmla="*/ 0 h 662520"/>
              <a:gd name="connsiteX36" fmla="*/ 290625 w 1553172"/>
              <a:gd name="connsiteY36" fmla="*/ 2882 h 662520"/>
              <a:gd name="connsiteX37" fmla="*/ 331492 w 1553172"/>
              <a:gd name="connsiteY37" fmla="*/ 11678 h 662520"/>
              <a:gd name="connsiteX38" fmla="*/ 369070 w 1553172"/>
              <a:gd name="connsiteY38" fmla="*/ 26614 h 662520"/>
              <a:gd name="connsiteX39" fmla="*/ 402953 w 1553172"/>
              <a:gd name="connsiteY39" fmla="*/ 47914 h 662520"/>
              <a:gd name="connsiteX40" fmla="*/ 432736 w 1553172"/>
              <a:gd name="connsiteY40" fmla="*/ 75804 h 662520"/>
              <a:gd name="connsiteX41" fmla="*/ 458013 w 1553172"/>
              <a:gd name="connsiteY41" fmla="*/ 110509 h 662520"/>
              <a:gd name="connsiteX42" fmla="*/ 478379 w 1553172"/>
              <a:gd name="connsiteY42" fmla="*/ 152255 h 662520"/>
              <a:gd name="connsiteX43" fmla="*/ 493429 w 1553172"/>
              <a:gd name="connsiteY43" fmla="*/ 201265 h 662520"/>
              <a:gd name="connsiteX44" fmla="*/ 502756 w 1553172"/>
              <a:gd name="connsiteY44" fmla="*/ 257766 h 662520"/>
              <a:gd name="connsiteX45" fmla="*/ 505955 w 1553172"/>
              <a:gd name="connsiteY45" fmla="*/ 321983 h 662520"/>
              <a:gd name="connsiteX46" fmla="*/ 503406 w 1553172"/>
              <a:gd name="connsiteY46" fmla="*/ 376707 h 662520"/>
              <a:gd name="connsiteX47" fmla="*/ 495858 w 1553172"/>
              <a:gd name="connsiteY47" fmla="*/ 427041 h 662520"/>
              <a:gd name="connsiteX48" fmla="*/ 483456 w 1553172"/>
              <a:gd name="connsiteY48" fmla="*/ 472909 h 662520"/>
              <a:gd name="connsiteX49" fmla="*/ 466346 w 1553172"/>
              <a:gd name="connsiteY49" fmla="*/ 514232 h 662520"/>
              <a:gd name="connsiteX50" fmla="*/ 444674 w 1553172"/>
              <a:gd name="connsiteY50" fmla="*/ 550937 h 662520"/>
              <a:gd name="connsiteX51" fmla="*/ 418587 w 1553172"/>
              <a:gd name="connsiteY51" fmla="*/ 582945 h 662520"/>
              <a:gd name="connsiteX52" fmla="*/ 388229 w 1553172"/>
              <a:gd name="connsiteY52" fmla="*/ 610181 h 662520"/>
              <a:gd name="connsiteX53" fmla="*/ 353748 w 1553172"/>
              <a:gd name="connsiteY53" fmla="*/ 632569 h 662520"/>
              <a:gd name="connsiteX54" fmla="*/ 315289 w 1553172"/>
              <a:gd name="connsiteY54" fmla="*/ 650033 h 662520"/>
              <a:gd name="connsiteX55" fmla="*/ 272999 w 1553172"/>
              <a:gd name="connsiteY55" fmla="*/ 662495 h 662520"/>
              <a:gd name="connsiteX56" fmla="*/ 592162 w 1553172"/>
              <a:gd name="connsiteY56" fmla="*/ 662520 h 662520"/>
              <a:gd name="connsiteX57" fmla="*/ 571167 w 1553172"/>
              <a:gd name="connsiteY57" fmla="*/ 658030 h 662520"/>
              <a:gd name="connsiteX58" fmla="*/ 551373 w 1553172"/>
              <a:gd name="connsiteY58" fmla="*/ 652783 h 662520"/>
              <a:gd name="connsiteX59" fmla="*/ 532537 w 1553172"/>
              <a:gd name="connsiteY59" fmla="*/ 646826 h 662520"/>
              <a:gd name="connsiteX60" fmla="*/ 514413 w 1553172"/>
              <a:gd name="connsiteY60" fmla="*/ 640206 h 662520"/>
              <a:gd name="connsiteX61" fmla="*/ 514413 w 1553172"/>
              <a:gd name="connsiteY61" fmla="*/ 516293 h 662520"/>
              <a:gd name="connsiteX62" fmla="*/ 596087 w 1553172"/>
              <a:gd name="connsiteY62" fmla="*/ 516293 h 662520"/>
              <a:gd name="connsiteX63" fmla="*/ 612203 w 1553172"/>
              <a:gd name="connsiteY63" fmla="*/ 539439 h 662520"/>
              <a:gd name="connsiteX64" fmla="*/ 635627 w 1553172"/>
              <a:gd name="connsiteY64" fmla="*/ 559242 h 662520"/>
              <a:gd name="connsiteX65" fmla="*/ 666972 w 1553172"/>
              <a:gd name="connsiteY65" fmla="*/ 573062 h 662520"/>
              <a:gd name="connsiteX66" fmla="*/ 706856 w 1553172"/>
              <a:gd name="connsiteY66" fmla="*/ 578256 h 662520"/>
              <a:gd name="connsiteX67" fmla="*/ 749359 w 1553172"/>
              <a:gd name="connsiteY67" fmla="*/ 571758 h 662520"/>
              <a:gd name="connsiteX68" fmla="*/ 784298 w 1553172"/>
              <a:gd name="connsiteY68" fmla="*/ 552322 h 662520"/>
              <a:gd name="connsiteX69" fmla="*/ 807972 w 1553172"/>
              <a:gd name="connsiteY69" fmla="*/ 520038 h 662520"/>
              <a:gd name="connsiteX70" fmla="*/ 816686 w 1553172"/>
              <a:gd name="connsiteY70" fmla="*/ 474992 h 662520"/>
              <a:gd name="connsiteX71" fmla="*/ 809424 w 1553172"/>
              <a:gd name="connsiteY71" fmla="*/ 430240 h 662520"/>
              <a:gd name="connsiteX72" fmla="*/ 787466 w 1553172"/>
              <a:gd name="connsiteY72" fmla="*/ 398602 h 662520"/>
              <a:gd name="connsiteX73" fmla="*/ 750549 w 1553172"/>
              <a:gd name="connsiteY73" fmla="*/ 379812 h 662520"/>
              <a:gd name="connsiteX74" fmla="*/ 698411 w 1553172"/>
              <a:gd name="connsiteY74" fmla="*/ 373608 h 662520"/>
              <a:gd name="connsiteX75" fmla="*/ 649592 w 1553172"/>
              <a:gd name="connsiteY75" fmla="*/ 373608 h 662520"/>
              <a:gd name="connsiteX76" fmla="*/ 649592 w 1553172"/>
              <a:gd name="connsiteY76" fmla="*/ 286308 h 662520"/>
              <a:gd name="connsiteX77" fmla="*/ 690892 w 1553172"/>
              <a:gd name="connsiteY77" fmla="*/ 286308 h 662520"/>
              <a:gd name="connsiteX78" fmla="*/ 744563 w 1553172"/>
              <a:gd name="connsiteY78" fmla="*/ 280133 h 662520"/>
              <a:gd name="connsiteX79" fmla="*/ 783007 w 1553172"/>
              <a:gd name="connsiteY79" fmla="*/ 261550 h 662520"/>
              <a:gd name="connsiteX80" fmla="*/ 806137 w 1553172"/>
              <a:gd name="connsiteY80" fmla="*/ 230469 h 662520"/>
              <a:gd name="connsiteX81" fmla="*/ 813866 w 1553172"/>
              <a:gd name="connsiteY81" fmla="*/ 186804 h 662520"/>
              <a:gd name="connsiteX82" fmla="*/ 808513 w 1553172"/>
              <a:gd name="connsiteY82" fmla="*/ 149115 h 662520"/>
              <a:gd name="connsiteX83" fmla="*/ 792160 w 1553172"/>
              <a:gd name="connsiteY83" fmla="*/ 121104 h 662520"/>
              <a:gd name="connsiteX84" fmla="*/ 764365 w 1553172"/>
              <a:gd name="connsiteY84" fmla="*/ 103651 h 662520"/>
              <a:gd name="connsiteX85" fmla="*/ 724687 w 1553172"/>
              <a:gd name="connsiteY85" fmla="*/ 97637 h 662520"/>
              <a:gd name="connsiteX86" fmla="*/ 687243 w 1553172"/>
              <a:gd name="connsiteY86" fmla="*/ 102374 h 662520"/>
              <a:gd name="connsiteX87" fmla="*/ 657456 w 1553172"/>
              <a:gd name="connsiteY87" fmla="*/ 115117 h 662520"/>
              <a:gd name="connsiteX88" fmla="*/ 634533 w 1553172"/>
              <a:gd name="connsiteY88" fmla="*/ 133668 h 662520"/>
              <a:gd name="connsiteX89" fmla="*/ 617677 w 1553172"/>
              <a:gd name="connsiteY89" fmla="*/ 155828 h 662520"/>
              <a:gd name="connsiteX90" fmla="*/ 539775 w 1553172"/>
              <a:gd name="connsiteY90" fmla="*/ 155828 h 662520"/>
              <a:gd name="connsiteX91" fmla="*/ 539775 w 1553172"/>
              <a:gd name="connsiteY91" fmla="*/ 33807 h 662520"/>
              <a:gd name="connsiteX92" fmla="*/ 584006 w 1553172"/>
              <a:gd name="connsiteY92" fmla="*/ 19813 h 662520"/>
              <a:gd name="connsiteX93" fmla="*/ 631056 w 1553172"/>
              <a:gd name="connsiteY93" fmla="*/ 9159 h 662520"/>
              <a:gd name="connsiteX94" fmla="*/ 681278 w 1553172"/>
              <a:gd name="connsiteY94" fmla="*/ 2378 h 662520"/>
              <a:gd name="connsiteX95" fmla="*/ 735025 w 1553172"/>
              <a:gd name="connsiteY95" fmla="*/ 0 h 662520"/>
              <a:gd name="connsiteX96" fmla="*/ 790395 w 1553172"/>
              <a:gd name="connsiteY96" fmla="*/ 3158 h 662520"/>
              <a:gd name="connsiteX97" fmla="*/ 838689 w 1553172"/>
              <a:gd name="connsiteY97" fmla="*/ 12853 h 662520"/>
              <a:gd name="connsiteX98" fmla="*/ 879380 w 1553172"/>
              <a:gd name="connsiteY98" fmla="*/ 29412 h 662520"/>
              <a:gd name="connsiteX99" fmla="*/ 911943 w 1553172"/>
              <a:gd name="connsiteY99" fmla="*/ 53163 h 662520"/>
              <a:gd name="connsiteX100" fmla="*/ 935853 w 1553172"/>
              <a:gd name="connsiteY100" fmla="*/ 84435 h 662520"/>
              <a:gd name="connsiteX101" fmla="*/ 950584 w 1553172"/>
              <a:gd name="connsiteY101" fmla="*/ 123555 h 662520"/>
              <a:gd name="connsiteX102" fmla="*/ 955611 w 1553172"/>
              <a:gd name="connsiteY102" fmla="*/ 170853 h 662520"/>
              <a:gd name="connsiteX103" fmla="*/ 949453 w 1553172"/>
              <a:gd name="connsiteY103" fmla="*/ 219568 h 662520"/>
              <a:gd name="connsiteX104" fmla="*/ 931581 w 1553172"/>
              <a:gd name="connsiteY104" fmla="*/ 258234 h 662520"/>
              <a:gd name="connsiteX105" fmla="*/ 902895 w 1553172"/>
              <a:gd name="connsiteY105" fmla="*/ 287843 h 662520"/>
              <a:gd name="connsiteX106" fmla="*/ 864296 w 1553172"/>
              <a:gd name="connsiteY106" fmla="*/ 309388 h 662520"/>
              <a:gd name="connsiteX107" fmla="*/ 816686 w 1553172"/>
              <a:gd name="connsiteY107" fmla="*/ 323862 h 662520"/>
              <a:gd name="connsiteX108" fmla="*/ 816686 w 1553172"/>
              <a:gd name="connsiteY108" fmla="*/ 327609 h 662520"/>
              <a:gd name="connsiteX109" fmla="*/ 870681 w 1553172"/>
              <a:gd name="connsiteY109" fmla="*/ 340566 h 662520"/>
              <a:gd name="connsiteX110" fmla="*/ 912283 w 1553172"/>
              <a:gd name="connsiteY110" fmla="*/ 362534 h 662520"/>
              <a:gd name="connsiteX111" fmla="*/ 941719 w 1553172"/>
              <a:gd name="connsiteY111" fmla="*/ 393513 h 662520"/>
              <a:gd name="connsiteX112" fmla="*/ 959215 w 1553172"/>
              <a:gd name="connsiteY112" fmla="*/ 433502 h 662520"/>
              <a:gd name="connsiteX113" fmla="*/ 964996 w 1553172"/>
              <a:gd name="connsiteY113" fmla="*/ 482498 h 662520"/>
              <a:gd name="connsiteX114" fmla="*/ 959936 w 1553172"/>
              <a:gd name="connsiteY114" fmla="*/ 527743 h 662520"/>
              <a:gd name="connsiteX115" fmla="*/ 944659 w 1553172"/>
              <a:gd name="connsiteY115" fmla="*/ 567021 h 662520"/>
              <a:gd name="connsiteX116" fmla="*/ 920122 w 1553172"/>
              <a:gd name="connsiteY116" fmla="*/ 600232 h 662520"/>
              <a:gd name="connsiteX117" fmla="*/ 887285 w 1553172"/>
              <a:gd name="connsiteY117" fmla="*/ 627278 h 662520"/>
              <a:gd name="connsiteX118" fmla="*/ 847106 w 1553172"/>
              <a:gd name="connsiteY118" fmla="*/ 648061 h 662520"/>
              <a:gd name="connsiteX119" fmla="*/ 800544 w 1553172"/>
              <a:gd name="connsiteY119" fmla="*/ 662482 h 662520"/>
              <a:gd name="connsiteX120" fmla="*/ 1360843 w 1553172"/>
              <a:gd name="connsiteY120" fmla="*/ 662495 h 662520"/>
              <a:gd name="connsiteX121" fmla="*/ 1322871 w 1553172"/>
              <a:gd name="connsiteY121" fmla="*/ 649352 h 662520"/>
              <a:gd name="connsiteX122" fmla="*/ 1287296 w 1553172"/>
              <a:gd name="connsiteY122" fmla="*/ 630560 h 662520"/>
              <a:gd name="connsiteX123" fmla="*/ 1254670 w 1553172"/>
              <a:gd name="connsiteY123" fmla="*/ 606062 h 662520"/>
              <a:gd name="connsiteX124" fmla="*/ 1225546 w 1553172"/>
              <a:gd name="connsiteY124" fmla="*/ 575802 h 662520"/>
              <a:gd name="connsiteX125" fmla="*/ 1200477 w 1553172"/>
              <a:gd name="connsiteY125" fmla="*/ 539722 h 662520"/>
              <a:gd name="connsiteX126" fmla="*/ 1180016 w 1553172"/>
              <a:gd name="connsiteY126" fmla="*/ 497766 h 662520"/>
              <a:gd name="connsiteX127" fmla="*/ 1164717 w 1553172"/>
              <a:gd name="connsiteY127" fmla="*/ 449876 h 662520"/>
              <a:gd name="connsiteX128" fmla="*/ 1155131 w 1553172"/>
              <a:gd name="connsiteY128" fmla="*/ 395995 h 662520"/>
              <a:gd name="connsiteX129" fmla="*/ 1151813 w 1553172"/>
              <a:gd name="connsiteY129" fmla="*/ 336067 h 662520"/>
              <a:gd name="connsiteX130" fmla="*/ 1155053 w 1553172"/>
              <a:gd name="connsiteY130" fmla="*/ 276826 h 662520"/>
              <a:gd name="connsiteX131" fmla="*/ 1164415 w 1553172"/>
              <a:gd name="connsiteY131" fmla="*/ 223488 h 662520"/>
              <a:gd name="connsiteX132" fmla="*/ 1179368 w 1553172"/>
              <a:gd name="connsiteY132" fmla="*/ 175997 h 662520"/>
              <a:gd name="connsiteX133" fmla="*/ 1199377 w 1553172"/>
              <a:gd name="connsiteY133" fmla="*/ 134299 h 662520"/>
              <a:gd name="connsiteX134" fmla="*/ 1223910 w 1553172"/>
              <a:gd name="connsiteY134" fmla="*/ 98339 h 662520"/>
              <a:gd name="connsiteX135" fmla="*/ 1252434 w 1553172"/>
              <a:gd name="connsiteY135" fmla="*/ 68062 h 662520"/>
              <a:gd name="connsiteX136" fmla="*/ 1284414 w 1553172"/>
              <a:gd name="connsiteY136" fmla="*/ 43413 h 662520"/>
              <a:gd name="connsiteX137" fmla="*/ 1319318 w 1553172"/>
              <a:gd name="connsiteY137" fmla="*/ 24337 h 662520"/>
              <a:gd name="connsiteX138" fmla="*/ 1356613 w 1553172"/>
              <a:gd name="connsiteY138" fmla="*/ 10780 h 662520"/>
              <a:gd name="connsiteX139" fmla="*/ 1395766 w 1553172"/>
              <a:gd name="connsiteY139" fmla="*/ 2685 h 662520"/>
              <a:gd name="connsiteX140" fmla="*/ 1436243 w 1553172"/>
              <a:gd name="connsiteY140" fmla="*/ 0 h 662520"/>
              <a:gd name="connsiteX141" fmla="*/ 1476722 w 1553172"/>
              <a:gd name="connsiteY141" fmla="*/ 2685 h 662520"/>
              <a:gd name="connsiteX142" fmla="*/ 1515876 w 1553172"/>
              <a:gd name="connsiteY142" fmla="*/ 10780 h 662520"/>
              <a:gd name="connsiteX143" fmla="*/ 1553172 w 1553172"/>
              <a:gd name="connsiteY143" fmla="*/ 24337 h 662520"/>
              <a:gd name="connsiteX0" fmla="*/ 74231 w 1515876"/>
              <a:gd name="connsiteY0" fmla="*/ 662482 h 662520"/>
              <a:gd name="connsiteX1" fmla="*/ 60344 w 1515876"/>
              <a:gd name="connsiteY1" fmla="*/ 659582 h 662520"/>
              <a:gd name="connsiteX2" fmla="*/ 47517 w 1515876"/>
              <a:gd name="connsiteY2" fmla="*/ 656437 h 662520"/>
              <a:gd name="connsiteX3" fmla="*/ 35823 w 1515876"/>
              <a:gd name="connsiteY3" fmla="*/ 653092 h 662520"/>
              <a:gd name="connsiteX4" fmla="*/ 25336 w 1515876"/>
              <a:gd name="connsiteY4" fmla="*/ 649592 h 662520"/>
              <a:gd name="connsiteX5" fmla="*/ 25336 w 1515876"/>
              <a:gd name="connsiteY5" fmla="*/ 533196 h 662520"/>
              <a:gd name="connsiteX6" fmla="*/ 104190 w 1515876"/>
              <a:gd name="connsiteY6" fmla="*/ 533196 h 662520"/>
              <a:gd name="connsiteX7" fmla="*/ 116931 w 1515876"/>
              <a:gd name="connsiteY7" fmla="*/ 550133 h 662520"/>
              <a:gd name="connsiteX8" fmla="*/ 135043 w 1515876"/>
              <a:gd name="connsiteY8" fmla="*/ 564522 h 662520"/>
              <a:gd name="connsiteX9" fmla="*/ 160020 w 1515876"/>
              <a:gd name="connsiteY9" fmla="*/ 574514 h 662520"/>
              <a:gd name="connsiteX10" fmla="*/ 193357 w 1515876"/>
              <a:gd name="connsiteY10" fmla="*/ 578256 h 662520"/>
              <a:gd name="connsiteX11" fmla="*/ 233829 w 1515876"/>
              <a:gd name="connsiteY11" fmla="*/ 573672 h 662520"/>
              <a:gd name="connsiteX12" fmla="*/ 297105 w 1515876"/>
              <a:gd name="connsiteY12" fmla="*/ 537246 h 662520"/>
              <a:gd name="connsiteX13" fmla="*/ 320040 w 1515876"/>
              <a:gd name="connsiteY13" fmla="*/ 505568 h 662520"/>
              <a:gd name="connsiteX14" fmla="*/ 337261 w 1515876"/>
              <a:gd name="connsiteY14" fmla="*/ 465022 h 662520"/>
              <a:gd name="connsiteX15" fmla="*/ 348834 w 1515876"/>
              <a:gd name="connsiteY15" fmla="*/ 415691 h 662520"/>
              <a:gd name="connsiteX16" fmla="*/ 354825 w 1515876"/>
              <a:gd name="connsiteY16" fmla="*/ 357657 h 662520"/>
              <a:gd name="connsiteX17" fmla="*/ 325357 w 1515876"/>
              <a:gd name="connsiteY17" fmla="*/ 385098 h 662520"/>
              <a:gd name="connsiteX18" fmla="*/ 289466 w 1515876"/>
              <a:gd name="connsiteY18" fmla="*/ 406117 h 662520"/>
              <a:gd name="connsiteX19" fmla="*/ 247767 w 1515876"/>
              <a:gd name="connsiteY19" fmla="*/ 419568 h 662520"/>
              <a:gd name="connsiteX20" fmla="*/ 200875 w 1515876"/>
              <a:gd name="connsiteY20" fmla="*/ 424306 h 662520"/>
              <a:gd name="connsiteX21" fmla="*/ 153099 w 1515876"/>
              <a:gd name="connsiteY21" fmla="*/ 420031 h 662520"/>
              <a:gd name="connsiteX22" fmla="*/ 110150 w 1515876"/>
              <a:gd name="connsiteY22" fmla="*/ 407348 h 662520"/>
              <a:gd name="connsiteX23" fmla="*/ 72948 w 1515876"/>
              <a:gd name="connsiteY23" fmla="*/ 386472 h 662520"/>
              <a:gd name="connsiteX24" fmla="*/ 42412 w 1515876"/>
              <a:gd name="connsiteY24" fmla="*/ 357614 h 662520"/>
              <a:gd name="connsiteX25" fmla="*/ 19463 w 1515876"/>
              <a:gd name="connsiteY25" fmla="*/ 320990 h 662520"/>
              <a:gd name="connsiteX26" fmla="*/ 5019 w 1515876"/>
              <a:gd name="connsiteY26" fmla="*/ 276814 h 662520"/>
              <a:gd name="connsiteX27" fmla="*/ 0 w 1515876"/>
              <a:gd name="connsiteY27" fmla="*/ 225297 h 662520"/>
              <a:gd name="connsiteX28" fmla="*/ 4447 w 1515876"/>
              <a:gd name="connsiteY28" fmla="*/ 178425 h 662520"/>
              <a:gd name="connsiteX29" fmla="*/ 17453 w 1515876"/>
              <a:gd name="connsiteY29" fmla="*/ 135445 h 662520"/>
              <a:gd name="connsiteX30" fmla="*/ 38511 w 1515876"/>
              <a:gd name="connsiteY30" fmla="*/ 97085 h 662520"/>
              <a:gd name="connsiteX31" fmla="*/ 67116 w 1515876"/>
              <a:gd name="connsiteY31" fmla="*/ 64071 h 662520"/>
              <a:gd name="connsiteX32" fmla="*/ 102760 w 1515876"/>
              <a:gd name="connsiteY32" fmla="*/ 37129 h 662520"/>
              <a:gd name="connsiteX33" fmla="*/ 144939 w 1515876"/>
              <a:gd name="connsiteY33" fmla="*/ 16986 h 662520"/>
              <a:gd name="connsiteX34" fmla="*/ 193146 w 1515876"/>
              <a:gd name="connsiteY34" fmla="*/ 4367 h 662520"/>
              <a:gd name="connsiteX35" fmla="*/ 246875 w 1515876"/>
              <a:gd name="connsiteY35" fmla="*/ 0 h 662520"/>
              <a:gd name="connsiteX36" fmla="*/ 290625 w 1515876"/>
              <a:gd name="connsiteY36" fmla="*/ 2882 h 662520"/>
              <a:gd name="connsiteX37" fmla="*/ 331492 w 1515876"/>
              <a:gd name="connsiteY37" fmla="*/ 11678 h 662520"/>
              <a:gd name="connsiteX38" fmla="*/ 369070 w 1515876"/>
              <a:gd name="connsiteY38" fmla="*/ 26614 h 662520"/>
              <a:gd name="connsiteX39" fmla="*/ 402953 w 1515876"/>
              <a:gd name="connsiteY39" fmla="*/ 47914 h 662520"/>
              <a:gd name="connsiteX40" fmla="*/ 432736 w 1515876"/>
              <a:gd name="connsiteY40" fmla="*/ 75804 h 662520"/>
              <a:gd name="connsiteX41" fmla="*/ 458013 w 1515876"/>
              <a:gd name="connsiteY41" fmla="*/ 110509 h 662520"/>
              <a:gd name="connsiteX42" fmla="*/ 478379 w 1515876"/>
              <a:gd name="connsiteY42" fmla="*/ 152255 h 662520"/>
              <a:gd name="connsiteX43" fmla="*/ 493429 w 1515876"/>
              <a:gd name="connsiteY43" fmla="*/ 201265 h 662520"/>
              <a:gd name="connsiteX44" fmla="*/ 502756 w 1515876"/>
              <a:gd name="connsiteY44" fmla="*/ 257766 h 662520"/>
              <a:gd name="connsiteX45" fmla="*/ 505955 w 1515876"/>
              <a:gd name="connsiteY45" fmla="*/ 321983 h 662520"/>
              <a:gd name="connsiteX46" fmla="*/ 503406 w 1515876"/>
              <a:gd name="connsiteY46" fmla="*/ 376707 h 662520"/>
              <a:gd name="connsiteX47" fmla="*/ 495858 w 1515876"/>
              <a:gd name="connsiteY47" fmla="*/ 427041 h 662520"/>
              <a:gd name="connsiteX48" fmla="*/ 483456 w 1515876"/>
              <a:gd name="connsiteY48" fmla="*/ 472909 h 662520"/>
              <a:gd name="connsiteX49" fmla="*/ 466346 w 1515876"/>
              <a:gd name="connsiteY49" fmla="*/ 514232 h 662520"/>
              <a:gd name="connsiteX50" fmla="*/ 444674 w 1515876"/>
              <a:gd name="connsiteY50" fmla="*/ 550937 h 662520"/>
              <a:gd name="connsiteX51" fmla="*/ 418587 w 1515876"/>
              <a:gd name="connsiteY51" fmla="*/ 582945 h 662520"/>
              <a:gd name="connsiteX52" fmla="*/ 388229 w 1515876"/>
              <a:gd name="connsiteY52" fmla="*/ 610181 h 662520"/>
              <a:gd name="connsiteX53" fmla="*/ 353748 w 1515876"/>
              <a:gd name="connsiteY53" fmla="*/ 632569 h 662520"/>
              <a:gd name="connsiteX54" fmla="*/ 315289 w 1515876"/>
              <a:gd name="connsiteY54" fmla="*/ 650033 h 662520"/>
              <a:gd name="connsiteX55" fmla="*/ 272999 w 1515876"/>
              <a:gd name="connsiteY55" fmla="*/ 662495 h 662520"/>
              <a:gd name="connsiteX56" fmla="*/ 592162 w 1515876"/>
              <a:gd name="connsiteY56" fmla="*/ 662520 h 662520"/>
              <a:gd name="connsiteX57" fmla="*/ 571167 w 1515876"/>
              <a:gd name="connsiteY57" fmla="*/ 658030 h 662520"/>
              <a:gd name="connsiteX58" fmla="*/ 551373 w 1515876"/>
              <a:gd name="connsiteY58" fmla="*/ 652783 h 662520"/>
              <a:gd name="connsiteX59" fmla="*/ 532537 w 1515876"/>
              <a:gd name="connsiteY59" fmla="*/ 646826 h 662520"/>
              <a:gd name="connsiteX60" fmla="*/ 514413 w 1515876"/>
              <a:gd name="connsiteY60" fmla="*/ 640206 h 662520"/>
              <a:gd name="connsiteX61" fmla="*/ 514413 w 1515876"/>
              <a:gd name="connsiteY61" fmla="*/ 516293 h 662520"/>
              <a:gd name="connsiteX62" fmla="*/ 596087 w 1515876"/>
              <a:gd name="connsiteY62" fmla="*/ 516293 h 662520"/>
              <a:gd name="connsiteX63" fmla="*/ 612203 w 1515876"/>
              <a:gd name="connsiteY63" fmla="*/ 539439 h 662520"/>
              <a:gd name="connsiteX64" fmla="*/ 635627 w 1515876"/>
              <a:gd name="connsiteY64" fmla="*/ 559242 h 662520"/>
              <a:gd name="connsiteX65" fmla="*/ 666972 w 1515876"/>
              <a:gd name="connsiteY65" fmla="*/ 573062 h 662520"/>
              <a:gd name="connsiteX66" fmla="*/ 706856 w 1515876"/>
              <a:gd name="connsiteY66" fmla="*/ 578256 h 662520"/>
              <a:gd name="connsiteX67" fmla="*/ 749359 w 1515876"/>
              <a:gd name="connsiteY67" fmla="*/ 571758 h 662520"/>
              <a:gd name="connsiteX68" fmla="*/ 784298 w 1515876"/>
              <a:gd name="connsiteY68" fmla="*/ 552322 h 662520"/>
              <a:gd name="connsiteX69" fmla="*/ 807972 w 1515876"/>
              <a:gd name="connsiteY69" fmla="*/ 520038 h 662520"/>
              <a:gd name="connsiteX70" fmla="*/ 816686 w 1515876"/>
              <a:gd name="connsiteY70" fmla="*/ 474992 h 662520"/>
              <a:gd name="connsiteX71" fmla="*/ 809424 w 1515876"/>
              <a:gd name="connsiteY71" fmla="*/ 430240 h 662520"/>
              <a:gd name="connsiteX72" fmla="*/ 787466 w 1515876"/>
              <a:gd name="connsiteY72" fmla="*/ 398602 h 662520"/>
              <a:gd name="connsiteX73" fmla="*/ 750549 w 1515876"/>
              <a:gd name="connsiteY73" fmla="*/ 379812 h 662520"/>
              <a:gd name="connsiteX74" fmla="*/ 698411 w 1515876"/>
              <a:gd name="connsiteY74" fmla="*/ 373608 h 662520"/>
              <a:gd name="connsiteX75" fmla="*/ 649592 w 1515876"/>
              <a:gd name="connsiteY75" fmla="*/ 373608 h 662520"/>
              <a:gd name="connsiteX76" fmla="*/ 649592 w 1515876"/>
              <a:gd name="connsiteY76" fmla="*/ 286308 h 662520"/>
              <a:gd name="connsiteX77" fmla="*/ 690892 w 1515876"/>
              <a:gd name="connsiteY77" fmla="*/ 286308 h 662520"/>
              <a:gd name="connsiteX78" fmla="*/ 744563 w 1515876"/>
              <a:gd name="connsiteY78" fmla="*/ 280133 h 662520"/>
              <a:gd name="connsiteX79" fmla="*/ 783007 w 1515876"/>
              <a:gd name="connsiteY79" fmla="*/ 261550 h 662520"/>
              <a:gd name="connsiteX80" fmla="*/ 806137 w 1515876"/>
              <a:gd name="connsiteY80" fmla="*/ 230469 h 662520"/>
              <a:gd name="connsiteX81" fmla="*/ 813866 w 1515876"/>
              <a:gd name="connsiteY81" fmla="*/ 186804 h 662520"/>
              <a:gd name="connsiteX82" fmla="*/ 808513 w 1515876"/>
              <a:gd name="connsiteY82" fmla="*/ 149115 h 662520"/>
              <a:gd name="connsiteX83" fmla="*/ 792160 w 1515876"/>
              <a:gd name="connsiteY83" fmla="*/ 121104 h 662520"/>
              <a:gd name="connsiteX84" fmla="*/ 764365 w 1515876"/>
              <a:gd name="connsiteY84" fmla="*/ 103651 h 662520"/>
              <a:gd name="connsiteX85" fmla="*/ 724687 w 1515876"/>
              <a:gd name="connsiteY85" fmla="*/ 97637 h 662520"/>
              <a:gd name="connsiteX86" fmla="*/ 687243 w 1515876"/>
              <a:gd name="connsiteY86" fmla="*/ 102374 h 662520"/>
              <a:gd name="connsiteX87" fmla="*/ 657456 w 1515876"/>
              <a:gd name="connsiteY87" fmla="*/ 115117 h 662520"/>
              <a:gd name="connsiteX88" fmla="*/ 634533 w 1515876"/>
              <a:gd name="connsiteY88" fmla="*/ 133668 h 662520"/>
              <a:gd name="connsiteX89" fmla="*/ 617677 w 1515876"/>
              <a:gd name="connsiteY89" fmla="*/ 155828 h 662520"/>
              <a:gd name="connsiteX90" fmla="*/ 539775 w 1515876"/>
              <a:gd name="connsiteY90" fmla="*/ 155828 h 662520"/>
              <a:gd name="connsiteX91" fmla="*/ 539775 w 1515876"/>
              <a:gd name="connsiteY91" fmla="*/ 33807 h 662520"/>
              <a:gd name="connsiteX92" fmla="*/ 584006 w 1515876"/>
              <a:gd name="connsiteY92" fmla="*/ 19813 h 662520"/>
              <a:gd name="connsiteX93" fmla="*/ 631056 w 1515876"/>
              <a:gd name="connsiteY93" fmla="*/ 9159 h 662520"/>
              <a:gd name="connsiteX94" fmla="*/ 681278 w 1515876"/>
              <a:gd name="connsiteY94" fmla="*/ 2378 h 662520"/>
              <a:gd name="connsiteX95" fmla="*/ 735025 w 1515876"/>
              <a:gd name="connsiteY95" fmla="*/ 0 h 662520"/>
              <a:gd name="connsiteX96" fmla="*/ 790395 w 1515876"/>
              <a:gd name="connsiteY96" fmla="*/ 3158 h 662520"/>
              <a:gd name="connsiteX97" fmla="*/ 838689 w 1515876"/>
              <a:gd name="connsiteY97" fmla="*/ 12853 h 662520"/>
              <a:gd name="connsiteX98" fmla="*/ 879380 w 1515876"/>
              <a:gd name="connsiteY98" fmla="*/ 29412 h 662520"/>
              <a:gd name="connsiteX99" fmla="*/ 911943 w 1515876"/>
              <a:gd name="connsiteY99" fmla="*/ 53163 h 662520"/>
              <a:gd name="connsiteX100" fmla="*/ 935853 w 1515876"/>
              <a:gd name="connsiteY100" fmla="*/ 84435 h 662520"/>
              <a:gd name="connsiteX101" fmla="*/ 950584 w 1515876"/>
              <a:gd name="connsiteY101" fmla="*/ 123555 h 662520"/>
              <a:gd name="connsiteX102" fmla="*/ 955611 w 1515876"/>
              <a:gd name="connsiteY102" fmla="*/ 170853 h 662520"/>
              <a:gd name="connsiteX103" fmla="*/ 949453 w 1515876"/>
              <a:gd name="connsiteY103" fmla="*/ 219568 h 662520"/>
              <a:gd name="connsiteX104" fmla="*/ 931581 w 1515876"/>
              <a:gd name="connsiteY104" fmla="*/ 258234 h 662520"/>
              <a:gd name="connsiteX105" fmla="*/ 902895 w 1515876"/>
              <a:gd name="connsiteY105" fmla="*/ 287843 h 662520"/>
              <a:gd name="connsiteX106" fmla="*/ 864296 w 1515876"/>
              <a:gd name="connsiteY106" fmla="*/ 309388 h 662520"/>
              <a:gd name="connsiteX107" fmla="*/ 816686 w 1515876"/>
              <a:gd name="connsiteY107" fmla="*/ 323862 h 662520"/>
              <a:gd name="connsiteX108" fmla="*/ 816686 w 1515876"/>
              <a:gd name="connsiteY108" fmla="*/ 327609 h 662520"/>
              <a:gd name="connsiteX109" fmla="*/ 870681 w 1515876"/>
              <a:gd name="connsiteY109" fmla="*/ 340566 h 662520"/>
              <a:gd name="connsiteX110" fmla="*/ 912283 w 1515876"/>
              <a:gd name="connsiteY110" fmla="*/ 362534 h 662520"/>
              <a:gd name="connsiteX111" fmla="*/ 941719 w 1515876"/>
              <a:gd name="connsiteY111" fmla="*/ 393513 h 662520"/>
              <a:gd name="connsiteX112" fmla="*/ 959215 w 1515876"/>
              <a:gd name="connsiteY112" fmla="*/ 433502 h 662520"/>
              <a:gd name="connsiteX113" fmla="*/ 964996 w 1515876"/>
              <a:gd name="connsiteY113" fmla="*/ 482498 h 662520"/>
              <a:gd name="connsiteX114" fmla="*/ 959936 w 1515876"/>
              <a:gd name="connsiteY114" fmla="*/ 527743 h 662520"/>
              <a:gd name="connsiteX115" fmla="*/ 944659 w 1515876"/>
              <a:gd name="connsiteY115" fmla="*/ 567021 h 662520"/>
              <a:gd name="connsiteX116" fmla="*/ 920122 w 1515876"/>
              <a:gd name="connsiteY116" fmla="*/ 600232 h 662520"/>
              <a:gd name="connsiteX117" fmla="*/ 887285 w 1515876"/>
              <a:gd name="connsiteY117" fmla="*/ 627278 h 662520"/>
              <a:gd name="connsiteX118" fmla="*/ 847106 w 1515876"/>
              <a:gd name="connsiteY118" fmla="*/ 648061 h 662520"/>
              <a:gd name="connsiteX119" fmla="*/ 800544 w 1515876"/>
              <a:gd name="connsiteY119" fmla="*/ 662482 h 662520"/>
              <a:gd name="connsiteX120" fmla="*/ 1360843 w 1515876"/>
              <a:gd name="connsiteY120" fmla="*/ 662495 h 662520"/>
              <a:gd name="connsiteX121" fmla="*/ 1322871 w 1515876"/>
              <a:gd name="connsiteY121" fmla="*/ 649352 h 662520"/>
              <a:gd name="connsiteX122" fmla="*/ 1287296 w 1515876"/>
              <a:gd name="connsiteY122" fmla="*/ 630560 h 662520"/>
              <a:gd name="connsiteX123" fmla="*/ 1254670 w 1515876"/>
              <a:gd name="connsiteY123" fmla="*/ 606062 h 662520"/>
              <a:gd name="connsiteX124" fmla="*/ 1225546 w 1515876"/>
              <a:gd name="connsiteY124" fmla="*/ 575802 h 662520"/>
              <a:gd name="connsiteX125" fmla="*/ 1200477 w 1515876"/>
              <a:gd name="connsiteY125" fmla="*/ 539722 h 662520"/>
              <a:gd name="connsiteX126" fmla="*/ 1180016 w 1515876"/>
              <a:gd name="connsiteY126" fmla="*/ 497766 h 662520"/>
              <a:gd name="connsiteX127" fmla="*/ 1164717 w 1515876"/>
              <a:gd name="connsiteY127" fmla="*/ 449876 h 662520"/>
              <a:gd name="connsiteX128" fmla="*/ 1155131 w 1515876"/>
              <a:gd name="connsiteY128" fmla="*/ 395995 h 662520"/>
              <a:gd name="connsiteX129" fmla="*/ 1151813 w 1515876"/>
              <a:gd name="connsiteY129" fmla="*/ 336067 h 662520"/>
              <a:gd name="connsiteX130" fmla="*/ 1155053 w 1515876"/>
              <a:gd name="connsiteY130" fmla="*/ 276826 h 662520"/>
              <a:gd name="connsiteX131" fmla="*/ 1164415 w 1515876"/>
              <a:gd name="connsiteY131" fmla="*/ 223488 h 662520"/>
              <a:gd name="connsiteX132" fmla="*/ 1179368 w 1515876"/>
              <a:gd name="connsiteY132" fmla="*/ 175997 h 662520"/>
              <a:gd name="connsiteX133" fmla="*/ 1199377 w 1515876"/>
              <a:gd name="connsiteY133" fmla="*/ 134299 h 662520"/>
              <a:gd name="connsiteX134" fmla="*/ 1223910 w 1515876"/>
              <a:gd name="connsiteY134" fmla="*/ 98339 h 662520"/>
              <a:gd name="connsiteX135" fmla="*/ 1252434 w 1515876"/>
              <a:gd name="connsiteY135" fmla="*/ 68062 h 662520"/>
              <a:gd name="connsiteX136" fmla="*/ 1284414 w 1515876"/>
              <a:gd name="connsiteY136" fmla="*/ 43413 h 662520"/>
              <a:gd name="connsiteX137" fmla="*/ 1319318 w 1515876"/>
              <a:gd name="connsiteY137" fmla="*/ 24337 h 662520"/>
              <a:gd name="connsiteX138" fmla="*/ 1356613 w 1515876"/>
              <a:gd name="connsiteY138" fmla="*/ 10780 h 662520"/>
              <a:gd name="connsiteX139" fmla="*/ 1395766 w 1515876"/>
              <a:gd name="connsiteY139" fmla="*/ 2685 h 662520"/>
              <a:gd name="connsiteX140" fmla="*/ 1436243 w 1515876"/>
              <a:gd name="connsiteY140" fmla="*/ 0 h 662520"/>
              <a:gd name="connsiteX141" fmla="*/ 1476722 w 1515876"/>
              <a:gd name="connsiteY141" fmla="*/ 2685 h 662520"/>
              <a:gd name="connsiteX142" fmla="*/ 1515876 w 1515876"/>
              <a:gd name="connsiteY142" fmla="*/ 10780 h 662520"/>
              <a:gd name="connsiteX0" fmla="*/ 74231 w 1476722"/>
              <a:gd name="connsiteY0" fmla="*/ 662482 h 662520"/>
              <a:gd name="connsiteX1" fmla="*/ 60344 w 1476722"/>
              <a:gd name="connsiteY1" fmla="*/ 659582 h 662520"/>
              <a:gd name="connsiteX2" fmla="*/ 47517 w 1476722"/>
              <a:gd name="connsiteY2" fmla="*/ 656437 h 662520"/>
              <a:gd name="connsiteX3" fmla="*/ 35823 w 1476722"/>
              <a:gd name="connsiteY3" fmla="*/ 653092 h 662520"/>
              <a:gd name="connsiteX4" fmla="*/ 25336 w 1476722"/>
              <a:gd name="connsiteY4" fmla="*/ 649592 h 662520"/>
              <a:gd name="connsiteX5" fmla="*/ 25336 w 1476722"/>
              <a:gd name="connsiteY5" fmla="*/ 533196 h 662520"/>
              <a:gd name="connsiteX6" fmla="*/ 104190 w 1476722"/>
              <a:gd name="connsiteY6" fmla="*/ 533196 h 662520"/>
              <a:gd name="connsiteX7" fmla="*/ 116931 w 1476722"/>
              <a:gd name="connsiteY7" fmla="*/ 550133 h 662520"/>
              <a:gd name="connsiteX8" fmla="*/ 135043 w 1476722"/>
              <a:gd name="connsiteY8" fmla="*/ 564522 h 662520"/>
              <a:gd name="connsiteX9" fmla="*/ 160020 w 1476722"/>
              <a:gd name="connsiteY9" fmla="*/ 574514 h 662520"/>
              <a:gd name="connsiteX10" fmla="*/ 193357 w 1476722"/>
              <a:gd name="connsiteY10" fmla="*/ 578256 h 662520"/>
              <a:gd name="connsiteX11" fmla="*/ 233829 w 1476722"/>
              <a:gd name="connsiteY11" fmla="*/ 573672 h 662520"/>
              <a:gd name="connsiteX12" fmla="*/ 297105 w 1476722"/>
              <a:gd name="connsiteY12" fmla="*/ 537246 h 662520"/>
              <a:gd name="connsiteX13" fmla="*/ 320040 w 1476722"/>
              <a:gd name="connsiteY13" fmla="*/ 505568 h 662520"/>
              <a:gd name="connsiteX14" fmla="*/ 337261 w 1476722"/>
              <a:gd name="connsiteY14" fmla="*/ 465022 h 662520"/>
              <a:gd name="connsiteX15" fmla="*/ 348834 w 1476722"/>
              <a:gd name="connsiteY15" fmla="*/ 415691 h 662520"/>
              <a:gd name="connsiteX16" fmla="*/ 354825 w 1476722"/>
              <a:gd name="connsiteY16" fmla="*/ 357657 h 662520"/>
              <a:gd name="connsiteX17" fmla="*/ 325357 w 1476722"/>
              <a:gd name="connsiteY17" fmla="*/ 385098 h 662520"/>
              <a:gd name="connsiteX18" fmla="*/ 289466 w 1476722"/>
              <a:gd name="connsiteY18" fmla="*/ 406117 h 662520"/>
              <a:gd name="connsiteX19" fmla="*/ 247767 w 1476722"/>
              <a:gd name="connsiteY19" fmla="*/ 419568 h 662520"/>
              <a:gd name="connsiteX20" fmla="*/ 200875 w 1476722"/>
              <a:gd name="connsiteY20" fmla="*/ 424306 h 662520"/>
              <a:gd name="connsiteX21" fmla="*/ 153099 w 1476722"/>
              <a:gd name="connsiteY21" fmla="*/ 420031 h 662520"/>
              <a:gd name="connsiteX22" fmla="*/ 110150 w 1476722"/>
              <a:gd name="connsiteY22" fmla="*/ 407348 h 662520"/>
              <a:gd name="connsiteX23" fmla="*/ 72948 w 1476722"/>
              <a:gd name="connsiteY23" fmla="*/ 386472 h 662520"/>
              <a:gd name="connsiteX24" fmla="*/ 42412 w 1476722"/>
              <a:gd name="connsiteY24" fmla="*/ 357614 h 662520"/>
              <a:gd name="connsiteX25" fmla="*/ 19463 w 1476722"/>
              <a:gd name="connsiteY25" fmla="*/ 320990 h 662520"/>
              <a:gd name="connsiteX26" fmla="*/ 5019 w 1476722"/>
              <a:gd name="connsiteY26" fmla="*/ 276814 h 662520"/>
              <a:gd name="connsiteX27" fmla="*/ 0 w 1476722"/>
              <a:gd name="connsiteY27" fmla="*/ 225297 h 662520"/>
              <a:gd name="connsiteX28" fmla="*/ 4447 w 1476722"/>
              <a:gd name="connsiteY28" fmla="*/ 178425 h 662520"/>
              <a:gd name="connsiteX29" fmla="*/ 17453 w 1476722"/>
              <a:gd name="connsiteY29" fmla="*/ 135445 h 662520"/>
              <a:gd name="connsiteX30" fmla="*/ 38511 w 1476722"/>
              <a:gd name="connsiteY30" fmla="*/ 97085 h 662520"/>
              <a:gd name="connsiteX31" fmla="*/ 67116 w 1476722"/>
              <a:gd name="connsiteY31" fmla="*/ 64071 h 662520"/>
              <a:gd name="connsiteX32" fmla="*/ 102760 w 1476722"/>
              <a:gd name="connsiteY32" fmla="*/ 37129 h 662520"/>
              <a:gd name="connsiteX33" fmla="*/ 144939 w 1476722"/>
              <a:gd name="connsiteY33" fmla="*/ 16986 h 662520"/>
              <a:gd name="connsiteX34" fmla="*/ 193146 w 1476722"/>
              <a:gd name="connsiteY34" fmla="*/ 4367 h 662520"/>
              <a:gd name="connsiteX35" fmla="*/ 246875 w 1476722"/>
              <a:gd name="connsiteY35" fmla="*/ 0 h 662520"/>
              <a:gd name="connsiteX36" fmla="*/ 290625 w 1476722"/>
              <a:gd name="connsiteY36" fmla="*/ 2882 h 662520"/>
              <a:gd name="connsiteX37" fmla="*/ 331492 w 1476722"/>
              <a:gd name="connsiteY37" fmla="*/ 11678 h 662520"/>
              <a:gd name="connsiteX38" fmla="*/ 369070 w 1476722"/>
              <a:gd name="connsiteY38" fmla="*/ 26614 h 662520"/>
              <a:gd name="connsiteX39" fmla="*/ 402953 w 1476722"/>
              <a:gd name="connsiteY39" fmla="*/ 47914 h 662520"/>
              <a:gd name="connsiteX40" fmla="*/ 432736 w 1476722"/>
              <a:gd name="connsiteY40" fmla="*/ 75804 h 662520"/>
              <a:gd name="connsiteX41" fmla="*/ 458013 w 1476722"/>
              <a:gd name="connsiteY41" fmla="*/ 110509 h 662520"/>
              <a:gd name="connsiteX42" fmla="*/ 478379 w 1476722"/>
              <a:gd name="connsiteY42" fmla="*/ 152255 h 662520"/>
              <a:gd name="connsiteX43" fmla="*/ 493429 w 1476722"/>
              <a:gd name="connsiteY43" fmla="*/ 201265 h 662520"/>
              <a:gd name="connsiteX44" fmla="*/ 502756 w 1476722"/>
              <a:gd name="connsiteY44" fmla="*/ 257766 h 662520"/>
              <a:gd name="connsiteX45" fmla="*/ 505955 w 1476722"/>
              <a:gd name="connsiteY45" fmla="*/ 321983 h 662520"/>
              <a:gd name="connsiteX46" fmla="*/ 503406 w 1476722"/>
              <a:gd name="connsiteY46" fmla="*/ 376707 h 662520"/>
              <a:gd name="connsiteX47" fmla="*/ 495858 w 1476722"/>
              <a:gd name="connsiteY47" fmla="*/ 427041 h 662520"/>
              <a:gd name="connsiteX48" fmla="*/ 483456 w 1476722"/>
              <a:gd name="connsiteY48" fmla="*/ 472909 h 662520"/>
              <a:gd name="connsiteX49" fmla="*/ 466346 w 1476722"/>
              <a:gd name="connsiteY49" fmla="*/ 514232 h 662520"/>
              <a:gd name="connsiteX50" fmla="*/ 444674 w 1476722"/>
              <a:gd name="connsiteY50" fmla="*/ 550937 h 662520"/>
              <a:gd name="connsiteX51" fmla="*/ 418587 w 1476722"/>
              <a:gd name="connsiteY51" fmla="*/ 582945 h 662520"/>
              <a:gd name="connsiteX52" fmla="*/ 388229 w 1476722"/>
              <a:gd name="connsiteY52" fmla="*/ 610181 h 662520"/>
              <a:gd name="connsiteX53" fmla="*/ 353748 w 1476722"/>
              <a:gd name="connsiteY53" fmla="*/ 632569 h 662520"/>
              <a:gd name="connsiteX54" fmla="*/ 315289 w 1476722"/>
              <a:gd name="connsiteY54" fmla="*/ 650033 h 662520"/>
              <a:gd name="connsiteX55" fmla="*/ 272999 w 1476722"/>
              <a:gd name="connsiteY55" fmla="*/ 662495 h 662520"/>
              <a:gd name="connsiteX56" fmla="*/ 592162 w 1476722"/>
              <a:gd name="connsiteY56" fmla="*/ 662520 h 662520"/>
              <a:gd name="connsiteX57" fmla="*/ 571167 w 1476722"/>
              <a:gd name="connsiteY57" fmla="*/ 658030 h 662520"/>
              <a:gd name="connsiteX58" fmla="*/ 551373 w 1476722"/>
              <a:gd name="connsiteY58" fmla="*/ 652783 h 662520"/>
              <a:gd name="connsiteX59" fmla="*/ 532537 w 1476722"/>
              <a:gd name="connsiteY59" fmla="*/ 646826 h 662520"/>
              <a:gd name="connsiteX60" fmla="*/ 514413 w 1476722"/>
              <a:gd name="connsiteY60" fmla="*/ 640206 h 662520"/>
              <a:gd name="connsiteX61" fmla="*/ 514413 w 1476722"/>
              <a:gd name="connsiteY61" fmla="*/ 516293 h 662520"/>
              <a:gd name="connsiteX62" fmla="*/ 596087 w 1476722"/>
              <a:gd name="connsiteY62" fmla="*/ 516293 h 662520"/>
              <a:gd name="connsiteX63" fmla="*/ 612203 w 1476722"/>
              <a:gd name="connsiteY63" fmla="*/ 539439 h 662520"/>
              <a:gd name="connsiteX64" fmla="*/ 635627 w 1476722"/>
              <a:gd name="connsiteY64" fmla="*/ 559242 h 662520"/>
              <a:gd name="connsiteX65" fmla="*/ 666972 w 1476722"/>
              <a:gd name="connsiteY65" fmla="*/ 573062 h 662520"/>
              <a:gd name="connsiteX66" fmla="*/ 706856 w 1476722"/>
              <a:gd name="connsiteY66" fmla="*/ 578256 h 662520"/>
              <a:gd name="connsiteX67" fmla="*/ 749359 w 1476722"/>
              <a:gd name="connsiteY67" fmla="*/ 571758 h 662520"/>
              <a:gd name="connsiteX68" fmla="*/ 784298 w 1476722"/>
              <a:gd name="connsiteY68" fmla="*/ 552322 h 662520"/>
              <a:gd name="connsiteX69" fmla="*/ 807972 w 1476722"/>
              <a:gd name="connsiteY69" fmla="*/ 520038 h 662520"/>
              <a:gd name="connsiteX70" fmla="*/ 816686 w 1476722"/>
              <a:gd name="connsiteY70" fmla="*/ 474992 h 662520"/>
              <a:gd name="connsiteX71" fmla="*/ 809424 w 1476722"/>
              <a:gd name="connsiteY71" fmla="*/ 430240 h 662520"/>
              <a:gd name="connsiteX72" fmla="*/ 787466 w 1476722"/>
              <a:gd name="connsiteY72" fmla="*/ 398602 h 662520"/>
              <a:gd name="connsiteX73" fmla="*/ 750549 w 1476722"/>
              <a:gd name="connsiteY73" fmla="*/ 379812 h 662520"/>
              <a:gd name="connsiteX74" fmla="*/ 698411 w 1476722"/>
              <a:gd name="connsiteY74" fmla="*/ 373608 h 662520"/>
              <a:gd name="connsiteX75" fmla="*/ 649592 w 1476722"/>
              <a:gd name="connsiteY75" fmla="*/ 373608 h 662520"/>
              <a:gd name="connsiteX76" fmla="*/ 649592 w 1476722"/>
              <a:gd name="connsiteY76" fmla="*/ 286308 h 662520"/>
              <a:gd name="connsiteX77" fmla="*/ 690892 w 1476722"/>
              <a:gd name="connsiteY77" fmla="*/ 286308 h 662520"/>
              <a:gd name="connsiteX78" fmla="*/ 744563 w 1476722"/>
              <a:gd name="connsiteY78" fmla="*/ 280133 h 662520"/>
              <a:gd name="connsiteX79" fmla="*/ 783007 w 1476722"/>
              <a:gd name="connsiteY79" fmla="*/ 261550 h 662520"/>
              <a:gd name="connsiteX80" fmla="*/ 806137 w 1476722"/>
              <a:gd name="connsiteY80" fmla="*/ 230469 h 662520"/>
              <a:gd name="connsiteX81" fmla="*/ 813866 w 1476722"/>
              <a:gd name="connsiteY81" fmla="*/ 186804 h 662520"/>
              <a:gd name="connsiteX82" fmla="*/ 808513 w 1476722"/>
              <a:gd name="connsiteY82" fmla="*/ 149115 h 662520"/>
              <a:gd name="connsiteX83" fmla="*/ 792160 w 1476722"/>
              <a:gd name="connsiteY83" fmla="*/ 121104 h 662520"/>
              <a:gd name="connsiteX84" fmla="*/ 764365 w 1476722"/>
              <a:gd name="connsiteY84" fmla="*/ 103651 h 662520"/>
              <a:gd name="connsiteX85" fmla="*/ 724687 w 1476722"/>
              <a:gd name="connsiteY85" fmla="*/ 97637 h 662520"/>
              <a:gd name="connsiteX86" fmla="*/ 687243 w 1476722"/>
              <a:gd name="connsiteY86" fmla="*/ 102374 h 662520"/>
              <a:gd name="connsiteX87" fmla="*/ 657456 w 1476722"/>
              <a:gd name="connsiteY87" fmla="*/ 115117 h 662520"/>
              <a:gd name="connsiteX88" fmla="*/ 634533 w 1476722"/>
              <a:gd name="connsiteY88" fmla="*/ 133668 h 662520"/>
              <a:gd name="connsiteX89" fmla="*/ 617677 w 1476722"/>
              <a:gd name="connsiteY89" fmla="*/ 155828 h 662520"/>
              <a:gd name="connsiteX90" fmla="*/ 539775 w 1476722"/>
              <a:gd name="connsiteY90" fmla="*/ 155828 h 662520"/>
              <a:gd name="connsiteX91" fmla="*/ 539775 w 1476722"/>
              <a:gd name="connsiteY91" fmla="*/ 33807 h 662520"/>
              <a:gd name="connsiteX92" fmla="*/ 584006 w 1476722"/>
              <a:gd name="connsiteY92" fmla="*/ 19813 h 662520"/>
              <a:gd name="connsiteX93" fmla="*/ 631056 w 1476722"/>
              <a:gd name="connsiteY93" fmla="*/ 9159 h 662520"/>
              <a:gd name="connsiteX94" fmla="*/ 681278 w 1476722"/>
              <a:gd name="connsiteY94" fmla="*/ 2378 h 662520"/>
              <a:gd name="connsiteX95" fmla="*/ 735025 w 1476722"/>
              <a:gd name="connsiteY95" fmla="*/ 0 h 662520"/>
              <a:gd name="connsiteX96" fmla="*/ 790395 w 1476722"/>
              <a:gd name="connsiteY96" fmla="*/ 3158 h 662520"/>
              <a:gd name="connsiteX97" fmla="*/ 838689 w 1476722"/>
              <a:gd name="connsiteY97" fmla="*/ 12853 h 662520"/>
              <a:gd name="connsiteX98" fmla="*/ 879380 w 1476722"/>
              <a:gd name="connsiteY98" fmla="*/ 29412 h 662520"/>
              <a:gd name="connsiteX99" fmla="*/ 911943 w 1476722"/>
              <a:gd name="connsiteY99" fmla="*/ 53163 h 662520"/>
              <a:gd name="connsiteX100" fmla="*/ 935853 w 1476722"/>
              <a:gd name="connsiteY100" fmla="*/ 84435 h 662520"/>
              <a:gd name="connsiteX101" fmla="*/ 950584 w 1476722"/>
              <a:gd name="connsiteY101" fmla="*/ 123555 h 662520"/>
              <a:gd name="connsiteX102" fmla="*/ 955611 w 1476722"/>
              <a:gd name="connsiteY102" fmla="*/ 170853 h 662520"/>
              <a:gd name="connsiteX103" fmla="*/ 949453 w 1476722"/>
              <a:gd name="connsiteY103" fmla="*/ 219568 h 662520"/>
              <a:gd name="connsiteX104" fmla="*/ 931581 w 1476722"/>
              <a:gd name="connsiteY104" fmla="*/ 258234 h 662520"/>
              <a:gd name="connsiteX105" fmla="*/ 902895 w 1476722"/>
              <a:gd name="connsiteY105" fmla="*/ 287843 h 662520"/>
              <a:gd name="connsiteX106" fmla="*/ 864296 w 1476722"/>
              <a:gd name="connsiteY106" fmla="*/ 309388 h 662520"/>
              <a:gd name="connsiteX107" fmla="*/ 816686 w 1476722"/>
              <a:gd name="connsiteY107" fmla="*/ 323862 h 662520"/>
              <a:gd name="connsiteX108" fmla="*/ 816686 w 1476722"/>
              <a:gd name="connsiteY108" fmla="*/ 327609 h 662520"/>
              <a:gd name="connsiteX109" fmla="*/ 870681 w 1476722"/>
              <a:gd name="connsiteY109" fmla="*/ 340566 h 662520"/>
              <a:gd name="connsiteX110" fmla="*/ 912283 w 1476722"/>
              <a:gd name="connsiteY110" fmla="*/ 362534 h 662520"/>
              <a:gd name="connsiteX111" fmla="*/ 941719 w 1476722"/>
              <a:gd name="connsiteY111" fmla="*/ 393513 h 662520"/>
              <a:gd name="connsiteX112" fmla="*/ 959215 w 1476722"/>
              <a:gd name="connsiteY112" fmla="*/ 433502 h 662520"/>
              <a:gd name="connsiteX113" fmla="*/ 964996 w 1476722"/>
              <a:gd name="connsiteY113" fmla="*/ 482498 h 662520"/>
              <a:gd name="connsiteX114" fmla="*/ 959936 w 1476722"/>
              <a:gd name="connsiteY114" fmla="*/ 527743 h 662520"/>
              <a:gd name="connsiteX115" fmla="*/ 944659 w 1476722"/>
              <a:gd name="connsiteY115" fmla="*/ 567021 h 662520"/>
              <a:gd name="connsiteX116" fmla="*/ 920122 w 1476722"/>
              <a:gd name="connsiteY116" fmla="*/ 600232 h 662520"/>
              <a:gd name="connsiteX117" fmla="*/ 887285 w 1476722"/>
              <a:gd name="connsiteY117" fmla="*/ 627278 h 662520"/>
              <a:gd name="connsiteX118" fmla="*/ 847106 w 1476722"/>
              <a:gd name="connsiteY118" fmla="*/ 648061 h 662520"/>
              <a:gd name="connsiteX119" fmla="*/ 800544 w 1476722"/>
              <a:gd name="connsiteY119" fmla="*/ 662482 h 662520"/>
              <a:gd name="connsiteX120" fmla="*/ 1360843 w 1476722"/>
              <a:gd name="connsiteY120" fmla="*/ 662495 h 662520"/>
              <a:gd name="connsiteX121" fmla="*/ 1322871 w 1476722"/>
              <a:gd name="connsiteY121" fmla="*/ 649352 h 662520"/>
              <a:gd name="connsiteX122" fmla="*/ 1287296 w 1476722"/>
              <a:gd name="connsiteY122" fmla="*/ 630560 h 662520"/>
              <a:gd name="connsiteX123" fmla="*/ 1254670 w 1476722"/>
              <a:gd name="connsiteY123" fmla="*/ 606062 h 662520"/>
              <a:gd name="connsiteX124" fmla="*/ 1225546 w 1476722"/>
              <a:gd name="connsiteY124" fmla="*/ 575802 h 662520"/>
              <a:gd name="connsiteX125" fmla="*/ 1200477 w 1476722"/>
              <a:gd name="connsiteY125" fmla="*/ 539722 h 662520"/>
              <a:gd name="connsiteX126" fmla="*/ 1180016 w 1476722"/>
              <a:gd name="connsiteY126" fmla="*/ 497766 h 662520"/>
              <a:gd name="connsiteX127" fmla="*/ 1164717 w 1476722"/>
              <a:gd name="connsiteY127" fmla="*/ 449876 h 662520"/>
              <a:gd name="connsiteX128" fmla="*/ 1155131 w 1476722"/>
              <a:gd name="connsiteY128" fmla="*/ 395995 h 662520"/>
              <a:gd name="connsiteX129" fmla="*/ 1151813 w 1476722"/>
              <a:gd name="connsiteY129" fmla="*/ 336067 h 662520"/>
              <a:gd name="connsiteX130" fmla="*/ 1155053 w 1476722"/>
              <a:gd name="connsiteY130" fmla="*/ 276826 h 662520"/>
              <a:gd name="connsiteX131" fmla="*/ 1164415 w 1476722"/>
              <a:gd name="connsiteY131" fmla="*/ 223488 h 662520"/>
              <a:gd name="connsiteX132" fmla="*/ 1179368 w 1476722"/>
              <a:gd name="connsiteY132" fmla="*/ 175997 h 662520"/>
              <a:gd name="connsiteX133" fmla="*/ 1199377 w 1476722"/>
              <a:gd name="connsiteY133" fmla="*/ 134299 h 662520"/>
              <a:gd name="connsiteX134" fmla="*/ 1223910 w 1476722"/>
              <a:gd name="connsiteY134" fmla="*/ 98339 h 662520"/>
              <a:gd name="connsiteX135" fmla="*/ 1252434 w 1476722"/>
              <a:gd name="connsiteY135" fmla="*/ 68062 h 662520"/>
              <a:gd name="connsiteX136" fmla="*/ 1284414 w 1476722"/>
              <a:gd name="connsiteY136" fmla="*/ 43413 h 662520"/>
              <a:gd name="connsiteX137" fmla="*/ 1319318 w 1476722"/>
              <a:gd name="connsiteY137" fmla="*/ 24337 h 662520"/>
              <a:gd name="connsiteX138" fmla="*/ 1356613 w 1476722"/>
              <a:gd name="connsiteY138" fmla="*/ 10780 h 662520"/>
              <a:gd name="connsiteX139" fmla="*/ 1395766 w 1476722"/>
              <a:gd name="connsiteY139" fmla="*/ 2685 h 662520"/>
              <a:gd name="connsiteX140" fmla="*/ 1436243 w 1476722"/>
              <a:gd name="connsiteY140" fmla="*/ 0 h 662520"/>
              <a:gd name="connsiteX141" fmla="*/ 1476722 w 1476722"/>
              <a:gd name="connsiteY141" fmla="*/ 2685 h 662520"/>
              <a:gd name="connsiteX0" fmla="*/ 74231 w 1436243"/>
              <a:gd name="connsiteY0" fmla="*/ 662482 h 662520"/>
              <a:gd name="connsiteX1" fmla="*/ 60344 w 1436243"/>
              <a:gd name="connsiteY1" fmla="*/ 659582 h 662520"/>
              <a:gd name="connsiteX2" fmla="*/ 47517 w 1436243"/>
              <a:gd name="connsiteY2" fmla="*/ 656437 h 662520"/>
              <a:gd name="connsiteX3" fmla="*/ 35823 w 1436243"/>
              <a:gd name="connsiteY3" fmla="*/ 653092 h 662520"/>
              <a:gd name="connsiteX4" fmla="*/ 25336 w 1436243"/>
              <a:gd name="connsiteY4" fmla="*/ 649592 h 662520"/>
              <a:gd name="connsiteX5" fmla="*/ 25336 w 1436243"/>
              <a:gd name="connsiteY5" fmla="*/ 533196 h 662520"/>
              <a:gd name="connsiteX6" fmla="*/ 104190 w 1436243"/>
              <a:gd name="connsiteY6" fmla="*/ 533196 h 662520"/>
              <a:gd name="connsiteX7" fmla="*/ 116931 w 1436243"/>
              <a:gd name="connsiteY7" fmla="*/ 550133 h 662520"/>
              <a:gd name="connsiteX8" fmla="*/ 135043 w 1436243"/>
              <a:gd name="connsiteY8" fmla="*/ 564522 h 662520"/>
              <a:gd name="connsiteX9" fmla="*/ 160020 w 1436243"/>
              <a:gd name="connsiteY9" fmla="*/ 574514 h 662520"/>
              <a:gd name="connsiteX10" fmla="*/ 193357 w 1436243"/>
              <a:gd name="connsiteY10" fmla="*/ 578256 h 662520"/>
              <a:gd name="connsiteX11" fmla="*/ 233829 w 1436243"/>
              <a:gd name="connsiteY11" fmla="*/ 573672 h 662520"/>
              <a:gd name="connsiteX12" fmla="*/ 297105 w 1436243"/>
              <a:gd name="connsiteY12" fmla="*/ 537246 h 662520"/>
              <a:gd name="connsiteX13" fmla="*/ 320040 w 1436243"/>
              <a:gd name="connsiteY13" fmla="*/ 505568 h 662520"/>
              <a:gd name="connsiteX14" fmla="*/ 337261 w 1436243"/>
              <a:gd name="connsiteY14" fmla="*/ 465022 h 662520"/>
              <a:gd name="connsiteX15" fmla="*/ 348834 w 1436243"/>
              <a:gd name="connsiteY15" fmla="*/ 415691 h 662520"/>
              <a:gd name="connsiteX16" fmla="*/ 354825 w 1436243"/>
              <a:gd name="connsiteY16" fmla="*/ 357657 h 662520"/>
              <a:gd name="connsiteX17" fmla="*/ 325357 w 1436243"/>
              <a:gd name="connsiteY17" fmla="*/ 385098 h 662520"/>
              <a:gd name="connsiteX18" fmla="*/ 289466 w 1436243"/>
              <a:gd name="connsiteY18" fmla="*/ 406117 h 662520"/>
              <a:gd name="connsiteX19" fmla="*/ 247767 w 1436243"/>
              <a:gd name="connsiteY19" fmla="*/ 419568 h 662520"/>
              <a:gd name="connsiteX20" fmla="*/ 200875 w 1436243"/>
              <a:gd name="connsiteY20" fmla="*/ 424306 h 662520"/>
              <a:gd name="connsiteX21" fmla="*/ 153099 w 1436243"/>
              <a:gd name="connsiteY21" fmla="*/ 420031 h 662520"/>
              <a:gd name="connsiteX22" fmla="*/ 110150 w 1436243"/>
              <a:gd name="connsiteY22" fmla="*/ 407348 h 662520"/>
              <a:gd name="connsiteX23" fmla="*/ 72948 w 1436243"/>
              <a:gd name="connsiteY23" fmla="*/ 386472 h 662520"/>
              <a:gd name="connsiteX24" fmla="*/ 42412 w 1436243"/>
              <a:gd name="connsiteY24" fmla="*/ 357614 h 662520"/>
              <a:gd name="connsiteX25" fmla="*/ 19463 w 1436243"/>
              <a:gd name="connsiteY25" fmla="*/ 320990 h 662520"/>
              <a:gd name="connsiteX26" fmla="*/ 5019 w 1436243"/>
              <a:gd name="connsiteY26" fmla="*/ 276814 h 662520"/>
              <a:gd name="connsiteX27" fmla="*/ 0 w 1436243"/>
              <a:gd name="connsiteY27" fmla="*/ 225297 h 662520"/>
              <a:gd name="connsiteX28" fmla="*/ 4447 w 1436243"/>
              <a:gd name="connsiteY28" fmla="*/ 178425 h 662520"/>
              <a:gd name="connsiteX29" fmla="*/ 17453 w 1436243"/>
              <a:gd name="connsiteY29" fmla="*/ 135445 h 662520"/>
              <a:gd name="connsiteX30" fmla="*/ 38511 w 1436243"/>
              <a:gd name="connsiteY30" fmla="*/ 97085 h 662520"/>
              <a:gd name="connsiteX31" fmla="*/ 67116 w 1436243"/>
              <a:gd name="connsiteY31" fmla="*/ 64071 h 662520"/>
              <a:gd name="connsiteX32" fmla="*/ 102760 w 1436243"/>
              <a:gd name="connsiteY32" fmla="*/ 37129 h 662520"/>
              <a:gd name="connsiteX33" fmla="*/ 144939 w 1436243"/>
              <a:gd name="connsiteY33" fmla="*/ 16986 h 662520"/>
              <a:gd name="connsiteX34" fmla="*/ 193146 w 1436243"/>
              <a:gd name="connsiteY34" fmla="*/ 4367 h 662520"/>
              <a:gd name="connsiteX35" fmla="*/ 246875 w 1436243"/>
              <a:gd name="connsiteY35" fmla="*/ 0 h 662520"/>
              <a:gd name="connsiteX36" fmla="*/ 290625 w 1436243"/>
              <a:gd name="connsiteY36" fmla="*/ 2882 h 662520"/>
              <a:gd name="connsiteX37" fmla="*/ 331492 w 1436243"/>
              <a:gd name="connsiteY37" fmla="*/ 11678 h 662520"/>
              <a:gd name="connsiteX38" fmla="*/ 369070 w 1436243"/>
              <a:gd name="connsiteY38" fmla="*/ 26614 h 662520"/>
              <a:gd name="connsiteX39" fmla="*/ 402953 w 1436243"/>
              <a:gd name="connsiteY39" fmla="*/ 47914 h 662520"/>
              <a:gd name="connsiteX40" fmla="*/ 432736 w 1436243"/>
              <a:gd name="connsiteY40" fmla="*/ 75804 h 662520"/>
              <a:gd name="connsiteX41" fmla="*/ 458013 w 1436243"/>
              <a:gd name="connsiteY41" fmla="*/ 110509 h 662520"/>
              <a:gd name="connsiteX42" fmla="*/ 478379 w 1436243"/>
              <a:gd name="connsiteY42" fmla="*/ 152255 h 662520"/>
              <a:gd name="connsiteX43" fmla="*/ 493429 w 1436243"/>
              <a:gd name="connsiteY43" fmla="*/ 201265 h 662520"/>
              <a:gd name="connsiteX44" fmla="*/ 502756 w 1436243"/>
              <a:gd name="connsiteY44" fmla="*/ 257766 h 662520"/>
              <a:gd name="connsiteX45" fmla="*/ 505955 w 1436243"/>
              <a:gd name="connsiteY45" fmla="*/ 321983 h 662520"/>
              <a:gd name="connsiteX46" fmla="*/ 503406 w 1436243"/>
              <a:gd name="connsiteY46" fmla="*/ 376707 h 662520"/>
              <a:gd name="connsiteX47" fmla="*/ 495858 w 1436243"/>
              <a:gd name="connsiteY47" fmla="*/ 427041 h 662520"/>
              <a:gd name="connsiteX48" fmla="*/ 483456 w 1436243"/>
              <a:gd name="connsiteY48" fmla="*/ 472909 h 662520"/>
              <a:gd name="connsiteX49" fmla="*/ 466346 w 1436243"/>
              <a:gd name="connsiteY49" fmla="*/ 514232 h 662520"/>
              <a:gd name="connsiteX50" fmla="*/ 444674 w 1436243"/>
              <a:gd name="connsiteY50" fmla="*/ 550937 h 662520"/>
              <a:gd name="connsiteX51" fmla="*/ 418587 w 1436243"/>
              <a:gd name="connsiteY51" fmla="*/ 582945 h 662520"/>
              <a:gd name="connsiteX52" fmla="*/ 388229 w 1436243"/>
              <a:gd name="connsiteY52" fmla="*/ 610181 h 662520"/>
              <a:gd name="connsiteX53" fmla="*/ 353748 w 1436243"/>
              <a:gd name="connsiteY53" fmla="*/ 632569 h 662520"/>
              <a:gd name="connsiteX54" fmla="*/ 315289 w 1436243"/>
              <a:gd name="connsiteY54" fmla="*/ 650033 h 662520"/>
              <a:gd name="connsiteX55" fmla="*/ 272999 w 1436243"/>
              <a:gd name="connsiteY55" fmla="*/ 662495 h 662520"/>
              <a:gd name="connsiteX56" fmla="*/ 592162 w 1436243"/>
              <a:gd name="connsiteY56" fmla="*/ 662520 h 662520"/>
              <a:gd name="connsiteX57" fmla="*/ 571167 w 1436243"/>
              <a:gd name="connsiteY57" fmla="*/ 658030 h 662520"/>
              <a:gd name="connsiteX58" fmla="*/ 551373 w 1436243"/>
              <a:gd name="connsiteY58" fmla="*/ 652783 h 662520"/>
              <a:gd name="connsiteX59" fmla="*/ 532537 w 1436243"/>
              <a:gd name="connsiteY59" fmla="*/ 646826 h 662520"/>
              <a:gd name="connsiteX60" fmla="*/ 514413 w 1436243"/>
              <a:gd name="connsiteY60" fmla="*/ 640206 h 662520"/>
              <a:gd name="connsiteX61" fmla="*/ 514413 w 1436243"/>
              <a:gd name="connsiteY61" fmla="*/ 516293 h 662520"/>
              <a:gd name="connsiteX62" fmla="*/ 596087 w 1436243"/>
              <a:gd name="connsiteY62" fmla="*/ 516293 h 662520"/>
              <a:gd name="connsiteX63" fmla="*/ 612203 w 1436243"/>
              <a:gd name="connsiteY63" fmla="*/ 539439 h 662520"/>
              <a:gd name="connsiteX64" fmla="*/ 635627 w 1436243"/>
              <a:gd name="connsiteY64" fmla="*/ 559242 h 662520"/>
              <a:gd name="connsiteX65" fmla="*/ 666972 w 1436243"/>
              <a:gd name="connsiteY65" fmla="*/ 573062 h 662520"/>
              <a:gd name="connsiteX66" fmla="*/ 706856 w 1436243"/>
              <a:gd name="connsiteY66" fmla="*/ 578256 h 662520"/>
              <a:gd name="connsiteX67" fmla="*/ 749359 w 1436243"/>
              <a:gd name="connsiteY67" fmla="*/ 571758 h 662520"/>
              <a:gd name="connsiteX68" fmla="*/ 784298 w 1436243"/>
              <a:gd name="connsiteY68" fmla="*/ 552322 h 662520"/>
              <a:gd name="connsiteX69" fmla="*/ 807972 w 1436243"/>
              <a:gd name="connsiteY69" fmla="*/ 520038 h 662520"/>
              <a:gd name="connsiteX70" fmla="*/ 816686 w 1436243"/>
              <a:gd name="connsiteY70" fmla="*/ 474992 h 662520"/>
              <a:gd name="connsiteX71" fmla="*/ 809424 w 1436243"/>
              <a:gd name="connsiteY71" fmla="*/ 430240 h 662520"/>
              <a:gd name="connsiteX72" fmla="*/ 787466 w 1436243"/>
              <a:gd name="connsiteY72" fmla="*/ 398602 h 662520"/>
              <a:gd name="connsiteX73" fmla="*/ 750549 w 1436243"/>
              <a:gd name="connsiteY73" fmla="*/ 379812 h 662520"/>
              <a:gd name="connsiteX74" fmla="*/ 698411 w 1436243"/>
              <a:gd name="connsiteY74" fmla="*/ 373608 h 662520"/>
              <a:gd name="connsiteX75" fmla="*/ 649592 w 1436243"/>
              <a:gd name="connsiteY75" fmla="*/ 373608 h 662520"/>
              <a:gd name="connsiteX76" fmla="*/ 649592 w 1436243"/>
              <a:gd name="connsiteY76" fmla="*/ 286308 h 662520"/>
              <a:gd name="connsiteX77" fmla="*/ 690892 w 1436243"/>
              <a:gd name="connsiteY77" fmla="*/ 286308 h 662520"/>
              <a:gd name="connsiteX78" fmla="*/ 744563 w 1436243"/>
              <a:gd name="connsiteY78" fmla="*/ 280133 h 662520"/>
              <a:gd name="connsiteX79" fmla="*/ 783007 w 1436243"/>
              <a:gd name="connsiteY79" fmla="*/ 261550 h 662520"/>
              <a:gd name="connsiteX80" fmla="*/ 806137 w 1436243"/>
              <a:gd name="connsiteY80" fmla="*/ 230469 h 662520"/>
              <a:gd name="connsiteX81" fmla="*/ 813866 w 1436243"/>
              <a:gd name="connsiteY81" fmla="*/ 186804 h 662520"/>
              <a:gd name="connsiteX82" fmla="*/ 808513 w 1436243"/>
              <a:gd name="connsiteY82" fmla="*/ 149115 h 662520"/>
              <a:gd name="connsiteX83" fmla="*/ 792160 w 1436243"/>
              <a:gd name="connsiteY83" fmla="*/ 121104 h 662520"/>
              <a:gd name="connsiteX84" fmla="*/ 764365 w 1436243"/>
              <a:gd name="connsiteY84" fmla="*/ 103651 h 662520"/>
              <a:gd name="connsiteX85" fmla="*/ 724687 w 1436243"/>
              <a:gd name="connsiteY85" fmla="*/ 97637 h 662520"/>
              <a:gd name="connsiteX86" fmla="*/ 687243 w 1436243"/>
              <a:gd name="connsiteY86" fmla="*/ 102374 h 662520"/>
              <a:gd name="connsiteX87" fmla="*/ 657456 w 1436243"/>
              <a:gd name="connsiteY87" fmla="*/ 115117 h 662520"/>
              <a:gd name="connsiteX88" fmla="*/ 634533 w 1436243"/>
              <a:gd name="connsiteY88" fmla="*/ 133668 h 662520"/>
              <a:gd name="connsiteX89" fmla="*/ 617677 w 1436243"/>
              <a:gd name="connsiteY89" fmla="*/ 155828 h 662520"/>
              <a:gd name="connsiteX90" fmla="*/ 539775 w 1436243"/>
              <a:gd name="connsiteY90" fmla="*/ 155828 h 662520"/>
              <a:gd name="connsiteX91" fmla="*/ 539775 w 1436243"/>
              <a:gd name="connsiteY91" fmla="*/ 33807 h 662520"/>
              <a:gd name="connsiteX92" fmla="*/ 584006 w 1436243"/>
              <a:gd name="connsiteY92" fmla="*/ 19813 h 662520"/>
              <a:gd name="connsiteX93" fmla="*/ 631056 w 1436243"/>
              <a:gd name="connsiteY93" fmla="*/ 9159 h 662520"/>
              <a:gd name="connsiteX94" fmla="*/ 681278 w 1436243"/>
              <a:gd name="connsiteY94" fmla="*/ 2378 h 662520"/>
              <a:gd name="connsiteX95" fmla="*/ 735025 w 1436243"/>
              <a:gd name="connsiteY95" fmla="*/ 0 h 662520"/>
              <a:gd name="connsiteX96" fmla="*/ 790395 w 1436243"/>
              <a:gd name="connsiteY96" fmla="*/ 3158 h 662520"/>
              <a:gd name="connsiteX97" fmla="*/ 838689 w 1436243"/>
              <a:gd name="connsiteY97" fmla="*/ 12853 h 662520"/>
              <a:gd name="connsiteX98" fmla="*/ 879380 w 1436243"/>
              <a:gd name="connsiteY98" fmla="*/ 29412 h 662520"/>
              <a:gd name="connsiteX99" fmla="*/ 911943 w 1436243"/>
              <a:gd name="connsiteY99" fmla="*/ 53163 h 662520"/>
              <a:gd name="connsiteX100" fmla="*/ 935853 w 1436243"/>
              <a:gd name="connsiteY100" fmla="*/ 84435 h 662520"/>
              <a:gd name="connsiteX101" fmla="*/ 950584 w 1436243"/>
              <a:gd name="connsiteY101" fmla="*/ 123555 h 662520"/>
              <a:gd name="connsiteX102" fmla="*/ 955611 w 1436243"/>
              <a:gd name="connsiteY102" fmla="*/ 170853 h 662520"/>
              <a:gd name="connsiteX103" fmla="*/ 949453 w 1436243"/>
              <a:gd name="connsiteY103" fmla="*/ 219568 h 662520"/>
              <a:gd name="connsiteX104" fmla="*/ 931581 w 1436243"/>
              <a:gd name="connsiteY104" fmla="*/ 258234 h 662520"/>
              <a:gd name="connsiteX105" fmla="*/ 902895 w 1436243"/>
              <a:gd name="connsiteY105" fmla="*/ 287843 h 662520"/>
              <a:gd name="connsiteX106" fmla="*/ 864296 w 1436243"/>
              <a:gd name="connsiteY106" fmla="*/ 309388 h 662520"/>
              <a:gd name="connsiteX107" fmla="*/ 816686 w 1436243"/>
              <a:gd name="connsiteY107" fmla="*/ 323862 h 662520"/>
              <a:gd name="connsiteX108" fmla="*/ 816686 w 1436243"/>
              <a:gd name="connsiteY108" fmla="*/ 327609 h 662520"/>
              <a:gd name="connsiteX109" fmla="*/ 870681 w 1436243"/>
              <a:gd name="connsiteY109" fmla="*/ 340566 h 662520"/>
              <a:gd name="connsiteX110" fmla="*/ 912283 w 1436243"/>
              <a:gd name="connsiteY110" fmla="*/ 362534 h 662520"/>
              <a:gd name="connsiteX111" fmla="*/ 941719 w 1436243"/>
              <a:gd name="connsiteY111" fmla="*/ 393513 h 662520"/>
              <a:gd name="connsiteX112" fmla="*/ 959215 w 1436243"/>
              <a:gd name="connsiteY112" fmla="*/ 433502 h 662520"/>
              <a:gd name="connsiteX113" fmla="*/ 964996 w 1436243"/>
              <a:gd name="connsiteY113" fmla="*/ 482498 h 662520"/>
              <a:gd name="connsiteX114" fmla="*/ 959936 w 1436243"/>
              <a:gd name="connsiteY114" fmla="*/ 527743 h 662520"/>
              <a:gd name="connsiteX115" fmla="*/ 944659 w 1436243"/>
              <a:gd name="connsiteY115" fmla="*/ 567021 h 662520"/>
              <a:gd name="connsiteX116" fmla="*/ 920122 w 1436243"/>
              <a:gd name="connsiteY116" fmla="*/ 600232 h 662520"/>
              <a:gd name="connsiteX117" fmla="*/ 887285 w 1436243"/>
              <a:gd name="connsiteY117" fmla="*/ 627278 h 662520"/>
              <a:gd name="connsiteX118" fmla="*/ 847106 w 1436243"/>
              <a:gd name="connsiteY118" fmla="*/ 648061 h 662520"/>
              <a:gd name="connsiteX119" fmla="*/ 800544 w 1436243"/>
              <a:gd name="connsiteY119" fmla="*/ 662482 h 662520"/>
              <a:gd name="connsiteX120" fmla="*/ 1360843 w 1436243"/>
              <a:gd name="connsiteY120" fmla="*/ 662495 h 662520"/>
              <a:gd name="connsiteX121" fmla="*/ 1322871 w 1436243"/>
              <a:gd name="connsiteY121" fmla="*/ 649352 h 662520"/>
              <a:gd name="connsiteX122" fmla="*/ 1287296 w 1436243"/>
              <a:gd name="connsiteY122" fmla="*/ 630560 h 662520"/>
              <a:gd name="connsiteX123" fmla="*/ 1254670 w 1436243"/>
              <a:gd name="connsiteY123" fmla="*/ 606062 h 662520"/>
              <a:gd name="connsiteX124" fmla="*/ 1225546 w 1436243"/>
              <a:gd name="connsiteY124" fmla="*/ 575802 h 662520"/>
              <a:gd name="connsiteX125" fmla="*/ 1200477 w 1436243"/>
              <a:gd name="connsiteY125" fmla="*/ 539722 h 662520"/>
              <a:gd name="connsiteX126" fmla="*/ 1180016 w 1436243"/>
              <a:gd name="connsiteY126" fmla="*/ 497766 h 662520"/>
              <a:gd name="connsiteX127" fmla="*/ 1164717 w 1436243"/>
              <a:gd name="connsiteY127" fmla="*/ 449876 h 662520"/>
              <a:gd name="connsiteX128" fmla="*/ 1155131 w 1436243"/>
              <a:gd name="connsiteY128" fmla="*/ 395995 h 662520"/>
              <a:gd name="connsiteX129" fmla="*/ 1151813 w 1436243"/>
              <a:gd name="connsiteY129" fmla="*/ 336067 h 662520"/>
              <a:gd name="connsiteX130" fmla="*/ 1155053 w 1436243"/>
              <a:gd name="connsiteY130" fmla="*/ 276826 h 662520"/>
              <a:gd name="connsiteX131" fmla="*/ 1164415 w 1436243"/>
              <a:gd name="connsiteY131" fmla="*/ 223488 h 662520"/>
              <a:gd name="connsiteX132" fmla="*/ 1179368 w 1436243"/>
              <a:gd name="connsiteY132" fmla="*/ 175997 h 662520"/>
              <a:gd name="connsiteX133" fmla="*/ 1199377 w 1436243"/>
              <a:gd name="connsiteY133" fmla="*/ 134299 h 662520"/>
              <a:gd name="connsiteX134" fmla="*/ 1223910 w 1436243"/>
              <a:gd name="connsiteY134" fmla="*/ 98339 h 662520"/>
              <a:gd name="connsiteX135" fmla="*/ 1252434 w 1436243"/>
              <a:gd name="connsiteY135" fmla="*/ 68062 h 662520"/>
              <a:gd name="connsiteX136" fmla="*/ 1284414 w 1436243"/>
              <a:gd name="connsiteY136" fmla="*/ 43413 h 662520"/>
              <a:gd name="connsiteX137" fmla="*/ 1319318 w 1436243"/>
              <a:gd name="connsiteY137" fmla="*/ 24337 h 662520"/>
              <a:gd name="connsiteX138" fmla="*/ 1356613 w 1436243"/>
              <a:gd name="connsiteY138" fmla="*/ 10780 h 662520"/>
              <a:gd name="connsiteX139" fmla="*/ 1395766 w 1436243"/>
              <a:gd name="connsiteY139" fmla="*/ 2685 h 662520"/>
              <a:gd name="connsiteX140" fmla="*/ 1436243 w 1436243"/>
              <a:gd name="connsiteY140" fmla="*/ 0 h 662520"/>
              <a:gd name="connsiteX0" fmla="*/ 74231 w 1395766"/>
              <a:gd name="connsiteY0" fmla="*/ 662482 h 662520"/>
              <a:gd name="connsiteX1" fmla="*/ 60344 w 1395766"/>
              <a:gd name="connsiteY1" fmla="*/ 659582 h 662520"/>
              <a:gd name="connsiteX2" fmla="*/ 47517 w 1395766"/>
              <a:gd name="connsiteY2" fmla="*/ 656437 h 662520"/>
              <a:gd name="connsiteX3" fmla="*/ 35823 w 1395766"/>
              <a:gd name="connsiteY3" fmla="*/ 653092 h 662520"/>
              <a:gd name="connsiteX4" fmla="*/ 25336 w 1395766"/>
              <a:gd name="connsiteY4" fmla="*/ 649592 h 662520"/>
              <a:gd name="connsiteX5" fmla="*/ 25336 w 1395766"/>
              <a:gd name="connsiteY5" fmla="*/ 533196 h 662520"/>
              <a:gd name="connsiteX6" fmla="*/ 104190 w 1395766"/>
              <a:gd name="connsiteY6" fmla="*/ 533196 h 662520"/>
              <a:gd name="connsiteX7" fmla="*/ 116931 w 1395766"/>
              <a:gd name="connsiteY7" fmla="*/ 550133 h 662520"/>
              <a:gd name="connsiteX8" fmla="*/ 135043 w 1395766"/>
              <a:gd name="connsiteY8" fmla="*/ 564522 h 662520"/>
              <a:gd name="connsiteX9" fmla="*/ 160020 w 1395766"/>
              <a:gd name="connsiteY9" fmla="*/ 574514 h 662520"/>
              <a:gd name="connsiteX10" fmla="*/ 193357 w 1395766"/>
              <a:gd name="connsiteY10" fmla="*/ 578256 h 662520"/>
              <a:gd name="connsiteX11" fmla="*/ 233829 w 1395766"/>
              <a:gd name="connsiteY11" fmla="*/ 573672 h 662520"/>
              <a:gd name="connsiteX12" fmla="*/ 297105 w 1395766"/>
              <a:gd name="connsiteY12" fmla="*/ 537246 h 662520"/>
              <a:gd name="connsiteX13" fmla="*/ 320040 w 1395766"/>
              <a:gd name="connsiteY13" fmla="*/ 505568 h 662520"/>
              <a:gd name="connsiteX14" fmla="*/ 337261 w 1395766"/>
              <a:gd name="connsiteY14" fmla="*/ 465022 h 662520"/>
              <a:gd name="connsiteX15" fmla="*/ 348834 w 1395766"/>
              <a:gd name="connsiteY15" fmla="*/ 415691 h 662520"/>
              <a:gd name="connsiteX16" fmla="*/ 354825 w 1395766"/>
              <a:gd name="connsiteY16" fmla="*/ 357657 h 662520"/>
              <a:gd name="connsiteX17" fmla="*/ 325357 w 1395766"/>
              <a:gd name="connsiteY17" fmla="*/ 385098 h 662520"/>
              <a:gd name="connsiteX18" fmla="*/ 289466 w 1395766"/>
              <a:gd name="connsiteY18" fmla="*/ 406117 h 662520"/>
              <a:gd name="connsiteX19" fmla="*/ 247767 w 1395766"/>
              <a:gd name="connsiteY19" fmla="*/ 419568 h 662520"/>
              <a:gd name="connsiteX20" fmla="*/ 200875 w 1395766"/>
              <a:gd name="connsiteY20" fmla="*/ 424306 h 662520"/>
              <a:gd name="connsiteX21" fmla="*/ 153099 w 1395766"/>
              <a:gd name="connsiteY21" fmla="*/ 420031 h 662520"/>
              <a:gd name="connsiteX22" fmla="*/ 110150 w 1395766"/>
              <a:gd name="connsiteY22" fmla="*/ 407348 h 662520"/>
              <a:gd name="connsiteX23" fmla="*/ 72948 w 1395766"/>
              <a:gd name="connsiteY23" fmla="*/ 386472 h 662520"/>
              <a:gd name="connsiteX24" fmla="*/ 42412 w 1395766"/>
              <a:gd name="connsiteY24" fmla="*/ 357614 h 662520"/>
              <a:gd name="connsiteX25" fmla="*/ 19463 w 1395766"/>
              <a:gd name="connsiteY25" fmla="*/ 320990 h 662520"/>
              <a:gd name="connsiteX26" fmla="*/ 5019 w 1395766"/>
              <a:gd name="connsiteY26" fmla="*/ 276814 h 662520"/>
              <a:gd name="connsiteX27" fmla="*/ 0 w 1395766"/>
              <a:gd name="connsiteY27" fmla="*/ 225297 h 662520"/>
              <a:gd name="connsiteX28" fmla="*/ 4447 w 1395766"/>
              <a:gd name="connsiteY28" fmla="*/ 178425 h 662520"/>
              <a:gd name="connsiteX29" fmla="*/ 17453 w 1395766"/>
              <a:gd name="connsiteY29" fmla="*/ 135445 h 662520"/>
              <a:gd name="connsiteX30" fmla="*/ 38511 w 1395766"/>
              <a:gd name="connsiteY30" fmla="*/ 97085 h 662520"/>
              <a:gd name="connsiteX31" fmla="*/ 67116 w 1395766"/>
              <a:gd name="connsiteY31" fmla="*/ 64071 h 662520"/>
              <a:gd name="connsiteX32" fmla="*/ 102760 w 1395766"/>
              <a:gd name="connsiteY32" fmla="*/ 37129 h 662520"/>
              <a:gd name="connsiteX33" fmla="*/ 144939 w 1395766"/>
              <a:gd name="connsiteY33" fmla="*/ 16986 h 662520"/>
              <a:gd name="connsiteX34" fmla="*/ 193146 w 1395766"/>
              <a:gd name="connsiteY34" fmla="*/ 4367 h 662520"/>
              <a:gd name="connsiteX35" fmla="*/ 246875 w 1395766"/>
              <a:gd name="connsiteY35" fmla="*/ 0 h 662520"/>
              <a:gd name="connsiteX36" fmla="*/ 290625 w 1395766"/>
              <a:gd name="connsiteY36" fmla="*/ 2882 h 662520"/>
              <a:gd name="connsiteX37" fmla="*/ 331492 w 1395766"/>
              <a:gd name="connsiteY37" fmla="*/ 11678 h 662520"/>
              <a:gd name="connsiteX38" fmla="*/ 369070 w 1395766"/>
              <a:gd name="connsiteY38" fmla="*/ 26614 h 662520"/>
              <a:gd name="connsiteX39" fmla="*/ 402953 w 1395766"/>
              <a:gd name="connsiteY39" fmla="*/ 47914 h 662520"/>
              <a:gd name="connsiteX40" fmla="*/ 432736 w 1395766"/>
              <a:gd name="connsiteY40" fmla="*/ 75804 h 662520"/>
              <a:gd name="connsiteX41" fmla="*/ 458013 w 1395766"/>
              <a:gd name="connsiteY41" fmla="*/ 110509 h 662520"/>
              <a:gd name="connsiteX42" fmla="*/ 478379 w 1395766"/>
              <a:gd name="connsiteY42" fmla="*/ 152255 h 662520"/>
              <a:gd name="connsiteX43" fmla="*/ 493429 w 1395766"/>
              <a:gd name="connsiteY43" fmla="*/ 201265 h 662520"/>
              <a:gd name="connsiteX44" fmla="*/ 502756 w 1395766"/>
              <a:gd name="connsiteY44" fmla="*/ 257766 h 662520"/>
              <a:gd name="connsiteX45" fmla="*/ 505955 w 1395766"/>
              <a:gd name="connsiteY45" fmla="*/ 321983 h 662520"/>
              <a:gd name="connsiteX46" fmla="*/ 503406 w 1395766"/>
              <a:gd name="connsiteY46" fmla="*/ 376707 h 662520"/>
              <a:gd name="connsiteX47" fmla="*/ 495858 w 1395766"/>
              <a:gd name="connsiteY47" fmla="*/ 427041 h 662520"/>
              <a:gd name="connsiteX48" fmla="*/ 483456 w 1395766"/>
              <a:gd name="connsiteY48" fmla="*/ 472909 h 662520"/>
              <a:gd name="connsiteX49" fmla="*/ 466346 w 1395766"/>
              <a:gd name="connsiteY49" fmla="*/ 514232 h 662520"/>
              <a:gd name="connsiteX50" fmla="*/ 444674 w 1395766"/>
              <a:gd name="connsiteY50" fmla="*/ 550937 h 662520"/>
              <a:gd name="connsiteX51" fmla="*/ 418587 w 1395766"/>
              <a:gd name="connsiteY51" fmla="*/ 582945 h 662520"/>
              <a:gd name="connsiteX52" fmla="*/ 388229 w 1395766"/>
              <a:gd name="connsiteY52" fmla="*/ 610181 h 662520"/>
              <a:gd name="connsiteX53" fmla="*/ 353748 w 1395766"/>
              <a:gd name="connsiteY53" fmla="*/ 632569 h 662520"/>
              <a:gd name="connsiteX54" fmla="*/ 315289 w 1395766"/>
              <a:gd name="connsiteY54" fmla="*/ 650033 h 662520"/>
              <a:gd name="connsiteX55" fmla="*/ 272999 w 1395766"/>
              <a:gd name="connsiteY55" fmla="*/ 662495 h 662520"/>
              <a:gd name="connsiteX56" fmla="*/ 592162 w 1395766"/>
              <a:gd name="connsiteY56" fmla="*/ 662520 h 662520"/>
              <a:gd name="connsiteX57" fmla="*/ 571167 w 1395766"/>
              <a:gd name="connsiteY57" fmla="*/ 658030 h 662520"/>
              <a:gd name="connsiteX58" fmla="*/ 551373 w 1395766"/>
              <a:gd name="connsiteY58" fmla="*/ 652783 h 662520"/>
              <a:gd name="connsiteX59" fmla="*/ 532537 w 1395766"/>
              <a:gd name="connsiteY59" fmla="*/ 646826 h 662520"/>
              <a:gd name="connsiteX60" fmla="*/ 514413 w 1395766"/>
              <a:gd name="connsiteY60" fmla="*/ 640206 h 662520"/>
              <a:gd name="connsiteX61" fmla="*/ 514413 w 1395766"/>
              <a:gd name="connsiteY61" fmla="*/ 516293 h 662520"/>
              <a:gd name="connsiteX62" fmla="*/ 596087 w 1395766"/>
              <a:gd name="connsiteY62" fmla="*/ 516293 h 662520"/>
              <a:gd name="connsiteX63" fmla="*/ 612203 w 1395766"/>
              <a:gd name="connsiteY63" fmla="*/ 539439 h 662520"/>
              <a:gd name="connsiteX64" fmla="*/ 635627 w 1395766"/>
              <a:gd name="connsiteY64" fmla="*/ 559242 h 662520"/>
              <a:gd name="connsiteX65" fmla="*/ 666972 w 1395766"/>
              <a:gd name="connsiteY65" fmla="*/ 573062 h 662520"/>
              <a:gd name="connsiteX66" fmla="*/ 706856 w 1395766"/>
              <a:gd name="connsiteY66" fmla="*/ 578256 h 662520"/>
              <a:gd name="connsiteX67" fmla="*/ 749359 w 1395766"/>
              <a:gd name="connsiteY67" fmla="*/ 571758 h 662520"/>
              <a:gd name="connsiteX68" fmla="*/ 784298 w 1395766"/>
              <a:gd name="connsiteY68" fmla="*/ 552322 h 662520"/>
              <a:gd name="connsiteX69" fmla="*/ 807972 w 1395766"/>
              <a:gd name="connsiteY69" fmla="*/ 520038 h 662520"/>
              <a:gd name="connsiteX70" fmla="*/ 816686 w 1395766"/>
              <a:gd name="connsiteY70" fmla="*/ 474992 h 662520"/>
              <a:gd name="connsiteX71" fmla="*/ 809424 w 1395766"/>
              <a:gd name="connsiteY71" fmla="*/ 430240 h 662520"/>
              <a:gd name="connsiteX72" fmla="*/ 787466 w 1395766"/>
              <a:gd name="connsiteY72" fmla="*/ 398602 h 662520"/>
              <a:gd name="connsiteX73" fmla="*/ 750549 w 1395766"/>
              <a:gd name="connsiteY73" fmla="*/ 379812 h 662520"/>
              <a:gd name="connsiteX74" fmla="*/ 698411 w 1395766"/>
              <a:gd name="connsiteY74" fmla="*/ 373608 h 662520"/>
              <a:gd name="connsiteX75" fmla="*/ 649592 w 1395766"/>
              <a:gd name="connsiteY75" fmla="*/ 373608 h 662520"/>
              <a:gd name="connsiteX76" fmla="*/ 649592 w 1395766"/>
              <a:gd name="connsiteY76" fmla="*/ 286308 h 662520"/>
              <a:gd name="connsiteX77" fmla="*/ 690892 w 1395766"/>
              <a:gd name="connsiteY77" fmla="*/ 286308 h 662520"/>
              <a:gd name="connsiteX78" fmla="*/ 744563 w 1395766"/>
              <a:gd name="connsiteY78" fmla="*/ 280133 h 662520"/>
              <a:gd name="connsiteX79" fmla="*/ 783007 w 1395766"/>
              <a:gd name="connsiteY79" fmla="*/ 261550 h 662520"/>
              <a:gd name="connsiteX80" fmla="*/ 806137 w 1395766"/>
              <a:gd name="connsiteY80" fmla="*/ 230469 h 662520"/>
              <a:gd name="connsiteX81" fmla="*/ 813866 w 1395766"/>
              <a:gd name="connsiteY81" fmla="*/ 186804 h 662520"/>
              <a:gd name="connsiteX82" fmla="*/ 808513 w 1395766"/>
              <a:gd name="connsiteY82" fmla="*/ 149115 h 662520"/>
              <a:gd name="connsiteX83" fmla="*/ 792160 w 1395766"/>
              <a:gd name="connsiteY83" fmla="*/ 121104 h 662520"/>
              <a:gd name="connsiteX84" fmla="*/ 764365 w 1395766"/>
              <a:gd name="connsiteY84" fmla="*/ 103651 h 662520"/>
              <a:gd name="connsiteX85" fmla="*/ 724687 w 1395766"/>
              <a:gd name="connsiteY85" fmla="*/ 97637 h 662520"/>
              <a:gd name="connsiteX86" fmla="*/ 687243 w 1395766"/>
              <a:gd name="connsiteY86" fmla="*/ 102374 h 662520"/>
              <a:gd name="connsiteX87" fmla="*/ 657456 w 1395766"/>
              <a:gd name="connsiteY87" fmla="*/ 115117 h 662520"/>
              <a:gd name="connsiteX88" fmla="*/ 634533 w 1395766"/>
              <a:gd name="connsiteY88" fmla="*/ 133668 h 662520"/>
              <a:gd name="connsiteX89" fmla="*/ 617677 w 1395766"/>
              <a:gd name="connsiteY89" fmla="*/ 155828 h 662520"/>
              <a:gd name="connsiteX90" fmla="*/ 539775 w 1395766"/>
              <a:gd name="connsiteY90" fmla="*/ 155828 h 662520"/>
              <a:gd name="connsiteX91" fmla="*/ 539775 w 1395766"/>
              <a:gd name="connsiteY91" fmla="*/ 33807 h 662520"/>
              <a:gd name="connsiteX92" fmla="*/ 584006 w 1395766"/>
              <a:gd name="connsiteY92" fmla="*/ 19813 h 662520"/>
              <a:gd name="connsiteX93" fmla="*/ 631056 w 1395766"/>
              <a:gd name="connsiteY93" fmla="*/ 9159 h 662520"/>
              <a:gd name="connsiteX94" fmla="*/ 681278 w 1395766"/>
              <a:gd name="connsiteY94" fmla="*/ 2378 h 662520"/>
              <a:gd name="connsiteX95" fmla="*/ 735025 w 1395766"/>
              <a:gd name="connsiteY95" fmla="*/ 0 h 662520"/>
              <a:gd name="connsiteX96" fmla="*/ 790395 w 1395766"/>
              <a:gd name="connsiteY96" fmla="*/ 3158 h 662520"/>
              <a:gd name="connsiteX97" fmla="*/ 838689 w 1395766"/>
              <a:gd name="connsiteY97" fmla="*/ 12853 h 662520"/>
              <a:gd name="connsiteX98" fmla="*/ 879380 w 1395766"/>
              <a:gd name="connsiteY98" fmla="*/ 29412 h 662520"/>
              <a:gd name="connsiteX99" fmla="*/ 911943 w 1395766"/>
              <a:gd name="connsiteY99" fmla="*/ 53163 h 662520"/>
              <a:gd name="connsiteX100" fmla="*/ 935853 w 1395766"/>
              <a:gd name="connsiteY100" fmla="*/ 84435 h 662520"/>
              <a:gd name="connsiteX101" fmla="*/ 950584 w 1395766"/>
              <a:gd name="connsiteY101" fmla="*/ 123555 h 662520"/>
              <a:gd name="connsiteX102" fmla="*/ 955611 w 1395766"/>
              <a:gd name="connsiteY102" fmla="*/ 170853 h 662520"/>
              <a:gd name="connsiteX103" fmla="*/ 949453 w 1395766"/>
              <a:gd name="connsiteY103" fmla="*/ 219568 h 662520"/>
              <a:gd name="connsiteX104" fmla="*/ 931581 w 1395766"/>
              <a:gd name="connsiteY104" fmla="*/ 258234 h 662520"/>
              <a:gd name="connsiteX105" fmla="*/ 902895 w 1395766"/>
              <a:gd name="connsiteY105" fmla="*/ 287843 h 662520"/>
              <a:gd name="connsiteX106" fmla="*/ 864296 w 1395766"/>
              <a:gd name="connsiteY106" fmla="*/ 309388 h 662520"/>
              <a:gd name="connsiteX107" fmla="*/ 816686 w 1395766"/>
              <a:gd name="connsiteY107" fmla="*/ 323862 h 662520"/>
              <a:gd name="connsiteX108" fmla="*/ 816686 w 1395766"/>
              <a:gd name="connsiteY108" fmla="*/ 327609 h 662520"/>
              <a:gd name="connsiteX109" fmla="*/ 870681 w 1395766"/>
              <a:gd name="connsiteY109" fmla="*/ 340566 h 662520"/>
              <a:gd name="connsiteX110" fmla="*/ 912283 w 1395766"/>
              <a:gd name="connsiteY110" fmla="*/ 362534 h 662520"/>
              <a:gd name="connsiteX111" fmla="*/ 941719 w 1395766"/>
              <a:gd name="connsiteY111" fmla="*/ 393513 h 662520"/>
              <a:gd name="connsiteX112" fmla="*/ 959215 w 1395766"/>
              <a:gd name="connsiteY112" fmla="*/ 433502 h 662520"/>
              <a:gd name="connsiteX113" fmla="*/ 964996 w 1395766"/>
              <a:gd name="connsiteY113" fmla="*/ 482498 h 662520"/>
              <a:gd name="connsiteX114" fmla="*/ 959936 w 1395766"/>
              <a:gd name="connsiteY114" fmla="*/ 527743 h 662520"/>
              <a:gd name="connsiteX115" fmla="*/ 944659 w 1395766"/>
              <a:gd name="connsiteY115" fmla="*/ 567021 h 662520"/>
              <a:gd name="connsiteX116" fmla="*/ 920122 w 1395766"/>
              <a:gd name="connsiteY116" fmla="*/ 600232 h 662520"/>
              <a:gd name="connsiteX117" fmla="*/ 887285 w 1395766"/>
              <a:gd name="connsiteY117" fmla="*/ 627278 h 662520"/>
              <a:gd name="connsiteX118" fmla="*/ 847106 w 1395766"/>
              <a:gd name="connsiteY118" fmla="*/ 648061 h 662520"/>
              <a:gd name="connsiteX119" fmla="*/ 800544 w 1395766"/>
              <a:gd name="connsiteY119" fmla="*/ 662482 h 662520"/>
              <a:gd name="connsiteX120" fmla="*/ 1360843 w 1395766"/>
              <a:gd name="connsiteY120" fmla="*/ 662495 h 662520"/>
              <a:gd name="connsiteX121" fmla="*/ 1322871 w 1395766"/>
              <a:gd name="connsiteY121" fmla="*/ 649352 h 662520"/>
              <a:gd name="connsiteX122" fmla="*/ 1287296 w 1395766"/>
              <a:gd name="connsiteY122" fmla="*/ 630560 h 662520"/>
              <a:gd name="connsiteX123" fmla="*/ 1254670 w 1395766"/>
              <a:gd name="connsiteY123" fmla="*/ 606062 h 662520"/>
              <a:gd name="connsiteX124" fmla="*/ 1225546 w 1395766"/>
              <a:gd name="connsiteY124" fmla="*/ 575802 h 662520"/>
              <a:gd name="connsiteX125" fmla="*/ 1200477 w 1395766"/>
              <a:gd name="connsiteY125" fmla="*/ 539722 h 662520"/>
              <a:gd name="connsiteX126" fmla="*/ 1180016 w 1395766"/>
              <a:gd name="connsiteY126" fmla="*/ 497766 h 662520"/>
              <a:gd name="connsiteX127" fmla="*/ 1164717 w 1395766"/>
              <a:gd name="connsiteY127" fmla="*/ 449876 h 662520"/>
              <a:gd name="connsiteX128" fmla="*/ 1155131 w 1395766"/>
              <a:gd name="connsiteY128" fmla="*/ 395995 h 662520"/>
              <a:gd name="connsiteX129" fmla="*/ 1151813 w 1395766"/>
              <a:gd name="connsiteY129" fmla="*/ 336067 h 662520"/>
              <a:gd name="connsiteX130" fmla="*/ 1155053 w 1395766"/>
              <a:gd name="connsiteY130" fmla="*/ 276826 h 662520"/>
              <a:gd name="connsiteX131" fmla="*/ 1164415 w 1395766"/>
              <a:gd name="connsiteY131" fmla="*/ 223488 h 662520"/>
              <a:gd name="connsiteX132" fmla="*/ 1179368 w 1395766"/>
              <a:gd name="connsiteY132" fmla="*/ 175997 h 662520"/>
              <a:gd name="connsiteX133" fmla="*/ 1199377 w 1395766"/>
              <a:gd name="connsiteY133" fmla="*/ 134299 h 662520"/>
              <a:gd name="connsiteX134" fmla="*/ 1223910 w 1395766"/>
              <a:gd name="connsiteY134" fmla="*/ 98339 h 662520"/>
              <a:gd name="connsiteX135" fmla="*/ 1252434 w 1395766"/>
              <a:gd name="connsiteY135" fmla="*/ 68062 h 662520"/>
              <a:gd name="connsiteX136" fmla="*/ 1284414 w 1395766"/>
              <a:gd name="connsiteY136" fmla="*/ 43413 h 662520"/>
              <a:gd name="connsiteX137" fmla="*/ 1319318 w 1395766"/>
              <a:gd name="connsiteY137" fmla="*/ 24337 h 662520"/>
              <a:gd name="connsiteX138" fmla="*/ 1356613 w 1395766"/>
              <a:gd name="connsiteY138" fmla="*/ 10780 h 662520"/>
              <a:gd name="connsiteX139" fmla="*/ 1395766 w 1395766"/>
              <a:gd name="connsiteY139" fmla="*/ 2685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130" fmla="*/ 1155053 w 1360843"/>
              <a:gd name="connsiteY130" fmla="*/ 276826 h 662520"/>
              <a:gd name="connsiteX131" fmla="*/ 1164415 w 1360843"/>
              <a:gd name="connsiteY131" fmla="*/ 223488 h 662520"/>
              <a:gd name="connsiteX132" fmla="*/ 1179368 w 1360843"/>
              <a:gd name="connsiteY132" fmla="*/ 175997 h 662520"/>
              <a:gd name="connsiteX133" fmla="*/ 1199377 w 1360843"/>
              <a:gd name="connsiteY133" fmla="*/ 134299 h 662520"/>
              <a:gd name="connsiteX134" fmla="*/ 1223910 w 1360843"/>
              <a:gd name="connsiteY134" fmla="*/ 98339 h 662520"/>
              <a:gd name="connsiteX135" fmla="*/ 1252434 w 1360843"/>
              <a:gd name="connsiteY135" fmla="*/ 68062 h 662520"/>
              <a:gd name="connsiteX136" fmla="*/ 1284414 w 1360843"/>
              <a:gd name="connsiteY136" fmla="*/ 43413 h 662520"/>
              <a:gd name="connsiteX137" fmla="*/ 1319318 w 1360843"/>
              <a:gd name="connsiteY137" fmla="*/ 24337 h 662520"/>
              <a:gd name="connsiteX138" fmla="*/ 1356613 w 1360843"/>
              <a:gd name="connsiteY138" fmla="*/ 10780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130" fmla="*/ 1155053 w 1360843"/>
              <a:gd name="connsiteY130" fmla="*/ 276826 h 662520"/>
              <a:gd name="connsiteX131" fmla="*/ 1164415 w 1360843"/>
              <a:gd name="connsiteY131" fmla="*/ 223488 h 662520"/>
              <a:gd name="connsiteX132" fmla="*/ 1179368 w 1360843"/>
              <a:gd name="connsiteY132" fmla="*/ 175997 h 662520"/>
              <a:gd name="connsiteX133" fmla="*/ 1199377 w 1360843"/>
              <a:gd name="connsiteY133" fmla="*/ 134299 h 662520"/>
              <a:gd name="connsiteX134" fmla="*/ 1223910 w 1360843"/>
              <a:gd name="connsiteY134" fmla="*/ 98339 h 662520"/>
              <a:gd name="connsiteX135" fmla="*/ 1252434 w 1360843"/>
              <a:gd name="connsiteY135" fmla="*/ 68062 h 662520"/>
              <a:gd name="connsiteX136" fmla="*/ 1284414 w 1360843"/>
              <a:gd name="connsiteY136" fmla="*/ 43413 h 662520"/>
              <a:gd name="connsiteX137" fmla="*/ 1319318 w 1360843"/>
              <a:gd name="connsiteY137" fmla="*/ 24337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130" fmla="*/ 1155053 w 1360843"/>
              <a:gd name="connsiteY130" fmla="*/ 276826 h 662520"/>
              <a:gd name="connsiteX131" fmla="*/ 1164415 w 1360843"/>
              <a:gd name="connsiteY131" fmla="*/ 223488 h 662520"/>
              <a:gd name="connsiteX132" fmla="*/ 1179368 w 1360843"/>
              <a:gd name="connsiteY132" fmla="*/ 175997 h 662520"/>
              <a:gd name="connsiteX133" fmla="*/ 1199377 w 1360843"/>
              <a:gd name="connsiteY133" fmla="*/ 134299 h 662520"/>
              <a:gd name="connsiteX134" fmla="*/ 1223910 w 1360843"/>
              <a:gd name="connsiteY134" fmla="*/ 98339 h 662520"/>
              <a:gd name="connsiteX135" fmla="*/ 1252434 w 1360843"/>
              <a:gd name="connsiteY135" fmla="*/ 68062 h 662520"/>
              <a:gd name="connsiteX136" fmla="*/ 1284414 w 1360843"/>
              <a:gd name="connsiteY136" fmla="*/ 43413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130" fmla="*/ 1155053 w 1360843"/>
              <a:gd name="connsiteY130" fmla="*/ 276826 h 662520"/>
              <a:gd name="connsiteX131" fmla="*/ 1164415 w 1360843"/>
              <a:gd name="connsiteY131" fmla="*/ 223488 h 662520"/>
              <a:gd name="connsiteX132" fmla="*/ 1179368 w 1360843"/>
              <a:gd name="connsiteY132" fmla="*/ 175997 h 662520"/>
              <a:gd name="connsiteX133" fmla="*/ 1199377 w 1360843"/>
              <a:gd name="connsiteY133" fmla="*/ 134299 h 662520"/>
              <a:gd name="connsiteX134" fmla="*/ 1223910 w 1360843"/>
              <a:gd name="connsiteY134" fmla="*/ 98339 h 662520"/>
              <a:gd name="connsiteX135" fmla="*/ 1252434 w 1360843"/>
              <a:gd name="connsiteY135" fmla="*/ 68062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130" fmla="*/ 1155053 w 1360843"/>
              <a:gd name="connsiteY130" fmla="*/ 276826 h 662520"/>
              <a:gd name="connsiteX131" fmla="*/ 1164415 w 1360843"/>
              <a:gd name="connsiteY131" fmla="*/ 223488 h 662520"/>
              <a:gd name="connsiteX132" fmla="*/ 1179368 w 1360843"/>
              <a:gd name="connsiteY132" fmla="*/ 175997 h 662520"/>
              <a:gd name="connsiteX133" fmla="*/ 1199377 w 1360843"/>
              <a:gd name="connsiteY133" fmla="*/ 134299 h 662520"/>
              <a:gd name="connsiteX134" fmla="*/ 1223910 w 1360843"/>
              <a:gd name="connsiteY134" fmla="*/ 98339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130" fmla="*/ 1155053 w 1360843"/>
              <a:gd name="connsiteY130" fmla="*/ 276826 h 662520"/>
              <a:gd name="connsiteX131" fmla="*/ 1164415 w 1360843"/>
              <a:gd name="connsiteY131" fmla="*/ 223488 h 662520"/>
              <a:gd name="connsiteX132" fmla="*/ 1179368 w 1360843"/>
              <a:gd name="connsiteY132" fmla="*/ 175997 h 662520"/>
              <a:gd name="connsiteX133" fmla="*/ 1199377 w 1360843"/>
              <a:gd name="connsiteY133" fmla="*/ 134299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130" fmla="*/ 1155053 w 1360843"/>
              <a:gd name="connsiteY130" fmla="*/ 276826 h 662520"/>
              <a:gd name="connsiteX131" fmla="*/ 1164415 w 1360843"/>
              <a:gd name="connsiteY131" fmla="*/ 223488 h 662520"/>
              <a:gd name="connsiteX132" fmla="*/ 1179368 w 1360843"/>
              <a:gd name="connsiteY132" fmla="*/ 175997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130" fmla="*/ 1155053 w 1360843"/>
              <a:gd name="connsiteY130" fmla="*/ 276826 h 662520"/>
              <a:gd name="connsiteX131" fmla="*/ 1164415 w 1360843"/>
              <a:gd name="connsiteY131" fmla="*/ 223488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130" fmla="*/ 1155053 w 1360843"/>
              <a:gd name="connsiteY130" fmla="*/ 276826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129" fmla="*/ 1151813 w 1360843"/>
              <a:gd name="connsiteY129" fmla="*/ 336067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128" fmla="*/ 1155131 w 1360843"/>
              <a:gd name="connsiteY128" fmla="*/ 395995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127" fmla="*/ 1164717 w 1360843"/>
              <a:gd name="connsiteY127" fmla="*/ 449876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126" fmla="*/ 1180016 w 1360843"/>
              <a:gd name="connsiteY126" fmla="*/ 497766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125" fmla="*/ 1200477 w 1360843"/>
              <a:gd name="connsiteY125" fmla="*/ 539722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124" fmla="*/ 1225546 w 1360843"/>
              <a:gd name="connsiteY124" fmla="*/ 575802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123" fmla="*/ 1254670 w 1360843"/>
              <a:gd name="connsiteY123" fmla="*/ 606062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122" fmla="*/ 1287296 w 1360843"/>
              <a:gd name="connsiteY122" fmla="*/ 630560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121" fmla="*/ 1322871 w 1360843"/>
              <a:gd name="connsiteY121" fmla="*/ 649352 h 662520"/>
              <a:gd name="connsiteX0" fmla="*/ 74231 w 1360843"/>
              <a:gd name="connsiteY0" fmla="*/ 662482 h 662520"/>
              <a:gd name="connsiteX1" fmla="*/ 60344 w 1360843"/>
              <a:gd name="connsiteY1" fmla="*/ 659582 h 662520"/>
              <a:gd name="connsiteX2" fmla="*/ 47517 w 1360843"/>
              <a:gd name="connsiteY2" fmla="*/ 656437 h 662520"/>
              <a:gd name="connsiteX3" fmla="*/ 35823 w 1360843"/>
              <a:gd name="connsiteY3" fmla="*/ 653092 h 662520"/>
              <a:gd name="connsiteX4" fmla="*/ 25336 w 1360843"/>
              <a:gd name="connsiteY4" fmla="*/ 649592 h 662520"/>
              <a:gd name="connsiteX5" fmla="*/ 25336 w 1360843"/>
              <a:gd name="connsiteY5" fmla="*/ 533196 h 662520"/>
              <a:gd name="connsiteX6" fmla="*/ 104190 w 1360843"/>
              <a:gd name="connsiteY6" fmla="*/ 533196 h 662520"/>
              <a:gd name="connsiteX7" fmla="*/ 116931 w 1360843"/>
              <a:gd name="connsiteY7" fmla="*/ 550133 h 662520"/>
              <a:gd name="connsiteX8" fmla="*/ 135043 w 1360843"/>
              <a:gd name="connsiteY8" fmla="*/ 564522 h 662520"/>
              <a:gd name="connsiteX9" fmla="*/ 160020 w 1360843"/>
              <a:gd name="connsiteY9" fmla="*/ 574514 h 662520"/>
              <a:gd name="connsiteX10" fmla="*/ 193357 w 1360843"/>
              <a:gd name="connsiteY10" fmla="*/ 578256 h 662520"/>
              <a:gd name="connsiteX11" fmla="*/ 233829 w 1360843"/>
              <a:gd name="connsiteY11" fmla="*/ 573672 h 662520"/>
              <a:gd name="connsiteX12" fmla="*/ 297105 w 1360843"/>
              <a:gd name="connsiteY12" fmla="*/ 537246 h 662520"/>
              <a:gd name="connsiteX13" fmla="*/ 320040 w 1360843"/>
              <a:gd name="connsiteY13" fmla="*/ 505568 h 662520"/>
              <a:gd name="connsiteX14" fmla="*/ 337261 w 1360843"/>
              <a:gd name="connsiteY14" fmla="*/ 465022 h 662520"/>
              <a:gd name="connsiteX15" fmla="*/ 348834 w 1360843"/>
              <a:gd name="connsiteY15" fmla="*/ 415691 h 662520"/>
              <a:gd name="connsiteX16" fmla="*/ 354825 w 1360843"/>
              <a:gd name="connsiteY16" fmla="*/ 357657 h 662520"/>
              <a:gd name="connsiteX17" fmla="*/ 325357 w 1360843"/>
              <a:gd name="connsiteY17" fmla="*/ 385098 h 662520"/>
              <a:gd name="connsiteX18" fmla="*/ 289466 w 1360843"/>
              <a:gd name="connsiteY18" fmla="*/ 406117 h 662520"/>
              <a:gd name="connsiteX19" fmla="*/ 247767 w 1360843"/>
              <a:gd name="connsiteY19" fmla="*/ 419568 h 662520"/>
              <a:gd name="connsiteX20" fmla="*/ 200875 w 1360843"/>
              <a:gd name="connsiteY20" fmla="*/ 424306 h 662520"/>
              <a:gd name="connsiteX21" fmla="*/ 153099 w 1360843"/>
              <a:gd name="connsiteY21" fmla="*/ 420031 h 662520"/>
              <a:gd name="connsiteX22" fmla="*/ 110150 w 1360843"/>
              <a:gd name="connsiteY22" fmla="*/ 407348 h 662520"/>
              <a:gd name="connsiteX23" fmla="*/ 72948 w 1360843"/>
              <a:gd name="connsiteY23" fmla="*/ 386472 h 662520"/>
              <a:gd name="connsiteX24" fmla="*/ 42412 w 1360843"/>
              <a:gd name="connsiteY24" fmla="*/ 357614 h 662520"/>
              <a:gd name="connsiteX25" fmla="*/ 19463 w 1360843"/>
              <a:gd name="connsiteY25" fmla="*/ 320990 h 662520"/>
              <a:gd name="connsiteX26" fmla="*/ 5019 w 1360843"/>
              <a:gd name="connsiteY26" fmla="*/ 276814 h 662520"/>
              <a:gd name="connsiteX27" fmla="*/ 0 w 1360843"/>
              <a:gd name="connsiteY27" fmla="*/ 225297 h 662520"/>
              <a:gd name="connsiteX28" fmla="*/ 4447 w 1360843"/>
              <a:gd name="connsiteY28" fmla="*/ 178425 h 662520"/>
              <a:gd name="connsiteX29" fmla="*/ 17453 w 1360843"/>
              <a:gd name="connsiteY29" fmla="*/ 135445 h 662520"/>
              <a:gd name="connsiteX30" fmla="*/ 38511 w 1360843"/>
              <a:gd name="connsiteY30" fmla="*/ 97085 h 662520"/>
              <a:gd name="connsiteX31" fmla="*/ 67116 w 1360843"/>
              <a:gd name="connsiteY31" fmla="*/ 64071 h 662520"/>
              <a:gd name="connsiteX32" fmla="*/ 102760 w 1360843"/>
              <a:gd name="connsiteY32" fmla="*/ 37129 h 662520"/>
              <a:gd name="connsiteX33" fmla="*/ 144939 w 1360843"/>
              <a:gd name="connsiteY33" fmla="*/ 16986 h 662520"/>
              <a:gd name="connsiteX34" fmla="*/ 193146 w 1360843"/>
              <a:gd name="connsiteY34" fmla="*/ 4367 h 662520"/>
              <a:gd name="connsiteX35" fmla="*/ 246875 w 1360843"/>
              <a:gd name="connsiteY35" fmla="*/ 0 h 662520"/>
              <a:gd name="connsiteX36" fmla="*/ 290625 w 1360843"/>
              <a:gd name="connsiteY36" fmla="*/ 2882 h 662520"/>
              <a:gd name="connsiteX37" fmla="*/ 331492 w 1360843"/>
              <a:gd name="connsiteY37" fmla="*/ 11678 h 662520"/>
              <a:gd name="connsiteX38" fmla="*/ 369070 w 1360843"/>
              <a:gd name="connsiteY38" fmla="*/ 26614 h 662520"/>
              <a:gd name="connsiteX39" fmla="*/ 402953 w 1360843"/>
              <a:gd name="connsiteY39" fmla="*/ 47914 h 662520"/>
              <a:gd name="connsiteX40" fmla="*/ 432736 w 1360843"/>
              <a:gd name="connsiteY40" fmla="*/ 75804 h 662520"/>
              <a:gd name="connsiteX41" fmla="*/ 458013 w 1360843"/>
              <a:gd name="connsiteY41" fmla="*/ 110509 h 662520"/>
              <a:gd name="connsiteX42" fmla="*/ 478379 w 1360843"/>
              <a:gd name="connsiteY42" fmla="*/ 152255 h 662520"/>
              <a:gd name="connsiteX43" fmla="*/ 493429 w 1360843"/>
              <a:gd name="connsiteY43" fmla="*/ 201265 h 662520"/>
              <a:gd name="connsiteX44" fmla="*/ 502756 w 1360843"/>
              <a:gd name="connsiteY44" fmla="*/ 257766 h 662520"/>
              <a:gd name="connsiteX45" fmla="*/ 505955 w 1360843"/>
              <a:gd name="connsiteY45" fmla="*/ 321983 h 662520"/>
              <a:gd name="connsiteX46" fmla="*/ 503406 w 1360843"/>
              <a:gd name="connsiteY46" fmla="*/ 376707 h 662520"/>
              <a:gd name="connsiteX47" fmla="*/ 495858 w 1360843"/>
              <a:gd name="connsiteY47" fmla="*/ 427041 h 662520"/>
              <a:gd name="connsiteX48" fmla="*/ 483456 w 1360843"/>
              <a:gd name="connsiteY48" fmla="*/ 472909 h 662520"/>
              <a:gd name="connsiteX49" fmla="*/ 466346 w 1360843"/>
              <a:gd name="connsiteY49" fmla="*/ 514232 h 662520"/>
              <a:gd name="connsiteX50" fmla="*/ 444674 w 1360843"/>
              <a:gd name="connsiteY50" fmla="*/ 550937 h 662520"/>
              <a:gd name="connsiteX51" fmla="*/ 418587 w 1360843"/>
              <a:gd name="connsiteY51" fmla="*/ 582945 h 662520"/>
              <a:gd name="connsiteX52" fmla="*/ 388229 w 1360843"/>
              <a:gd name="connsiteY52" fmla="*/ 610181 h 662520"/>
              <a:gd name="connsiteX53" fmla="*/ 353748 w 1360843"/>
              <a:gd name="connsiteY53" fmla="*/ 632569 h 662520"/>
              <a:gd name="connsiteX54" fmla="*/ 315289 w 1360843"/>
              <a:gd name="connsiteY54" fmla="*/ 650033 h 662520"/>
              <a:gd name="connsiteX55" fmla="*/ 272999 w 1360843"/>
              <a:gd name="connsiteY55" fmla="*/ 662495 h 662520"/>
              <a:gd name="connsiteX56" fmla="*/ 592162 w 1360843"/>
              <a:gd name="connsiteY56" fmla="*/ 662520 h 662520"/>
              <a:gd name="connsiteX57" fmla="*/ 571167 w 1360843"/>
              <a:gd name="connsiteY57" fmla="*/ 658030 h 662520"/>
              <a:gd name="connsiteX58" fmla="*/ 551373 w 1360843"/>
              <a:gd name="connsiteY58" fmla="*/ 652783 h 662520"/>
              <a:gd name="connsiteX59" fmla="*/ 532537 w 1360843"/>
              <a:gd name="connsiteY59" fmla="*/ 646826 h 662520"/>
              <a:gd name="connsiteX60" fmla="*/ 514413 w 1360843"/>
              <a:gd name="connsiteY60" fmla="*/ 640206 h 662520"/>
              <a:gd name="connsiteX61" fmla="*/ 514413 w 1360843"/>
              <a:gd name="connsiteY61" fmla="*/ 516293 h 662520"/>
              <a:gd name="connsiteX62" fmla="*/ 596087 w 1360843"/>
              <a:gd name="connsiteY62" fmla="*/ 516293 h 662520"/>
              <a:gd name="connsiteX63" fmla="*/ 612203 w 1360843"/>
              <a:gd name="connsiteY63" fmla="*/ 539439 h 662520"/>
              <a:gd name="connsiteX64" fmla="*/ 635627 w 1360843"/>
              <a:gd name="connsiteY64" fmla="*/ 559242 h 662520"/>
              <a:gd name="connsiteX65" fmla="*/ 666972 w 1360843"/>
              <a:gd name="connsiteY65" fmla="*/ 573062 h 662520"/>
              <a:gd name="connsiteX66" fmla="*/ 706856 w 1360843"/>
              <a:gd name="connsiteY66" fmla="*/ 578256 h 662520"/>
              <a:gd name="connsiteX67" fmla="*/ 749359 w 1360843"/>
              <a:gd name="connsiteY67" fmla="*/ 571758 h 662520"/>
              <a:gd name="connsiteX68" fmla="*/ 784298 w 1360843"/>
              <a:gd name="connsiteY68" fmla="*/ 552322 h 662520"/>
              <a:gd name="connsiteX69" fmla="*/ 807972 w 1360843"/>
              <a:gd name="connsiteY69" fmla="*/ 520038 h 662520"/>
              <a:gd name="connsiteX70" fmla="*/ 816686 w 1360843"/>
              <a:gd name="connsiteY70" fmla="*/ 474992 h 662520"/>
              <a:gd name="connsiteX71" fmla="*/ 809424 w 1360843"/>
              <a:gd name="connsiteY71" fmla="*/ 430240 h 662520"/>
              <a:gd name="connsiteX72" fmla="*/ 787466 w 1360843"/>
              <a:gd name="connsiteY72" fmla="*/ 398602 h 662520"/>
              <a:gd name="connsiteX73" fmla="*/ 750549 w 1360843"/>
              <a:gd name="connsiteY73" fmla="*/ 379812 h 662520"/>
              <a:gd name="connsiteX74" fmla="*/ 698411 w 1360843"/>
              <a:gd name="connsiteY74" fmla="*/ 373608 h 662520"/>
              <a:gd name="connsiteX75" fmla="*/ 649592 w 1360843"/>
              <a:gd name="connsiteY75" fmla="*/ 373608 h 662520"/>
              <a:gd name="connsiteX76" fmla="*/ 649592 w 1360843"/>
              <a:gd name="connsiteY76" fmla="*/ 286308 h 662520"/>
              <a:gd name="connsiteX77" fmla="*/ 690892 w 1360843"/>
              <a:gd name="connsiteY77" fmla="*/ 286308 h 662520"/>
              <a:gd name="connsiteX78" fmla="*/ 744563 w 1360843"/>
              <a:gd name="connsiteY78" fmla="*/ 280133 h 662520"/>
              <a:gd name="connsiteX79" fmla="*/ 783007 w 1360843"/>
              <a:gd name="connsiteY79" fmla="*/ 261550 h 662520"/>
              <a:gd name="connsiteX80" fmla="*/ 806137 w 1360843"/>
              <a:gd name="connsiteY80" fmla="*/ 230469 h 662520"/>
              <a:gd name="connsiteX81" fmla="*/ 813866 w 1360843"/>
              <a:gd name="connsiteY81" fmla="*/ 186804 h 662520"/>
              <a:gd name="connsiteX82" fmla="*/ 808513 w 1360843"/>
              <a:gd name="connsiteY82" fmla="*/ 149115 h 662520"/>
              <a:gd name="connsiteX83" fmla="*/ 792160 w 1360843"/>
              <a:gd name="connsiteY83" fmla="*/ 121104 h 662520"/>
              <a:gd name="connsiteX84" fmla="*/ 764365 w 1360843"/>
              <a:gd name="connsiteY84" fmla="*/ 103651 h 662520"/>
              <a:gd name="connsiteX85" fmla="*/ 724687 w 1360843"/>
              <a:gd name="connsiteY85" fmla="*/ 97637 h 662520"/>
              <a:gd name="connsiteX86" fmla="*/ 687243 w 1360843"/>
              <a:gd name="connsiteY86" fmla="*/ 102374 h 662520"/>
              <a:gd name="connsiteX87" fmla="*/ 657456 w 1360843"/>
              <a:gd name="connsiteY87" fmla="*/ 115117 h 662520"/>
              <a:gd name="connsiteX88" fmla="*/ 634533 w 1360843"/>
              <a:gd name="connsiteY88" fmla="*/ 133668 h 662520"/>
              <a:gd name="connsiteX89" fmla="*/ 617677 w 1360843"/>
              <a:gd name="connsiteY89" fmla="*/ 155828 h 662520"/>
              <a:gd name="connsiteX90" fmla="*/ 539775 w 1360843"/>
              <a:gd name="connsiteY90" fmla="*/ 155828 h 662520"/>
              <a:gd name="connsiteX91" fmla="*/ 539775 w 1360843"/>
              <a:gd name="connsiteY91" fmla="*/ 33807 h 662520"/>
              <a:gd name="connsiteX92" fmla="*/ 584006 w 1360843"/>
              <a:gd name="connsiteY92" fmla="*/ 19813 h 662520"/>
              <a:gd name="connsiteX93" fmla="*/ 631056 w 1360843"/>
              <a:gd name="connsiteY93" fmla="*/ 9159 h 662520"/>
              <a:gd name="connsiteX94" fmla="*/ 681278 w 1360843"/>
              <a:gd name="connsiteY94" fmla="*/ 2378 h 662520"/>
              <a:gd name="connsiteX95" fmla="*/ 735025 w 1360843"/>
              <a:gd name="connsiteY95" fmla="*/ 0 h 662520"/>
              <a:gd name="connsiteX96" fmla="*/ 790395 w 1360843"/>
              <a:gd name="connsiteY96" fmla="*/ 3158 h 662520"/>
              <a:gd name="connsiteX97" fmla="*/ 838689 w 1360843"/>
              <a:gd name="connsiteY97" fmla="*/ 12853 h 662520"/>
              <a:gd name="connsiteX98" fmla="*/ 879380 w 1360843"/>
              <a:gd name="connsiteY98" fmla="*/ 29412 h 662520"/>
              <a:gd name="connsiteX99" fmla="*/ 911943 w 1360843"/>
              <a:gd name="connsiteY99" fmla="*/ 53163 h 662520"/>
              <a:gd name="connsiteX100" fmla="*/ 935853 w 1360843"/>
              <a:gd name="connsiteY100" fmla="*/ 84435 h 662520"/>
              <a:gd name="connsiteX101" fmla="*/ 950584 w 1360843"/>
              <a:gd name="connsiteY101" fmla="*/ 123555 h 662520"/>
              <a:gd name="connsiteX102" fmla="*/ 955611 w 1360843"/>
              <a:gd name="connsiteY102" fmla="*/ 170853 h 662520"/>
              <a:gd name="connsiteX103" fmla="*/ 949453 w 1360843"/>
              <a:gd name="connsiteY103" fmla="*/ 219568 h 662520"/>
              <a:gd name="connsiteX104" fmla="*/ 931581 w 1360843"/>
              <a:gd name="connsiteY104" fmla="*/ 258234 h 662520"/>
              <a:gd name="connsiteX105" fmla="*/ 902895 w 1360843"/>
              <a:gd name="connsiteY105" fmla="*/ 287843 h 662520"/>
              <a:gd name="connsiteX106" fmla="*/ 864296 w 1360843"/>
              <a:gd name="connsiteY106" fmla="*/ 309388 h 662520"/>
              <a:gd name="connsiteX107" fmla="*/ 816686 w 1360843"/>
              <a:gd name="connsiteY107" fmla="*/ 323862 h 662520"/>
              <a:gd name="connsiteX108" fmla="*/ 816686 w 1360843"/>
              <a:gd name="connsiteY108" fmla="*/ 327609 h 662520"/>
              <a:gd name="connsiteX109" fmla="*/ 870681 w 1360843"/>
              <a:gd name="connsiteY109" fmla="*/ 340566 h 662520"/>
              <a:gd name="connsiteX110" fmla="*/ 912283 w 1360843"/>
              <a:gd name="connsiteY110" fmla="*/ 362534 h 662520"/>
              <a:gd name="connsiteX111" fmla="*/ 941719 w 1360843"/>
              <a:gd name="connsiteY111" fmla="*/ 393513 h 662520"/>
              <a:gd name="connsiteX112" fmla="*/ 959215 w 1360843"/>
              <a:gd name="connsiteY112" fmla="*/ 433502 h 662520"/>
              <a:gd name="connsiteX113" fmla="*/ 964996 w 1360843"/>
              <a:gd name="connsiteY113" fmla="*/ 482498 h 662520"/>
              <a:gd name="connsiteX114" fmla="*/ 959936 w 1360843"/>
              <a:gd name="connsiteY114" fmla="*/ 527743 h 662520"/>
              <a:gd name="connsiteX115" fmla="*/ 944659 w 1360843"/>
              <a:gd name="connsiteY115" fmla="*/ 567021 h 662520"/>
              <a:gd name="connsiteX116" fmla="*/ 920122 w 1360843"/>
              <a:gd name="connsiteY116" fmla="*/ 600232 h 662520"/>
              <a:gd name="connsiteX117" fmla="*/ 887285 w 1360843"/>
              <a:gd name="connsiteY117" fmla="*/ 627278 h 662520"/>
              <a:gd name="connsiteX118" fmla="*/ 847106 w 1360843"/>
              <a:gd name="connsiteY118" fmla="*/ 648061 h 662520"/>
              <a:gd name="connsiteX119" fmla="*/ 800544 w 1360843"/>
              <a:gd name="connsiteY119" fmla="*/ 662482 h 662520"/>
              <a:gd name="connsiteX120" fmla="*/ 1360843 w 1360843"/>
              <a:gd name="connsiteY120" fmla="*/ 662495 h 662520"/>
              <a:gd name="connsiteX0" fmla="*/ 60344 w 1360843"/>
              <a:gd name="connsiteY0" fmla="*/ 659582 h 662520"/>
              <a:gd name="connsiteX1" fmla="*/ 47517 w 1360843"/>
              <a:gd name="connsiteY1" fmla="*/ 656437 h 662520"/>
              <a:gd name="connsiteX2" fmla="*/ 35823 w 1360843"/>
              <a:gd name="connsiteY2" fmla="*/ 653092 h 662520"/>
              <a:gd name="connsiteX3" fmla="*/ 25336 w 1360843"/>
              <a:gd name="connsiteY3" fmla="*/ 649592 h 662520"/>
              <a:gd name="connsiteX4" fmla="*/ 25336 w 1360843"/>
              <a:gd name="connsiteY4" fmla="*/ 533196 h 662520"/>
              <a:gd name="connsiteX5" fmla="*/ 104190 w 1360843"/>
              <a:gd name="connsiteY5" fmla="*/ 533196 h 662520"/>
              <a:gd name="connsiteX6" fmla="*/ 116931 w 1360843"/>
              <a:gd name="connsiteY6" fmla="*/ 550133 h 662520"/>
              <a:gd name="connsiteX7" fmla="*/ 135043 w 1360843"/>
              <a:gd name="connsiteY7" fmla="*/ 564522 h 662520"/>
              <a:gd name="connsiteX8" fmla="*/ 160020 w 1360843"/>
              <a:gd name="connsiteY8" fmla="*/ 574514 h 662520"/>
              <a:gd name="connsiteX9" fmla="*/ 193357 w 1360843"/>
              <a:gd name="connsiteY9" fmla="*/ 578256 h 662520"/>
              <a:gd name="connsiteX10" fmla="*/ 233829 w 1360843"/>
              <a:gd name="connsiteY10" fmla="*/ 573672 h 662520"/>
              <a:gd name="connsiteX11" fmla="*/ 297105 w 1360843"/>
              <a:gd name="connsiteY11" fmla="*/ 537246 h 662520"/>
              <a:gd name="connsiteX12" fmla="*/ 320040 w 1360843"/>
              <a:gd name="connsiteY12" fmla="*/ 505568 h 662520"/>
              <a:gd name="connsiteX13" fmla="*/ 337261 w 1360843"/>
              <a:gd name="connsiteY13" fmla="*/ 465022 h 662520"/>
              <a:gd name="connsiteX14" fmla="*/ 348834 w 1360843"/>
              <a:gd name="connsiteY14" fmla="*/ 415691 h 662520"/>
              <a:gd name="connsiteX15" fmla="*/ 354825 w 1360843"/>
              <a:gd name="connsiteY15" fmla="*/ 357657 h 662520"/>
              <a:gd name="connsiteX16" fmla="*/ 325357 w 1360843"/>
              <a:gd name="connsiteY16" fmla="*/ 385098 h 662520"/>
              <a:gd name="connsiteX17" fmla="*/ 289466 w 1360843"/>
              <a:gd name="connsiteY17" fmla="*/ 406117 h 662520"/>
              <a:gd name="connsiteX18" fmla="*/ 247767 w 1360843"/>
              <a:gd name="connsiteY18" fmla="*/ 419568 h 662520"/>
              <a:gd name="connsiteX19" fmla="*/ 200875 w 1360843"/>
              <a:gd name="connsiteY19" fmla="*/ 424306 h 662520"/>
              <a:gd name="connsiteX20" fmla="*/ 153099 w 1360843"/>
              <a:gd name="connsiteY20" fmla="*/ 420031 h 662520"/>
              <a:gd name="connsiteX21" fmla="*/ 110150 w 1360843"/>
              <a:gd name="connsiteY21" fmla="*/ 407348 h 662520"/>
              <a:gd name="connsiteX22" fmla="*/ 72948 w 1360843"/>
              <a:gd name="connsiteY22" fmla="*/ 386472 h 662520"/>
              <a:gd name="connsiteX23" fmla="*/ 42412 w 1360843"/>
              <a:gd name="connsiteY23" fmla="*/ 357614 h 662520"/>
              <a:gd name="connsiteX24" fmla="*/ 19463 w 1360843"/>
              <a:gd name="connsiteY24" fmla="*/ 320990 h 662520"/>
              <a:gd name="connsiteX25" fmla="*/ 5019 w 1360843"/>
              <a:gd name="connsiteY25" fmla="*/ 276814 h 662520"/>
              <a:gd name="connsiteX26" fmla="*/ 0 w 1360843"/>
              <a:gd name="connsiteY26" fmla="*/ 225297 h 662520"/>
              <a:gd name="connsiteX27" fmla="*/ 4447 w 1360843"/>
              <a:gd name="connsiteY27" fmla="*/ 178425 h 662520"/>
              <a:gd name="connsiteX28" fmla="*/ 17453 w 1360843"/>
              <a:gd name="connsiteY28" fmla="*/ 135445 h 662520"/>
              <a:gd name="connsiteX29" fmla="*/ 38511 w 1360843"/>
              <a:gd name="connsiteY29" fmla="*/ 97085 h 662520"/>
              <a:gd name="connsiteX30" fmla="*/ 67116 w 1360843"/>
              <a:gd name="connsiteY30" fmla="*/ 64071 h 662520"/>
              <a:gd name="connsiteX31" fmla="*/ 102760 w 1360843"/>
              <a:gd name="connsiteY31" fmla="*/ 37129 h 662520"/>
              <a:gd name="connsiteX32" fmla="*/ 144939 w 1360843"/>
              <a:gd name="connsiteY32" fmla="*/ 16986 h 662520"/>
              <a:gd name="connsiteX33" fmla="*/ 193146 w 1360843"/>
              <a:gd name="connsiteY33" fmla="*/ 4367 h 662520"/>
              <a:gd name="connsiteX34" fmla="*/ 246875 w 1360843"/>
              <a:gd name="connsiteY34" fmla="*/ 0 h 662520"/>
              <a:gd name="connsiteX35" fmla="*/ 290625 w 1360843"/>
              <a:gd name="connsiteY35" fmla="*/ 2882 h 662520"/>
              <a:gd name="connsiteX36" fmla="*/ 331492 w 1360843"/>
              <a:gd name="connsiteY36" fmla="*/ 11678 h 662520"/>
              <a:gd name="connsiteX37" fmla="*/ 369070 w 1360843"/>
              <a:gd name="connsiteY37" fmla="*/ 26614 h 662520"/>
              <a:gd name="connsiteX38" fmla="*/ 402953 w 1360843"/>
              <a:gd name="connsiteY38" fmla="*/ 47914 h 662520"/>
              <a:gd name="connsiteX39" fmla="*/ 432736 w 1360843"/>
              <a:gd name="connsiteY39" fmla="*/ 75804 h 662520"/>
              <a:gd name="connsiteX40" fmla="*/ 458013 w 1360843"/>
              <a:gd name="connsiteY40" fmla="*/ 110509 h 662520"/>
              <a:gd name="connsiteX41" fmla="*/ 478379 w 1360843"/>
              <a:gd name="connsiteY41" fmla="*/ 152255 h 662520"/>
              <a:gd name="connsiteX42" fmla="*/ 493429 w 1360843"/>
              <a:gd name="connsiteY42" fmla="*/ 201265 h 662520"/>
              <a:gd name="connsiteX43" fmla="*/ 502756 w 1360843"/>
              <a:gd name="connsiteY43" fmla="*/ 257766 h 662520"/>
              <a:gd name="connsiteX44" fmla="*/ 505955 w 1360843"/>
              <a:gd name="connsiteY44" fmla="*/ 321983 h 662520"/>
              <a:gd name="connsiteX45" fmla="*/ 503406 w 1360843"/>
              <a:gd name="connsiteY45" fmla="*/ 376707 h 662520"/>
              <a:gd name="connsiteX46" fmla="*/ 495858 w 1360843"/>
              <a:gd name="connsiteY46" fmla="*/ 427041 h 662520"/>
              <a:gd name="connsiteX47" fmla="*/ 483456 w 1360843"/>
              <a:gd name="connsiteY47" fmla="*/ 472909 h 662520"/>
              <a:gd name="connsiteX48" fmla="*/ 466346 w 1360843"/>
              <a:gd name="connsiteY48" fmla="*/ 514232 h 662520"/>
              <a:gd name="connsiteX49" fmla="*/ 444674 w 1360843"/>
              <a:gd name="connsiteY49" fmla="*/ 550937 h 662520"/>
              <a:gd name="connsiteX50" fmla="*/ 418587 w 1360843"/>
              <a:gd name="connsiteY50" fmla="*/ 582945 h 662520"/>
              <a:gd name="connsiteX51" fmla="*/ 388229 w 1360843"/>
              <a:gd name="connsiteY51" fmla="*/ 610181 h 662520"/>
              <a:gd name="connsiteX52" fmla="*/ 353748 w 1360843"/>
              <a:gd name="connsiteY52" fmla="*/ 632569 h 662520"/>
              <a:gd name="connsiteX53" fmla="*/ 315289 w 1360843"/>
              <a:gd name="connsiteY53" fmla="*/ 650033 h 662520"/>
              <a:gd name="connsiteX54" fmla="*/ 272999 w 1360843"/>
              <a:gd name="connsiteY54" fmla="*/ 662495 h 662520"/>
              <a:gd name="connsiteX55" fmla="*/ 592162 w 1360843"/>
              <a:gd name="connsiteY55" fmla="*/ 662520 h 662520"/>
              <a:gd name="connsiteX56" fmla="*/ 571167 w 1360843"/>
              <a:gd name="connsiteY56" fmla="*/ 658030 h 662520"/>
              <a:gd name="connsiteX57" fmla="*/ 551373 w 1360843"/>
              <a:gd name="connsiteY57" fmla="*/ 652783 h 662520"/>
              <a:gd name="connsiteX58" fmla="*/ 532537 w 1360843"/>
              <a:gd name="connsiteY58" fmla="*/ 646826 h 662520"/>
              <a:gd name="connsiteX59" fmla="*/ 514413 w 1360843"/>
              <a:gd name="connsiteY59" fmla="*/ 640206 h 662520"/>
              <a:gd name="connsiteX60" fmla="*/ 514413 w 1360843"/>
              <a:gd name="connsiteY60" fmla="*/ 516293 h 662520"/>
              <a:gd name="connsiteX61" fmla="*/ 596087 w 1360843"/>
              <a:gd name="connsiteY61" fmla="*/ 516293 h 662520"/>
              <a:gd name="connsiteX62" fmla="*/ 612203 w 1360843"/>
              <a:gd name="connsiteY62" fmla="*/ 539439 h 662520"/>
              <a:gd name="connsiteX63" fmla="*/ 635627 w 1360843"/>
              <a:gd name="connsiteY63" fmla="*/ 559242 h 662520"/>
              <a:gd name="connsiteX64" fmla="*/ 666972 w 1360843"/>
              <a:gd name="connsiteY64" fmla="*/ 573062 h 662520"/>
              <a:gd name="connsiteX65" fmla="*/ 706856 w 1360843"/>
              <a:gd name="connsiteY65" fmla="*/ 578256 h 662520"/>
              <a:gd name="connsiteX66" fmla="*/ 749359 w 1360843"/>
              <a:gd name="connsiteY66" fmla="*/ 571758 h 662520"/>
              <a:gd name="connsiteX67" fmla="*/ 784298 w 1360843"/>
              <a:gd name="connsiteY67" fmla="*/ 552322 h 662520"/>
              <a:gd name="connsiteX68" fmla="*/ 807972 w 1360843"/>
              <a:gd name="connsiteY68" fmla="*/ 520038 h 662520"/>
              <a:gd name="connsiteX69" fmla="*/ 816686 w 1360843"/>
              <a:gd name="connsiteY69" fmla="*/ 474992 h 662520"/>
              <a:gd name="connsiteX70" fmla="*/ 809424 w 1360843"/>
              <a:gd name="connsiteY70" fmla="*/ 430240 h 662520"/>
              <a:gd name="connsiteX71" fmla="*/ 787466 w 1360843"/>
              <a:gd name="connsiteY71" fmla="*/ 398602 h 662520"/>
              <a:gd name="connsiteX72" fmla="*/ 750549 w 1360843"/>
              <a:gd name="connsiteY72" fmla="*/ 379812 h 662520"/>
              <a:gd name="connsiteX73" fmla="*/ 698411 w 1360843"/>
              <a:gd name="connsiteY73" fmla="*/ 373608 h 662520"/>
              <a:gd name="connsiteX74" fmla="*/ 649592 w 1360843"/>
              <a:gd name="connsiteY74" fmla="*/ 373608 h 662520"/>
              <a:gd name="connsiteX75" fmla="*/ 649592 w 1360843"/>
              <a:gd name="connsiteY75" fmla="*/ 286308 h 662520"/>
              <a:gd name="connsiteX76" fmla="*/ 690892 w 1360843"/>
              <a:gd name="connsiteY76" fmla="*/ 286308 h 662520"/>
              <a:gd name="connsiteX77" fmla="*/ 744563 w 1360843"/>
              <a:gd name="connsiteY77" fmla="*/ 280133 h 662520"/>
              <a:gd name="connsiteX78" fmla="*/ 783007 w 1360843"/>
              <a:gd name="connsiteY78" fmla="*/ 261550 h 662520"/>
              <a:gd name="connsiteX79" fmla="*/ 806137 w 1360843"/>
              <a:gd name="connsiteY79" fmla="*/ 230469 h 662520"/>
              <a:gd name="connsiteX80" fmla="*/ 813866 w 1360843"/>
              <a:gd name="connsiteY80" fmla="*/ 186804 h 662520"/>
              <a:gd name="connsiteX81" fmla="*/ 808513 w 1360843"/>
              <a:gd name="connsiteY81" fmla="*/ 149115 h 662520"/>
              <a:gd name="connsiteX82" fmla="*/ 792160 w 1360843"/>
              <a:gd name="connsiteY82" fmla="*/ 121104 h 662520"/>
              <a:gd name="connsiteX83" fmla="*/ 764365 w 1360843"/>
              <a:gd name="connsiteY83" fmla="*/ 103651 h 662520"/>
              <a:gd name="connsiteX84" fmla="*/ 724687 w 1360843"/>
              <a:gd name="connsiteY84" fmla="*/ 97637 h 662520"/>
              <a:gd name="connsiteX85" fmla="*/ 687243 w 1360843"/>
              <a:gd name="connsiteY85" fmla="*/ 102374 h 662520"/>
              <a:gd name="connsiteX86" fmla="*/ 657456 w 1360843"/>
              <a:gd name="connsiteY86" fmla="*/ 115117 h 662520"/>
              <a:gd name="connsiteX87" fmla="*/ 634533 w 1360843"/>
              <a:gd name="connsiteY87" fmla="*/ 133668 h 662520"/>
              <a:gd name="connsiteX88" fmla="*/ 617677 w 1360843"/>
              <a:gd name="connsiteY88" fmla="*/ 155828 h 662520"/>
              <a:gd name="connsiteX89" fmla="*/ 539775 w 1360843"/>
              <a:gd name="connsiteY89" fmla="*/ 155828 h 662520"/>
              <a:gd name="connsiteX90" fmla="*/ 539775 w 1360843"/>
              <a:gd name="connsiteY90" fmla="*/ 33807 h 662520"/>
              <a:gd name="connsiteX91" fmla="*/ 584006 w 1360843"/>
              <a:gd name="connsiteY91" fmla="*/ 19813 h 662520"/>
              <a:gd name="connsiteX92" fmla="*/ 631056 w 1360843"/>
              <a:gd name="connsiteY92" fmla="*/ 9159 h 662520"/>
              <a:gd name="connsiteX93" fmla="*/ 681278 w 1360843"/>
              <a:gd name="connsiteY93" fmla="*/ 2378 h 662520"/>
              <a:gd name="connsiteX94" fmla="*/ 735025 w 1360843"/>
              <a:gd name="connsiteY94" fmla="*/ 0 h 662520"/>
              <a:gd name="connsiteX95" fmla="*/ 790395 w 1360843"/>
              <a:gd name="connsiteY95" fmla="*/ 3158 h 662520"/>
              <a:gd name="connsiteX96" fmla="*/ 838689 w 1360843"/>
              <a:gd name="connsiteY96" fmla="*/ 12853 h 662520"/>
              <a:gd name="connsiteX97" fmla="*/ 879380 w 1360843"/>
              <a:gd name="connsiteY97" fmla="*/ 29412 h 662520"/>
              <a:gd name="connsiteX98" fmla="*/ 911943 w 1360843"/>
              <a:gd name="connsiteY98" fmla="*/ 53163 h 662520"/>
              <a:gd name="connsiteX99" fmla="*/ 935853 w 1360843"/>
              <a:gd name="connsiteY99" fmla="*/ 84435 h 662520"/>
              <a:gd name="connsiteX100" fmla="*/ 950584 w 1360843"/>
              <a:gd name="connsiteY100" fmla="*/ 123555 h 662520"/>
              <a:gd name="connsiteX101" fmla="*/ 955611 w 1360843"/>
              <a:gd name="connsiteY101" fmla="*/ 170853 h 662520"/>
              <a:gd name="connsiteX102" fmla="*/ 949453 w 1360843"/>
              <a:gd name="connsiteY102" fmla="*/ 219568 h 662520"/>
              <a:gd name="connsiteX103" fmla="*/ 931581 w 1360843"/>
              <a:gd name="connsiteY103" fmla="*/ 258234 h 662520"/>
              <a:gd name="connsiteX104" fmla="*/ 902895 w 1360843"/>
              <a:gd name="connsiteY104" fmla="*/ 287843 h 662520"/>
              <a:gd name="connsiteX105" fmla="*/ 864296 w 1360843"/>
              <a:gd name="connsiteY105" fmla="*/ 309388 h 662520"/>
              <a:gd name="connsiteX106" fmla="*/ 816686 w 1360843"/>
              <a:gd name="connsiteY106" fmla="*/ 323862 h 662520"/>
              <a:gd name="connsiteX107" fmla="*/ 816686 w 1360843"/>
              <a:gd name="connsiteY107" fmla="*/ 327609 h 662520"/>
              <a:gd name="connsiteX108" fmla="*/ 870681 w 1360843"/>
              <a:gd name="connsiteY108" fmla="*/ 340566 h 662520"/>
              <a:gd name="connsiteX109" fmla="*/ 912283 w 1360843"/>
              <a:gd name="connsiteY109" fmla="*/ 362534 h 662520"/>
              <a:gd name="connsiteX110" fmla="*/ 941719 w 1360843"/>
              <a:gd name="connsiteY110" fmla="*/ 393513 h 662520"/>
              <a:gd name="connsiteX111" fmla="*/ 959215 w 1360843"/>
              <a:gd name="connsiteY111" fmla="*/ 433502 h 662520"/>
              <a:gd name="connsiteX112" fmla="*/ 964996 w 1360843"/>
              <a:gd name="connsiteY112" fmla="*/ 482498 h 662520"/>
              <a:gd name="connsiteX113" fmla="*/ 959936 w 1360843"/>
              <a:gd name="connsiteY113" fmla="*/ 527743 h 662520"/>
              <a:gd name="connsiteX114" fmla="*/ 944659 w 1360843"/>
              <a:gd name="connsiteY114" fmla="*/ 567021 h 662520"/>
              <a:gd name="connsiteX115" fmla="*/ 920122 w 1360843"/>
              <a:gd name="connsiteY115" fmla="*/ 600232 h 662520"/>
              <a:gd name="connsiteX116" fmla="*/ 887285 w 1360843"/>
              <a:gd name="connsiteY116" fmla="*/ 627278 h 662520"/>
              <a:gd name="connsiteX117" fmla="*/ 847106 w 1360843"/>
              <a:gd name="connsiteY117" fmla="*/ 648061 h 662520"/>
              <a:gd name="connsiteX118" fmla="*/ 800544 w 1360843"/>
              <a:gd name="connsiteY118" fmla="*/ 662482 h 662520"/>
              <a:gd name="connsiteX119" fmla="*/ 1360843 w 1360843"/>
              <a:gd name="connsiteY119" fmla="*/ 662495 h 662520"/>
              <a:gd name="connsiteX0" fmla="*/ 47517 w 1360843"/>
              <a:gd name="connsiteY0" fmla="*/ 656437 h 662520"/>
              <a:gd name="connsiteX1" fmla="*/ 35823 w 1360843"/>
              <a:gd name="connsiteY1" fmla="*/ 653092 h 662520"/>
              <a:gd name="connsiteX2" fmla="*/ 25336 w 1360843"/>
              <a:gd name="connsiteY2" fmla="*/ 649592 h 662520"/>
              <a:gd name="connsiteX3" fmla="*/ 25336 w 1360843"/>
              <a:gd name="connsiteY3" fmla="*/ 533196 h 662520"/>
              <a:gd name="connsiteX4" fmla="*/ 104190 w 1360843"/>
              <a:gd name="connsiteY4" fmla="*/ 533196 h 662520"/>
              <a:gd name="connsiteX5" fmla="*/ 116931 w 1360843"/>
              <a:gd name="connsiteY5" fmla="*/ 550133 h 662520"/>
              <a:gd name="connsiteX6" fmla="*/ 135043 w 1360843"/>
              <a:gd name="connsiteY6" fmla="*/ 564522 h 662520"/>
              <a:gd name="connsiteX7" fmla="*/ 160020 w 1360843"/>
              <a:gd name="connsiteY7" fmla="*/ 574514 h 662520"/>
              <a:gd name="connsiteX8" fmla="*/ 193357 w 1360843"/>
              <a:gd name="connsiteY8" fmla="*/ 578256 h 662520"/>
              <a:gd name="connsiteX9" fmla="*/ 233829 w 1360843"/>
              <a:gd name="connsiteY9" fmla="*/ 573672 h 662520"/>
              <a:gd name="connsiteX10" fmla="*/ 297105 w 1360843"/>
              <a:gd name="connsiteY10" fmla="*/ 537246 h 662520"/>
              <a:gd name="connsiteX11" fmla="*/ 320040 w 1360843"/>
              <a:gd name="connsiteY11" fmla="*/ 505568 h 662520"/>
              <a:gd name="connsiteX12" fmla="*/ 337261 w 1360843"/>
              <a:gd name="connsiteY12" fmla="*/ 465022 h 662520"/>
              <a:gd name="connsiteX13" fmla="*/ 348834 w 1360843"/>
              <a:gd name="connsiteY13" fmla="*/ 415691 h 662520"/>
              <a:gd name="connsiteX14" fmla="*/ 354825 w 1360843"/>
              <a:gd name="connsiteY14" fmla="*/ 357657 h 662520"/>
              <a:gd name="connsiteX15" fmla="*/ 325357 w 1360843"/>
              <a:gd name="connsiteY15" fmla="*/ 385098 h 662520"/>
              <a:gd name="connsiteX16" fmla="*/ 289466 w 1360843"/>
              <a:gd name="connsiteY16" fmla="*/ 406117 h 662520"/>
              <a:gd name="connsiteX17" fmla="*/ 247767 w 1360843"/>
              <a:gd name="connsiteY17" fmla="*/ 419568 h 662520"/>
              <a:gd name="connsiteX18" fmla="*/ 200875 w 1360843"/>
              <a:gd name="connsiteY18" fmla="*/ 424306 h 662520"/>
              <a:gd name="connsiteX19" fmla="*/ 153099 w 1360843"/>
              <a:gd name="connsiteY19" fmla="*/ 420031 h 662520"/>
              <a:gd name="connsiteX20" fmla="*/ 110150 w 1360843"/>
              <a:gd name="connsiteY20" fmla="*/ 407348 h 662520"/>
              <a:gd name="connsiteX21" fmla="*/ 72948 w 1360843"/>
              <a:gd name="connsiteY21" fmla="*/ 386472 h 662520"/>
              <a:gd name="connsiteX22" fmla="*/ 42412 w 1360843"/>
              <a:gd name="connsiteY22" fmla="*/ 357614 h 662520"/>
              <a:gd name="connsiteX23" fmla="*/ 19463 w 1360843"/>
              <a:gd name="connsiteY23" fmla="*/ 320990 h 662520"/>
              <a:gd name="connsiteX24" fmla="*/ 5019 w 1360843"/>
              <a:gd name="connsiteY24" fmla="*/ 276814 h 662520"/>
              <a:gd name="connsiteX25" fmla="*/ 0 w 1360843"/>
              <a:gd name="connsiteY25" fmla="*/ 225297 h 662520"/>
              <a:gd name="connsiteX26" fmla="*/ 4447 w 1360843"/>
              <a:gd name="connsiteY26" fmla="*/ 178425 h 662520"/>
              <a:gd name="connsiteX27" fmla="*/ 17453 w 1360843"/>
              <a:gd name="connsiteY27" fmla="*/ 135445 h 662520"/>
              <a:gd name="connsiteX28" fmla="*/ 38511 w 1360843"/>
              <a:gd name="connsiteY28" fmla="*/ 97085 h 662520"/>
              <a:gd name="connsiteX29" fmla="*/ 67116 w 1360843"/>
              <a:gd name="connsiteY29" fmla="*/ 64071 h 662520"/>
              <a:gd name="connsiteX30" fmla="*/ 102760 w 1360843"/>
              <a:gd name="connsiteY30" fmla="*/ 37129 h 662520"/>
              <a:gd name="connsiteX31" fmla="*/ 144939 w 1360843"/>
              <a:gd name="connsiteY31" fmla="*/ 16986 h 662520"/>
              <a:gd name="connsiteX32" fmla="*/ 193146 w 1360843"/>
              <a:gd name="connsiteY32" fmla="*/ 4367 h 662520"/>
              <a:gd name="connsiteX33" fmla="*/ 246875 w 1360843"/>
              <a:gd name="connsiteY33" fmla="*/ 0 h 662520"/>
              <a:gd name="connsiteX34" fmla="*/ 290625 w 1360843"/>
              <a:gd name="connsiteY34" fmla="*/ 2882 h 662520"/>
              <a:gd name="connsiteX35" fmla="*/ 331492 w 1360843"/>
              <a:gd name="connsiteY35" fmla="*/ 11678 h 662520"/>
              <a:gd name="connsiteX36" fmla="*/ 369070 w 1360843"/>
              <a:gd name="connsiteY36" fmla="*/ 26614 h 662520"/>
              <a:gd name="connsiteX37" fmla="*/ 402953 w 1360843"/>
              <a:gd name="connsiteY37" fmla="*/ 47914 h 662520"/>
              <a:gd name="connsiteX38" fmla="*/ 432736 w 1360843"/>
              <a:gd name="connsiteY38" fmla="*/ 75804 h 662520"/>
              <a:gd name="connsiteX39" fmla="*/ 458013 w 1360843"/>
              <a:gd name="connsiteY39" fmla="*/ 110509 h 662520"/>
              <a:gd name="connsiteX40" fmla="*/ 478379 w 1360843"/>
              <a:gd name="connsiteY40" fmla="*/ 152255 h 662520"/>
              <a:gd name="connsiteX41" fmla="*/ 493429 w 1360843"/>
              <a:gd name="connsiteY41" fmla="*/ 201265 h 662520"/>
              <a:gd name="connsiteX42" fmla="*/ 502756 w 1360843"/>
              <a:gd name="connsiteY42" fmla="*/ 257766 h 662520"/>
              <a:gd name="connsiteX43" fmla="*/ 505955 w 1360843"/>
              <a:gd name="connsiteY43" fmla="*/ 321983 h 662520"/>
              <a:gd name="connsiteX44" fmla="*/ 503406 w 1360843"/>
              <a:gd name="connsiteY44" fmla="*/ 376707 h 662520"/>
              <a:gd name="connsiteX45" fmla="*/ 495858 w 1360843"/>
              <a:gd name="connsiteY45" fmla="*/ 427041 h 662520"/>
              <a:gd name="connsiteX46" fmla="*/ 483456 w 1360843"/>
              <a:gd name="connsiteY46" fmla="*/ 472909 h 662520"/>
              <a:gd name="connsiteX47" fmla="*/ 466346 w 1360843"/>
              <a:gd name="connsiteY47" fmla="*/ 514232 h 662520"/>
              <a:gd name="connsiteX48" fmla="*/ 444674 w 1360843"/>
              <a:gd name="connsiteY48" fmla="*/ 550937 h 662520"/>
              <a:gd name="connsiteX49" fmla="*/ 418587 w 1360843"/>
              <a:gd name="connsiteY49" fmla="*/ 582945 h 662520"/>
              <a:gd name="connsiteX50" fmla="*/ 388229 w 1360843"/>
              <a:gd name="connsiteY50" fmla="*/ 610181 h 662520"/>
              <a:gd name="connsiteX51" fmla="*/ 353748 w 1360843"/>
              <a:gd name="connsiteY51" fmla="*/ 632569 h 662520"/>
              <a:gd name="connsiteX52" fmla="*/ 315289 w 1360843"/>
              <a:gd name="connsiteY52" fmla="*/ 650033 h 662520"/>
              <a:gd name="connsiteX53" fmla="*/ 272999 w 1360843"/>
              <a:gd name="connsiteY53" fmla="*/ 662495 h 662520"/>
              <a:gd name="connsiteX54" fmla="*/ 592162 w 1360843"/>
              <a:gd name="connsiteY54" fmla="*/ 662520 h 662520"/>
              <a:gd name="connsiteX55" fmla="*/ 571167 w 1360843"/>
              <a:gd name="connsiteY55" fmla="*/ 658030 h 662520"/>
              <a:gd name="connsiteX56" fmla="*/ 551373 w 1360843"/>
              <a:gd name="connsiteY56" fmla="*/ 652783 h 662520"/>
              <a:gd name="connsiteX57" fmla="*/ 532537 w 1360843"/>
              <a:gd name="connsiteY57" fmla="*/ 646826 h 662520"/>
              <a:gd name="connsiteX58" fmla="*/ 514413 w 1360843"/>
              <a:gd name="connsiteY58" fmla="*/ 640206 h 662520"/>
              <a:gd name="connsiteX59" fmla="*/ 514413 w 1360843"/>
              <a:gd name="connsiteY59" fmla="*/ 516293 h 662520"/>
              <a:gd name="connsiteX60" fmla="*/ 596087 w 1360843"/>
              <a:gd name="connsiteY60" fmla="*/ 516293 h 662520"/>
              <a:gd name="connsiteX61" fmla="*/ 612203 w 1360843"/>
              <a:gd name="connsiteY61" fmla="*/ 539439 h 662520"/>
              <a:gd name="connsiteX62" fmla="*/ 635627 w 1360843"/>
              <a:gd name="connsiteY62" fmla="*/ 559242 h 662520"/>
              <a:gd name="connsiteX63" fmla="*/ 666972 w 1360843"/>
              <a:gd name="connsiteY63" fmla="*/ 573062 h 662520"/>
              <a:gd name="connsiteX64" fmla="*/ 706856 w 1360843"/>
              <a:gd name="connsiteY64" fmla="*/ 578256 h 662520"/>
              <a:gd name="connsiteX65" fmla="*/ 749359 w 1360843"/>
              <a:gd name="connsiteY65" fmla="*/ 571758 h 662520"/>
              <a:gd name="connsiteX66" fmla="*/ 784298 w 1360843"/>
              <a:gd name="connsiteY66" fmla="*/ 552322 h 662520"/>
              <a:gd name="connsiteX67" fmla="*/ 807972 w 1360843"/>
              <a:gd name="connsiteY67" fmla="*/ 520038 h 662520"/>
              <a:gd name="connsiteX68" fmla="*/ 816686 w 1360843"/>
              <a:gd name="connsiteY68" fmla="*/ 474992 h 662520"/>
              <a:gd name="connsiteX69" fmla="*/ 809424 w 1360843"/>
              <a:gd name="connsiteY69" fmla="*/ 430240 h 662520"/>
              <a:gd name="connsiteX70" fmla="*/ 787466 w 1360843"/>
              <a:gd name="connsiteY70" fmla="*/ 398602 h 662520"/>
              <a:gd name="connsiteX71" fmla="*/ 750549 w 1360843"/>
              <a:gd name="connsiteY71" fmla="*/ 379812 h 662520"/>
              <a:gd name="connsiteX72" fmla="*/ 698411 w 1360843"/>
              <a:gd name="connsiteY72" fmla="*/ 373608 h 662520"/>
              <a:gd name="connsiteX73" fmla="*/ 649592 w 1360843"/>
              <a:gd name="connsiteY73" fmla="*/ 373608 h 662520"/>
              <a:gd name="connsiteX74" fmla="*/ 649592 w 1360843"/>
              <a:gd name="connsiteY74" fmla="*/ 286308 h 662520"/>
              <a:gd name="connsiteX75" fmla="*/ 690892 w 1360843"/>
              <a:gd name="connsiteY75" fmla="*/ 286308 h 662520"/>
              <a:gd name="connsiteX76" fmla="*/ 744563 w 1360843"/>
              <a:gd name="connsiteY76" fmla="*/ 280133 h 662520"/>
              <a:gd name="connsiteX77" fmla="*/ 783007 w 1360843"/>
              <a:gd name="connsiteY77" fmla="*/ 261550 h 662520"/>
              <a:gd name="connsiteX78" fmla="*/ 806137 w 1360843"/>
              <a:gd name="connsiteY78" fmla="*/ 230469 h 662520"/>
              <a:gd name="connsiteX79" fmla="*/ 813866 w 1360843"/>
              <a:gd name="connsiteY79" fmla="*/ 186804 h 662520"/>
              <a:gd name="connsiteX80" fmla="*/ 808513 w 1360843"/>
              <a:gd name="connsiteY80" fmla="*/ 149115 h 662520"/>
              <a:gd name="connsiteX81" fmla="*/ 792160 w 1360843"/>
              <a:gd name="connsiteY81" fmla="*/ 121104 h 662520"/>
              <a:gd name="connsiteX82" fmla="*/ 764365 w 1360843"/>
              <a:gd name="connsiteY82" fmla="*/ 103651 h 662520"/>
              <a:gd name="connsiteX83" fmla="*/ 724687 w 1360843"/>
              <a:gd name="connsiteY83" fmla="*/ 97637 h 662520"/>
              <a:gd name="connsiteX84" fmla="*/ 687243 w 1360843"/>
              <a:gd name="connsiteY84" fmla="*/ 102374 h 662520"/>
              <a:gd name="connsiteX85" fmla="*/ 657456 w 1360843"/>
              <a:gd name="connsiteY85" fmla="*/ 115117 h 662520"/>
              <a:gd name="connsiteX86" fmla="*/ 634533 w 1360843"/>
              <a:gd name="connsiteY86" fmla="*/ 133668 h 662520"/>
              <a:gd name="connsiteX87" fmla="*/ 617677 w 1360843"/>
              <a:gd name="connsiteY87" fmla="*/ 155828 h 662520"/>
              <a:gd name="connsiteX88" fmla="*/ 539775 w 1360843"/>
              <a:gd name="connsiteY88" fmla="*/ 155828 h 662520"/>
              <a:gd name="connsiteX89" fmla="*/ 539775 w 1360843"/>
              <a:gd name="connsiteY89" fmla="*/ 33807 h 662520"/>
              <a:gd name="connsiteX90" fmla="*/ 584006 w 1360843"/>
              <a:gd name="connsiteY90" fmla="*/ 19813 h 662520"/>
              <a:gd name="connsiteX91" fmla="*/ 631056 w 1360843"/>
              <a:gd name="connsiteY91" fmla="*/ 9159 h 662520"/>
              <a:gd name="connsiteX92" fmla="*/ 681278 w 1360843"/>
              <a:gd name="connsiteY92" fmla="*/ 2378 h 662520"/>
              <a:gd name="connsiteX93" fmla="*/ 735025 w 1360843"/>
              <a:gd name="connsiteY93" fmla="*/ 0 h 662520"/>
              <a:gd name="connsiteX94" fmla="*/ 790395 w 1360843"/>
              <a:gd name="connsiteY94" fmla="*/ 3158 h 662520"/>
              <a:gd name="connsiteX95" fmla="*/ 838689 w 1360843"/>
              <a:gd name="connsiteY95" fmla="*/ 12853 h 662520"/>
              <a:gd name="connsiteX96" fmla="*/ 879380 w 1360843"/>
              <a:gd name="connsiteY96" fmla="*/ 29412 h 662520"/>
              <a:gd name="connsiteX97" fmla="*/ 911943 w 1360843"/>
              <a:gd name="connsiteY97" fmla="*/ 53163 h 662520"/>
              <a:gd name="connsiteX98" fmla="*/ 935853 w 1360843"/>
              <a:gd name="connsiteY98" fmla="*/ 84435 h 662520"/>
              <a:gd name="connsiteX99" fmla="*/ 950584 w 1360843"/>
              <a:gd name="connsiteY99" fmla="*/ 123555 h 662520"/>
              <a:gd name="connsiteX100" fmla="*/ 955611 w 1360843"/>
              <a:gd name="connsiteY100" fmla="*/ 170853 h 662520"/>
              <a:gd name="connsiteX101" fmla="*/ 949453 w 1360843"/>
              <a:gd name="connsiteY101" fmla="*/ 219568 h 662520"/>
              <a:gd name="connsiteX102" fmla="*/ 931581 w 1360843"/>
              <a:gd name="connsiteY102" fmla="*/ 258234 h 662520"/>
              <a:gd name="connsiteX103" fmla="*/ 902895 w 1360843"/>
              <a:gd name="connsiteY103" fmla="*/ 287843 h 662520"/>
              <a:gd name="connsiteX104" fmla="*/ 864296 w 1360843"/>
              <a:gd name="connsiteY104" fmla="*/ 309388 h 662520"/>
              <a:gd name="connsiteX105" fmla="*/ 816686 w 1360843"/>
              <a:gd name="connsiteY105" fmla="*/ 323862 h 662520"/>
              <a:gd name="connsiteX106" fmla="*/ 816686 w 1360843"/>
              <a:gd name="connsiteY106" fmla="*/ 327609 h 662520"/>
              <a:gd name="connsiteX107" fmla="*/ 870681 w 1360843"/>
              <a:gd name="connsiteY107" fmla="*/ 340566 h 662520"/>
              <a:gd name="connsiteX108" fmla="*/ 912283 w 1360843"/>
              <a:gd name="connsiteY108" fmla="*/ 362534 h 662520"/>
              <a:gd name="connsiteX109" fmla="*/ 941719 w 1360843"/>
              <a:gd name="connsiteY109" fmla="*/ 393513 h 662520"/>
              <a:gd name="connsiteX110" fmla="*/ 959215 w 1360843"/>
              <a:gd name="connsiteY110" fmla="*/ 433502 h 662520"/>
              <a:gd name="connsiteX111" fmla="*/ 964996 w 1360843"/>
              <a:gd name="connsiteY111" fmla="*/ 482498 h 662520"/>
              <a:gd name="connsiteX112" fmla="*/ 959936 w 1360843"/>
              <a:gd name="connsiteY112" fmla="*/ 527743 h 662520"/>
              <a:gd name="connsiteX113" fmla="*/ 944659 w 1360843"/>
              <a:gd name="connsiteY113" fmla="*/ 567021 h 662520"/>
              <a:gd name="connsiteX114" fmla="*/ 920122 w 1360843"/>
              <a:gd name="connsiteY114" fmla="*/ 600232 h 662520"/>
              <a:gd name="connsiteX115" fmla="*/ 887285 w 1360843"/>
              <a:gd name="connsiteY115" fmla="*/ 627278 h 662520"/>
              <a:gd name="connsiteX116" fmla="*/ 847106 w 1360843"/>
              <a:gd name="connsiteY116" fmla="*/ 648061 h 662520"/>
              <a:gd name="connsiteX117" fmla="*/ 800544 w 1360843"/>
              <a:gd name="connsiteY117" fmla="*/ 662482 h 662520"/>
              <a:gd name="connsiteX118" fmla="*/ 1360843 w 1360843"/>
              <a:gd name="connsiteY118" fmla="*/ 662495 h 662520"/>
              <a:gd name="connsiteX0" fmla="*/ 35823 w 1360843"/>
              <a:gd name="connsiteY0" fmla="*/ 653092 h 662520"/>
              <a:gd name="connsiteX1" fmla="*/ 25336 w 1360843"/>
              <a:gd name="connsiteY1" fmla="*/ 649592 h 662520"/>
              <a:gd name="connsiteX2" fmla="*/ 25336 w 1360843"/>
              <a:gd name="connsiteY2" fmla="*/ 533196 h 662520"/>
              <a:gd name="connsiteX3" fmla="*/ 104190 w 1360843"/>
              <a:gd name="connsiteY3" fmla="*/ 533196 h 662520"/>
              <a:gd name="connsiteX4" fmla="*/ 116931 w 1360843"/>
              <a:gd name="connsiteY4" fmla="*/ 550133 h 662520"/>
              <a:gd name="connsiteX5" fmla="*/ 135043 w 1360843"/>
              <a:gd name="connsiteY5" fmla="*/ 564522 h 662520"/>
              <a:gd name="connsiteX6" fmla="*/ 160020 w 1360843"/>
              <a:gd name="connsiteY6" fmla="*/ 574514 h 662520"/>
              <a:gd name="connsiteX7" fmla="*/ 193357 w 1360843"/>
              <a:gd name="connsiteY7" fmla="*/ 578256 h 662520"/>
              <a:gd name="connsiteX8" fmla="*/ 233829 w 1360843"/>
              <a:gd name="connsiteY8" fmla="*/ 573672 h 662520"/>
              <a:gd name="connsiteX9" fmla="*/ 297105 w 1360843"/>
              <a:gd name="connsiteY9" fmla="*/ 537246 h 662520"/>
              <a:gd name="connsiteX10" fmla="*/ 320040 w 1360843"/>
              <a:gd name="connsiteY10" fmla="*/ 505568 h 662520"/>
              <a:gd name="connsiteX11" fmla="*/ 337261 w 1360843"/>
              <a:gd name="connsiteY11" fmla="*/ 465022 h 662520"/>
              <a:gd name="connsiteX12" fmla="*/ 348834 w 1360843"/>
              <a:gd name="connsiteY12" fmla="*/ 415691 h 662520"/>
              <a:gd name="connsiteX13" fmla="*/ 354825 w 1360843"/>
              <a:gd name="connsiteY13" fmla="*/ 357657 h 662520"/>
              <a:gd name="connsiteX14" fmla="*/ 325357 w 1360843"/>
              <a:gd name="connsiteY14" fmla="*/ 385098 h 662520"/>
              <a:gd name="connsiteX15" fmla="*/ 289466 w 1360843"/>
              <a:gd name="connsiteY15" fmla="*/ 406117 h 662520"/>
              <a:gd name="connsiteX16" fmla="*/ 247767 w 1360843"/>
              <a:gd name="connsiteY16" fmla="*/ 419568 h 662520"/>
              <a:gd name="connsiteX17" fmla="*/ 200875 w 1360843"/>
              <a:gd name="connsiteY17" fmla="*/ 424306 h 662520"/>
              <a:gd name="connsiteX18" fmla="*/ 153099 w 1360843"/>
              <a:gd name="connsiteY18" fmla="*/ 420031 h 662520"/>
              <a:gd name="connsiteX19" fmla="*/ 110150 w 1360843"/>
              <a:gd name="connsiteY19" fmla="*/ 407348 h 662520"/>
              <a:gd name="connsiteX20" fmla="*/ 72948 w 1360843"/>
              <a:gd name="connsiteY20" fmla="*/ 386472 h 662520"/>
              <a:gd name="connsiteX21" fmla="*/ 42412 w 1360843"/>
              <a:gd name="connsiteY21" fmla="*/ 357614 h 662520"/>
              <a:gd name="connsiteX22" fmla="*/ 19463 w 1360843"/>
              <a:gd name="connsiteY22" fmla="*/ 320990 h 662520"/>
              <a:gd name="connsiteX23" fmla="*/ 5019 w 1360843"/>
              <a:gd name="connsiteY23" fmla="*/ 276814 h 662520"/>
              <a:gd name="connsiteX24" fmla="*/ 0 w 1360843"/>
              <a:gd name="connsiteY24" fmla="*/ 225297 h 662520"/>
              <a:gd name="connsiteX25" fmla="*/ 4447 w 1360843"/>
              <a:gd name="connsiteY25" fmla="*/ 178425 h 662520"/>
              <a:gd name="connsiteX26" fmla="*/ 17453 w 1360843"/>
              <a:gd name="connsiteY26" fmla="*/ 135445 h 662520"/>
              <a:gd name="connsiteX27" fmla="*/ 38511 w 1360843"/>
              <a:gd name="connsiteY27" fmla="*/ 97085 h 662520"/>
              <a:gd name="connsiteX28" fmla="*/ 67116 w 1360843"/>
              <a:gd name="connsiteY28" fmla="*/ 64071 h 662520"/>
              <a:gd name="connsiteX29" fmla="*/ 102760 w 1360843"/>
              <a:gd name="connsiteY29" fmla="*/ 37129 h 662520"/>
              <a:gd name="connsiteX30" fmla="*/ 144939 w 1360843"/>
              <a:gd name="connsiteY30" fmla="*/ 16986 h 662520"/>
              <a:gd name="connsiteX31" fmla="*/ 193146 w 1360843"/>
              <a:gd name="connsiteY31" fmla="*/ 4367 h 662520"/>
              <a:gd name="connsiteX32" fmla="*/ 246875 w 1360843"/>
              <a:gd name="connsiteY32" fmla="*/ 0 h 662520"/>
              <a:gd name="connsiteX33" fmla="*/ 290625 w 1360843"/>
              <a:gd name="connsiteY33" fmla="*/ 2882 h 662520"/>
              <a:gd name="connsiteX34" fmla="*/ 331492 w 1360843"/>
              <a:gd name="connsiteY34" fmla="*/ 11678 h 662520"/>
              <a:gd name="connsiteX35" fmla="*/ 369070 w 1360843"/>
              <a:gd name="connsiteY35" fmla="*/ 26614 h 662520"/>
              <a:gd name="connsiteX36" fmla="*/ 402953 w 1360843"/>
              <a:gd name="connsiteY36" fmla="*/ 47914 h 662520"/>
              <a:gd name="connsiteX37" fmla="*/ 432736 w 1360843"/>
              <a:gd name="connsiteY37" fmla="*/ 75804 h 662520"/>
              <a:gd name="connsiteX38" fmla="*/ 458013 w 1360843"/>
              <a:gd name="connsiteY38" fmla="*/ 110509 h 662520"/>
              <a:gd name="connsiteX39" fmla="*/ 478379 w 1360843"/>
              <a:gd name="connsiteY39" fmla="*/ 152255 h 662520"/>
              <a:gd name="connsiteX40" fmla="*/ 493429 w 1360843"/>
              <a:gd name="connsiteY40" fmla="*/ 201265 h 662520"/>
              <a:gd name="connsiteX41" fmla="*/ 502756 w 1360843"/>
              <a:gd name="connsiteY41" fmla="*/ 257766 h 662520"/>
              <a:gd name="connsiteX42" fmla="*/ 505955 w 1360843"/>
              <a:gd name="connsiteY42" fmla="*/ 321983 h 662520"/>
              <a:gd name="connsiteX43" fmla="*/ 503406 w 1360843"/>
              <a:gd name="connsiteY43" fmla="*/ 376707 h 662520"/>
              <a:gd name="connsiteX44" fmla="*/ 495858 w 1360843"/>
              <a:gd name="connsiteY44" fmla="*/ 427041 h 662520"/>
              <a:gd name="connsiteX45" fmla="*/ 483456 w 1360843"/>
              <a:gd name="connsiteY45" fmla="*/ 472909 h 662520"/>
              <a:gd name="connsiteX46" fmla="*/ 466346 w 1360843"/>
              <a:gd name="connsiteY46" fmla="*/ 514232 h 662520"/>
              <a:gd name="connsiteX47" fmla="*/ 444674 w 1360843"/>
              <a:gd name="connsiteY47" fmla="*/ 550937 h 662520"/>
              <a:gd name="connsiteX48" fmla="*/ 418587 w 1360843"/>
              <a:gd name="connsiteY48" fmla="*/ 582945 h 662520"/>
              <a:gd name="connsiteX49" fmla="*/ 388229 w 1360843"/>
              <a:gd name="connsiteY49" fmla="*/ 610181 h 662520"/>
              <a:gd name="connsiteX50" fmla="*/ 353748 w 1360843"/>
              <a:gd name="connsiteY50" fmla="*/ 632569 h 662520"/>
              <a:gd name="connsiteX51" fmla="*/ 315289 w 1360843"/>
              <a:gd name="connsiteY51" fmla="*/ 650033 h 662520"/>
              <a:gd name="connsiteX52" fmla="*/ 272999 w 1360843"/>
              <a:gd name="connsiteY52" fmla="*/ 662495 h 662520"/>
              <a:gd name="connsiteX53" fmla="*/ 592162 w 1360843"/>
              <a:gd name="connsiteY53" fmla="*/ 662520 h 662520"/>
              <a:gd name="connsiteX54" fmla="*/ 571167 w 1360843"/>
              <a:gd name="connsiteY54" fmla="*/ 658030 h 662520"/>
              <a:gd name="connsiteX55" fmla="*/ 551373 w 1360843"/>
              <a:gd name="connsiteY55" fmla="*/ 652783 h 662520"/>
              <a:gd name="connsiteX56" fmla="*/ 532537 w 1360843"/>
              <a:gd name="connsiteY56" fmla="*/ 646826 h 662520"/>
              <a:gd name="connsiteX57" fmla="*/ 514413 w 1360843"/>
              <a:gd name="connsiteY57" fmla="*/ 640206 h 662520"/>
              <a:gd name="connsiteX58" fmla="*/ 514413 w 1360843"/>
              <a:gd name="connsiteY58" fmla="*/ 516293 h 662520"/>
              <a:gd name="connsiteX59" fmla="*/ 596087 w 1360843"/>
              <a:gd name="connsiteY59" fmla="*/ 516293 h 662520"/>
              <a:gd name="connsiteX60" fmla="*/ 612203 w 1360843"/>
              <a:gd name="connsiteY60" fmla="*/ 539439 h 662520"/>
              <a:gd name="connsiteX61" fmla="*/ 635627 w 1360843"/>
              <a:gd name="connsiteY61" fmla="*/ 559242 h 662520"/>
              <a:gd name="connsiteX62" fmla="*/ 666972 w 1360843"/>
              <a:gd name="connsiteY62" fmla="*/ 573062 h 662520"/>
              <a:gd name="connsiteX63" fmla="*/ 706856 w 1360843"/>
              <a:gd name="connsiteY63" fmla="*/ 578256 h 662520"/>
              <a:gd name="connsiteX64" fmla="*/ 749359 w 1360843"/>
              <a:gd name="connsiteY64" fmla="*/ 571758 h 662520"/>
              <a:gd name="connsiteX65" fmla="*/ 784298 w 1360843"/>
              <a:gd name="connsiteY65" fmla="*/ 552322 h 662520"/>
              <a:gd name="connsiteX66" fmla="*/ 807972 w 1360843"/>
              <a:gd name="connsiteY66" fmla="*/ 520038 h 662520"/>
              <a:gd name="connsiteX67" fmla="*/ 816686 w 1360843"/>
              <a:gd name="connsiteY67" fmla="*/ 474992 h 662520"/>
              <a:gd name="connsiteX68" fmla="*/ 809424 w 1360843"/>
              <a:gd name="connsiteY68" fmla="*/ 430240 h 662520"/>
              <a:gd name="connsiteX69" fmla="*/ 787466 w 1360843"/>
              <a:gd name="connsiteY69" fmla="*/ 398602 h 662520"/>
              <a:gd name="connsiteX70" fmla="*/ 750549 w 1360843"/>
              <a:gd name="connsiteY70" fmla="*/ 379812 h 662520"/>
              <a:gd name="connsiteX71" fmla="*/ 698411 w 1360843"/>
              <a:gd name="connsiteY71" fmla="*/ 373608 h 662520"/>
              <a:gd name="connsiteX72" fmla="*/ 649592 w 1360843"/>
              <a:gd name="connsiteY72" fmla="*/ 373608 h 662520"/>
              <a:gd name="connsiteX73" fmla="*/ 649592 w 1360843"/>
              <a:gd name="connsiteY73" fmla="*/ 286308 h 662520"/>
              <a:gd name="connsiteX74" fmla="*/ 690892 w 1360843"/>
              <a:gd name="connsiteY74" fmla="*/ 286308 h 662520"/>
              <a:gd name="connsiteX75" fmla="*/ 744563 w 1360843"/>
              <a:gd name="connsiteY75" fmla="*/ 280133 h 662520"/>
              <a:gd name="connsiteX76" fmla="*/ 783007 w 1360843"/>
              <a:gd name="connsiteY76" fmla="*/ 261550 h 662520"/>
              <a:gd name="connsiteX77" fmla="*/ 806137 w 1360843"/>
              <a:gd name="connsiteY77" fmla="*/ 230469 h 662520"/>
              <a:gd name="connsiteX78" fmla="*/ 813866 w 1360843"/>
              <a:gd name="connsiteY78" fmla="*/ 186804 h 662520"/>
              <a:gd name="connsiteX79" fmla="*/ 808513 w 1360843"/>
              <a:gd name="connsiteY79" fmla="*/ 149115 h 662520"/>
              <a:gd name="connsiteX80" fmla="*/ 792160 w 1360843"/>
              <a:gd name="connsiteY80" fmla="*/ 121104 h 662520"/>
              <a:gd name="connsiteX81" fmla="*/ 764365 w 1360843"/>
              <a:gd name="connsiteY81" fmla="*/ 103651 h 662520"/>
              <a:gd name="connsiteX82" fmla="*/ 724687 w 1360843"/>
              <a:gd name="connsiteY82" fmla="*/ 97637 h 662520"/>
              <a:gd name="connsiteX83" fmla="*/ 687243 w 1360843"/>
              <a:gd name="connsiteY83" fmla="*/ 102374 h 662520"/>
              <a:gd name="connsiteX84" fmla="*/ 657456 w 1360843"/>
              <a:gd name="connsiteY84" fmla="*/ 115117 h 662520"/>
              <a:gd name="connsiteX85" fmla="*/ 634533 w 1360843"/>
              <a:gd name="connsiteY85" fmla="*/ 133668 h 662520"/>
              <a:gd name="connsiteX86" fmla="*/ 617677 w 1360843"/>
              <a:gd name="connsiteY86" fmla="*/ 155828 h 662520"/>
              <a:gd name="connsiteX87" fmla="*/ 539775 w 1360843"/>
              <a:gd name="connsiteY87" fmla="*/ 155828 h 662520"/>
              <a:gd name="connsiteX88" fmla="*/ 539775 w 1360843"/>
              <a:gd name="connsiteY88" fmla="*/ 33807 h 662520"/>
              <a:gd name="connsiteX89" fmla="*/ 584006 w 1360843"/>
              <a:gd name="connsiteY89" fmla="*/ 19813 h 662520"/>
              <a:gd name="connsiteX90" fmla="*/ 631056 w 1360843"/>
              <a:gd name="connsiteY90" fmla="*/ 9159 h 662520"/>
              <a:gd name="connsiteX91" fmla="*/ 681278 w 1360843"/>
              <a:gd name="connsiteY91" fmla="*/ 2378 h 662520"/>
              <a:gd name="connsiteX92" fmla="*/ 735025 w 1360843"/>
              <a:gd name="connsiteY92" fmla="*/ 0 h 662520"/>
              <a:gd name="connsiteX93" fmla="*/ 790395 w 1360843"/>
              <a:gd name="connsiteY93" fmla="*/ 3158 h 662520"/>
              <a:gd name="connsiteX94" fmla="*/ 838689 w 1360843"/>
              <a:gd name="connsiteY94" fmla="*/ 12853 h 662520"/>
              <a:gd name="connsiteX95" fmla="*/ 879380 w 1360843"/>
              <a:gd name="connsiteY95" fmla="*/ 29412 h 662520"/>
              <a:gd name="connsiteX96" fmla="*/ 911943 w 1360843"/>
              <a:gd name="connsiteY96" fmla="*/ 53163 h 662520"/>
              <a:gd name="connsiteX97" fmla="*/ 935853 w 1360843"/>
              <a:gd name="connsiteY97" fmla="*/ 84435 h 662520"/>
              <a:gd name="connsiteX98" fmla="*/ 950584 w 1360843"/>
              <a:gd name="connsiteY98" fmla="*/ 123555 h 662520"/>
              <a:gd name="connsiteX99" fmla="*/ 955611 w 1360843"/>
              <a:gd name="connsiteY99" fmla="*/ 170853 h 662520"/>
              <a:gd name="connsiteX100" fmla="*/ 949453 w 1360843"/>
              <a:gd name="connsiteY100" fmla="*/ 219568 h 662520"/>
              <a:gd name="connsiteX101" fmla="*/ 931581 w 1360843"/>
              <a:gd name="connsiteY101" fmla="*/ 258234 h 662520"/>
              <a:gd name="connsiteX102" fmla="*/ 902895 w 1360843"/>
              <a:gd name="connsiteY102" fmla="*/ 287843 h 662520"/>
              <a:gd name="connsiteX103" fmla="*/ 864296 w 1360843"/>
              <a:gd name="connsiteY103" fmla="*/ 309388 h 662520"/>
              <a:gd name="connsiteX104" fmla="*/ 816686 w 1360843"/>
              <a:gd name="connsiteY104" fmla="*/ 323862 h 662520"/>
              <a:gd name="connsiteX105" fmla="*/ 816686 w 1360843"/>
              <a:gd name="connsiteY105" fmla="*/ 327609 h 662520"/>
              <a:gd name="connsiteX106" fmla="*/ 870681 w 1360843"/>
              <a:gd name="connsiteY106" fmla="*/ 340566 h 662520"/>
              <a:gd name="connsiteX107" fmla="*/ 912283 w 1360843"/>
              <a:gd name="connsiteY107" fmla="*/ 362534 h 662520"/>
              <a:gd name="connsiteX108" fmla="*/ 941719 w 1360843"/>
              <a:gd name="connsiteY108" fmla="*/ 393513 h 662520"/>
              <a:gd name="connsiteX109" fmla="*/ 959215 w 1360843"/>
              <a:gd name="connsiteY109" fmla="*/ 433502 h 662520"/>
              <a:gd name="connsiteX110" fmla="*/ 964996 w 1360843"/>
              <a:gd name="connsiteY110" fmla="*/ 482498 h 662520"/>
              <a:gd name="connsiteX111" fmla="*/ 959936 w 1360843"/>
              <a:gd name="connsiteY111" fmla="*/ 527743 h 662520"/>
              <a:gd name="connsiteX112" fmla="*/ 944659 w 1360843"/>
              <a:gd name="connsiteY112" fmla="*/ 567021 h 662520"/>
              <a:gd name="connsiteX113" fmla="*/ 920122 w 1360843"/>
              <a:gd name="connsiteY113" fmla="*/ 600232 h 662520"/>
              <a:gd name="connsiteX114" fmla="*/ 887285 w 1360843"/>
              <a:gd name="connsiteY114" fmla="*/ 627278 h 662520"/>
              <a:gd name="connsiteX115" fmla="*/ 847106 w 1360843"/>
              <a:gd name="connsiteY115" fmla="*/ 648061 h 662520"/>
              <a:gd name="connsiteX116" fmla="*/ 800544 w 1360843"/>
              <a:gd name="connsiteY116" fmla="*/ 662482 h 662520"/>
              <a:gd name="connsiteX117" fmla="*/ 1360843 w 1360843"/>
              <a:gd name="connsiteY117" fmla="*/ 662495 h 662520"/>
              <a:gd name="connsiteX0" fmla="*/ 25336 w 1360843"/>
              <a:gd name="connsiteY0" fmla="*/ 649592 h 662520"/>
              <a:gd name="connsiteX1" fmla="*/ 25336 w 1360843"/>
              <a:gd name="connsiteY1" fmla="*/ 533196 h 662520"/>
              <a:gd name="connsiteX2" fmla="*/ 104190 w 1360843"/>
              <a:gd name="connsiteY2" fmla="*/ 533196 h 662520"/>
              <a:gd name="connsiteX3" fmla="*/ 116931 w 1360843"/>
              <a:gd name="connsiteY3" fmla="*/ 550133 h 662520"/>
              <a:gd name="connsiteX4" fmla="*/ 135043 w 1360843"/>
              <a:gd name="connsiteY4" fmla="*/ 564522 h 662520"/>
              <a:gd name="connsiteX5" fmla="*/ 160020 w 1360843"/>
              <a:gd name="connsiteY5" fmla="*/ 574514 h 662520"/>
              <a:gd name="connsiteX6" fmla="*/ 193357 w 1360843"/>
              <a:gd name="connsiteY6" fmla="*/ 578256 h 662520"/>
              <a:gd name="connsiteX7" fmla="*/ 233829 w 1360843"/>
              <a:gd name="connsiteY7" fmla="*/ 573672 h 662520"/>
              <a:gd name="connsiteX8" fmla="*/ 297105 w 1360843"/>
              <a:gd name="connsiteY8" fmla="*/ 537246 h 662520"/>
              <a:gd name="connsiteX9" fmla="*/ 320040 w 1360843"/>
              <a:gd name="connsiteY9" fmla="*/ 505568 h 662520"/>
              <a:gd name="connsiteX10" fmla="*/ 337261 w 1360843"/>
              <a:gd name="connsiteY10" fmla="*/ 465022 h 662520"/>
              <a:gd name="connsiteX11" fmla="*/ 348834 w 1360843"/>
              <a:gd name="connsiteY11" fmla="*/ 415691 h 662520"/>
              <a:gd name="connsiteX12" fmla="*/ 354825 w 1360843"/>
              <a:gd name="connsiteY12" fmla="*/ 357657 h 662520"/>
              <a:gd name="connsiteX13" fmla="*/ 325357 w 1360843"/>
              <a:gd name="connsiteY13" fmla="*/ 385098 h 662520"/>
              <a:gd name="connsiteX14" fmla="*/ 289466 w 1360843"/>
              <a:gd name="connsiteY14" fmla="*/ 406117 h 662520"/>
              <a:gd name="connsiteX15" fmla="*/ 247767 w 1360843"/>
              <a:gd name="connsiteY15" fmla="*/ 419568 h 662520"/>
              <a:gd name="connsiteX16" fmla="*/ 200875 w 1360843"/>
              <a:gd name="connsiteY16" fmla="*/ 424306 h 662520"/>
              <a:gd name="connsiteX17" fmla="*/ 153099 w 1360843"/>
              <a:gd name="connsiteY17" fmla="*/ 420031 h 662520"/>
              <a:gd name="connsiteX18" fmla="*/ 110150 w 1360843"/>
              <a:gd name="connsiteY18" fmla="*/ 407348 h 662520"/>
              <a:gd name="connsiteX19" fmla="*/ 72948 w 1360843"/>
              <a:gd name="connsiteY19" fmla="*/ 386472 h 662520"/>
              <a:gd name="connsiteX20" fmla="*/ 42412 w 1360843"/>
              <a:gd name="connsiteY20" fmla="*/ 357614 h 662520"/>
              <a:gd name="connsiteX21" fmla="*/ 19463 w 1360843"/>
              <a:gd name="connsiteY21" fmla="*/ 320990 h 662520"/>
              <a:gd name="connsiteX22" fmla="*/ 5019 w 1360843"/>
              <a:gd name="connsiteY22" fmla="*/ 276814 h 662520"/>
              <a:gd name="connsiteX23" fmla="*/ 0 w 1360843"/>
              <a:gd name="connsiteY23" fmla="*/ 225297 h 662520"/>
              <a:gd name="connsiteX24" fmla="*/ 4447 w 1360843"/>
              <a:gd name="connsiteY24" fmla="*/ 178425 h 662520"/>
              <a:gd name="connsiteX25" fmla="*/ 17453 w 1360843"/>
              <a:gd name="connsiteY25" fmla="*/ 135445 h 662520"/>
              <a:gd name="connsiteX26" fmla="*/ 38511 w 1360843"/>
              <a:gd name="connsiteY26" fmla="*/ 97085 h 662520"/>
              <a:gd name="connsiteX27" fmla="*/ 67116 w 1360843"/>
              <a:gd name="connsiteY27" fmla="*/ 64071 h 662520"/>
              <a:gd name="connsiteX28" fmla="*/ 102760 w 1360843"/>
              <a:gd name="connsiteY28" fmla="*/ 37129 h 662520"/>
              <a:gd name="connsiteX29" fmla="*/ 144939 w 1360843"/>
              <a:gd name="connsiteY29" fmla="*/ 16986 h 662520"/>
              <a:gd name="connsiteX30" fmla="*/ 193146 w 1360843"/>
              <a:gd name="connsiteY30" fmla="*/ 4367 h 662520"/>
              <a:gd name="connsiteX31" fmla="*/ 246875 w 1360843"/>
              <a:gd name="connsiteY31" fmla="*/ 0 h 662520"/>
              <a:gd name="connsiteX32" fmla="*/ 290625 w 1360843"/>
              <a:gd name="connsiteY32" fmla="*/ 2882 h 662520"/>
              <a:gd name="connsiteX33" fmla="*/ 331492 w 1360843"/>
              <a:gd name="connsiteY33" fmla="*/ 11678 h 662520"/>
              <a:gd name="connsiteX34" fmla="*/ 369070 w 1360843"/>
              <a:gd name="connsiteY34" fmla="*/ 26614 h 662520"/>
              <a:gd name="connsiteX35" fmla="*/ 402953 w 1360843"/>
              <a:gd name="connsiteY35" fmla="*/ 47914 h 662520"/>
              <a:gd name="connsiteX36" fmla="*/ 432736 w 1360843"/>
              <a:gd name="connsiteY36" fmla="*/ 75804 h 662520"/>
              <a:gd name="connsiteX37" fmla="*/ 458013 w 1360843"/>
              <a:gd name="connsiteY37" fmla="*/ 110509 h 662520"/>
              <a:gd name="connsiteX38" fmla="*/ 478379 w 1360843"/>
              <a:gd name="connsiteY38" fmla="*/ 152255 h 662520"/>
              <a:gd name="connsiteX39" fmla="*/ 493429 w 1360843"/>
              <a:gd name="connsiteY39" fmla="*/ 201265 h 662520"/>
              <a:gd name="connsiteX40" fmla="*/ 502756 w 1360843"/>
              <a:gd name="connsiteY40" fmla="*/ 257766 h 662520"/>
              <a:gd name="connsiteX41" fmla="*/ 505955 w 1360843"/>
              <a:gd name="connsiteY41" fmla="*/ 321983 h 662520"/>
              <a:gd name="connsiteX42" fmla="*/ 503406 w 1360843"/>
              <a:gd name="connsiteY42" fmla="*/ 376707 h 662520"/>
              <a:gd name="connsiteX43" fmla="*/ 495858 w 1360843"/>
              <a:gd name="connsiteY43" fmla="*/ 427041 h 662520"/>
              <a:gd name="connsiteX44" fmla="*/ 483456 w 1360843"/>
              <a:gd name="connsiteY44" fmla="*/ 472909 h 662520"/>
              <a:gd name="connsiteX45" fmla="*/ 466346 w 1360843"/>
              <a:gd name="connsiteY45" fmla="*/ 514232 h 662520"/>
              <a:gd name="connsiteX46" fmla="*/ 444674 w 1360843"/>
              <a:gd name="connsiteY46" fmla="*/ 550937 h 662520"/>
              <a:gd name="connsiteX47" fmla="*/ 418587 w 1360843"/>
              <a:gd name="connsiteY47" fmla="*/ 582945 h 662520"/>
              <a:gd name="connsiteX48" fmla="*/ 388229 w 1360843"/>
              <a:gd name="connsiteY48" fmla="*/ 610181 h 662520"/>
              <a:gd name="connsiteX49" fmla="*/ 353748 w 1360843"/>
              <a:gd name="connsiteY49" fmla="*/ 632569 h 662520"/>
              <a:gd name="connsiteX50" fmla="*/ 315289 w 1360843"/>
              <a:gd name="connsiteY50" fmla="*/ 650033 h 662520"/>
              <a:gd name="connsiteX51" fmla="*/ 272999 w 1360843"/>
              <a:gd name="connsiteY51" fmla="*/ 662495 h 662520"/>
              <a:gd name="connsiteX52" fmla="*/ 592162 w 1360843"/>
              <a:gd name="connsiteY52" fmla="*/ 662520 h 662520"/>
              <a:gd name="connsiteX53" fmla="*/ 571167 w 1360843"/>
              <a:gd name="connsiteY53" fmla="*/ 658030 h 662520"/>
              <a:gd name="connsiteX54" fmla="*/ 551373 w 1360843"/>
              <a:gd name="connsiteY54" fmla="*/ 652783 h 662520"/>
              <a:gd name="connsiteX55" fmla="*/ 532537 w 1360843"/>
              <a:gd name="connsiteY55" fmla="*/ 646826 h 662520"/>
              <a:gd name="connsiteX56" fmla="*/ 514413 w 1360843"/>
              <a:gd name="connsiteY56" fmla="*/ 640206 h 662520"/>
              <a:gd name="connsiteX57" fmla="*/ 514413 w 1360843"/>
              <a:gd name="connsiteY57" fmla="*/ 516293 h 662520"/>
              <a:gd name="connsiteX58" fmla="*/ 596087 w 1360843"/>
              <a:gd name="connsiteY58" fmla="*/ 516293 h 662520"/>
              <a:gd name="connsiteX59" fmla="*/ 612203 w 1360843"/>
              <a:gd name="connsiteY59" fmla="*/ 539439 h 662520"/>
              <a:gd name="connsiteX60" fmla="*/ 635627 w 1360843"/>
              <a:gd name="connsiteY60" fmla="*/ 559242 h 662520"/>
              <a:gd name="connsiteX61" fmla="*/ 666972 w 1360843"/>
              <a:gd name="connsiteY61" fmla="*/ 573062 h 662520"/>
              <a:gd name="connsiteX62" fmla="*/ 706856 w 1360843"/>
              <a:gd name="connsiteY62" fmla="*/ 578256 h 662520"/>
              <a:gd name="connsiteX63" fmla="*/ 749359 w 1360843"/>
              <a:gd name="connsiteY63" fmla="*/ 571758 h 662520"/>
              <a:gd name="connsiteX64" fmla="*/ 784298 w 1360843"/>
              <a:gd name="connsiteY64" fmla="*/ 552322 h 662520"/>
              <a:gd name="connsiteX65" fmla="*/ 807972 w 1360843"/>
              <a:gd name="connsiteY65" fmla="*/ 520038 h 662520"/>
              <a:gd name="connsiteX66" fmla="*/ 816686 w 1360843"/>
              <a:gd name="connsiteY66" fmla="*/ 474992 h 662520"/>
              <a:gd name="connsiteX67" fmla="*/ 809424 w 1360843"/>
              <a:gd name="connsiteY67" fmla="*/ 430240 h 662520"/>
              <a:gd name="connsiteX68" fmla="*/ 787466 w 1360843"/>
              <a:gd name="connsiteY68" fmla="*/ 398602 h 662520"/>
              <a:gd name="connsiteX69" fmla="*/ 750549 w 1360843"/>
              <a:gd name="connsiteY69" fmla="*/ 379812 h 662520"/>
              <a:gd name="connsiteX70" fmla="*/ 698411 w 1360843"/>
              <a:gd name="connsiteY70" fmla="*/ 373608 h 662520"/>
              <a:gd name="connsiteX71" fmla="*/ 649592 w 1360843"/>
              <a:gd name="connsiteY71" fmla="*/ 373608 h 662520"/>
              <a:gd name="connsiteX72" fmla="*/ 649592 w 1360843"/>
              <a:gd name="connsiteY72" fmla="*/ 286308 h 662520"/>
              <a:gd name="connsiteX73" fmla="*/ 690892 w 1360843"/>
              <a:gd name="connsiteY73" fmla="*/ 286308 h 662520"/>
              <a:gd name="connsiteX74" fmla="*/ 744563 w 1360843"/>
              <a:gd name="connsiteY74" fmla="*/ 280133 h 662520"/>
              <a:gd name="connsiteX75" fmla="*/ 783007 w 1360843"/>
              <a:gd name="connsiteY75" fmla="*/ 261550 h 662520"/>
              <a:gd name="connsiteX76" fmla="*/ 806137 w 1360843"/>
              <a:gd name="connsiteY76" fmla="*/ 230469 h 662520"/>
              <a:gd name="connsiteX77" fmla="*/ 813866 w 1360843"/>
              <a:gd name="connsiteY77" fmla="*/ 186804 h 662520"/>
              <a:gd name="connsiteX78" fmla="*/ 808513 w 1360843"/>
              <a:gd name="connsiteY78" fmla="*/ 149115 h 662520"/>
              <a:gd name="connsiteX79" fmla="*/ 792160 w 1360843"/>
              <a:gd name="connsiteY79" fmla="*/ 121104 h 662520"/>
              <a:gd name="connsiteX80" fmla="*/ 764365 w 1360843"/>
              <a:gd name="connsiteY80" fmla="*/ 103651 h 662520"/>
              <a:gd name="connsiteX81" fmla="*/ 724687 w 1360843"/>
              <a:gd name="connsiteY81" fmla="*/ 97637 h 662520"/>
              <a:gd name="connsiteX82" fmla="*/ 687243 w 1360843"/>
              <a:gd name="connsiteY82" fmla="*/ 102374 h 662520"/>
              <a:gd name="connsiteX83" fmla="*/ 657456 w 1360843"/>
              <a:gd name="connsiteY83" fmla="*/ 115117 h 662520"/>
              <a:gd name="connsiteX84" fmla="*/ 634533 w 1360843"/>
              <a:gd name="connsiteY84" fmla="*/ 133668 h 662520"/>
              <a:gd name="connsiteX85" fmla="*/ 617677 w 1360843"/>
              <a:gd name="connsiteY85" fmla="*/ 155828 h 662520"/>
              <a:gd name="connsiteX86" fmla="*/ 539775 w 1360843"/>
              <a:gd name="connsiteY86" fmla="*/ 155828 h 662520"/>
              <a:gd name="connsiteX87" fmla="*/ 539775 w 1360843"/>
              <a:gd name="connsiteY87" fmla="*/ 33807 h 662520"/>
              <a:gd name="connsiteX88" fmla="*/ 584006 w 1360843"/>
              <a:gd name="connsiteY88" fmla="*/ 19813 h 662520"/>
              <a:gd name="connsiteX89" fmla="*/ 631056 w 1360843"/>
              <a:gd name="connsiteY89" fmla="*/ 9159 h 662520"/>
              <a:gd name="connsiteX90" fmla="*/ 681278 w 1360843"/>
              <a:gd name="connsiteY90" fmla="*/ 2378 h 662520"/>
              <a:gd name="connsiteX91" fmla="*/ 735025 w 1360843"/>
              <a:gd name="connsiteY91" fmla="*/ 0 h 662520"/>
              <a:gd name="connsiteX92" fmla="*/ 790395 w 1360843"/>
              <a:gd name="connsiteY92" fmla="*/ 3158 h 662520"/>
              <a:gd name="connsiteX93" fmla="*/ 838689 w 1360843"/>
              <a:gd name="connsiteY93" fmla="*/ 12853 h 662520"/>
              <a:gd name="connsiteX94" fmla="*/ 879380 w 1360843"/>
              <a:gd name="connsiteY94" fmla="*/ 29412 h 662520"/>
              <a:gd name="connsiteX95" fmla="*/ 911943 w 1360843"/>
              <a:gd name="connsiteY95" fmla="*/ 53163 h 662520"/>
              <a:gd name="connsiteX96" fmla="*/ 935853 w 1360843"/>
              <a:gd name="connsiteY96" fmla="*/ 84435 h 662520"/>
              <a:gd name="connsiteX97" fmla="*/ 950584 w 1360843"/>
              <a:gd name="connsiteY97" fmla="*/ 123555 h 662520"/>
              <a:gd name="connsiteX98" fmla="*/ 955611 w 1360843"/>
              <a:gd name="connsiteY98" fmla="*/ 170853 h 662520"/>
              <a:gd name="connsiteX99" fmla="*/ 949453 w 1360843"/>
              <a:gd name="connsiteY99" fmla="*/ 219568 h 662520"/>
              <a:gd name="connsiteX100" fmla="*/ 931581 w 1360843"/>
              <a:gd name="connsiteY100" fmla="*/ 258234 h 662520"/>
              <a:gd name="connsiteX101" fmla="*/ 902895 w 1360843"/>
              <a:gd name="connsiteY101" fmla="*/ 287843 h 662520"/>
              <a:gd name="connsiteX102" fmla="*/ 864296 w 1360843"/>
              <a:gd name="connsiteY102" fmla="*/ 309388 h 662520"/>
              <a:gd name="connsiteX103" fmla="*/ 816686 w 1360843"/>
              <a:gd name="connsiteY103" fmla="*/ 323862 h 662520"/>
              <a:gd name="connsiteX104" fmla="*/ 816686 w 1360843"/>
              <a:gd name="connsiteY104" fmla="*/ 327609 h 662520"/>
              <a:gd name="connsiteX105" fmla="*/ 870681 w 1360843"/>
              <a:gd name="connsiteY105" fmla="*/ 340566 h 662520"/>
              <a:gd name="connsiteX106" fmla="*/ 912283 w 1360843"/>
              <a:gd name="connsiteY106" fmla="*/ 362534 h 662520"/>
              <a:gd name="connsiteX107" fmla="*/ 941719 w 1360843"/>
              <a:gd name="connsiteY107" fmla="*/ 393513 h 662520"/>
              <a:gd name="connsiteX108" fmla="*/ 959215 w 1360843"/>
              <a:gd name="connsiteY108" fmla="*/ 433502 h 662520"/>
              <a:gd name="connsiteX109" fmla="*/ 964996 w 1360843"/>
              <a:gd name="connsiteY109" fmla="*/ 482498 h 662520"/>
              <a:gd name="connsiteX110" fmla="*/ 959936 w 1360843"/>
              <a:gd name="connsiteY110" fmla="*/ 527743 h 662520"/>
              <a:gd name="connsiteX111" fmla="*/ 944659 w 1360843"/>
              <a:gd name="connsiteY111" fmla="*/ 567021 h 662520"/>
              <a:gd name="connsiteX112" fmla="*/ 920122 w 1360843"/>
              <a:gd name="connsiteY112" fmla="*/ 600232 h 662520"/>
              <a:gd name="connsiteX113" fmla="*/ 887285 w 1360843"/>
              <a:gd name="connsiteY113" fmla="*/ 627278 h 662520"/>
              <a:gd name="connsiteX114" fmla="*/ 847106 w 1360843"/>
              <a:gd name="connsiteY114" fmla="*/ 648061 h 662520"/>
              <a:gd name="connsiteX115" fmla="*/ 800544 w 1360843"/>
              <a:gd name="connsiteY115" fmla="*/ 662482 h 662520"/>
              <a:gd name="connsiteX116" fmla="*/ 1360843 w 1360843"/>
              <a:gd name="connsiteY116" fmla="*/ 662495 h 662520"/>
              <a:gd name="connsiteX0" fmla="*/ 25336 w 1360843"/>
              <a:gd name="connsiteY0" fmla="*/ 533196 h 662520"/>
              <a:gd name="connsiteX1" fmla="*/ 104190 w 1360843"/>
              <a:gd name="connsiteY1" fmla="*/ 533196 h 662520"/>
              <a:gd name="connsiteX2" fmla="*/ 116931 w 1360843"/>
              <a:gd name="connsiteY2" fmla="*/ 550133 h 662520"/>
              <a:gd name="connsiteX3" fmla="*/ 135043 w 1360843"/>
              <a:gd name="connsiteY3" fmla="*/ 564522 h 662520"/>
              <a:gd name="connsiteX4" fmla="*/ 160020 w 1360843"/>
              <a:gd name="connsiteY4" fmla="*/ 574514 h 662520"/>
              <a:gd name="connsiteX5" fmla="*/ 193357 w 1360843"/>
              <a:gd name="connsiteY5" fmla="*/ 578256 h 662520"/>
              <a:gd name="connsiteX6" fmla="*/ 233829 w 1360843"/>
              <a:gd name="connsiteY6" fmla="*/ 573672 h 662520"/>
              <a:gd name="connsiteX7" fmla="*/ 297105 w 1360843"/>
              <a:gd name="connsiteY7" fmla="*/ 537246 h 662520"/>
              <a:gd name="connsiteX8" fmla="*/ 320040 w 1360843"/>
              <a:gd name="connsiteY8" fmla="*/ 505568 h 662520"/>
              <a:gd name="connsiteX9" fmla="*/ 337261 w 1360843"/>
              <a:gd name="connsiteY9" fmla="*/ 465022 h 662520"/>
              <a:gd name="connsiteX10" fmla="*/ 348834 w 1360843"/>
              <a:gd name="connsiteY10" fmla="*/ 415691 h 662520"/>
              <a:gd name="connsiteX11" fmla="*/ 354825 w 1360843"/>
              <a:gd name="connsiteY11" fmla="*/ 357657 h 662520"/>
              <a:gd name="connsiteX12" fmla="*/ 325357 w 1360843"/>
              <a:gd name="connsiteY12" fmla="*/ 385098 h 662520"/>
              <a:gd name="connsiteX13" fmla="*/ 289466 w 1360843"/>
              <a:gd name="connsiteY13" fmla="*/ 406117 h 662520"/>
              <a:gd name="connsiteX14" fmla="*/ 247767 w 1360843"/>
              <a:gd name="connsiteY14" fmla="*/ 419568 h 662520"/>
              <a:gd name="connsiteX15" fmla="*/ 200875 w 1360843"/>
              <a:gd name="connsiteY15" fmla="*/ 424306 h 662520"/>
              <a:gd name="connsiteX16" fmla="*/ 153099 w 1360843"/>
              <a:gd name="connsiteY16" fmla="*/ 420031 h 662520"/>
              <a:gd name="connsiteX17" fmla="*/ 110150 w 1360843"/>
              <a:gd name="connsiteY17" fmla="*/ 407348 h 662520"/>
              <a:gd name="connsiteX18" fmla="*/ 72948 w 1360843"/>
              <a:gd name="connsiteY18" fmla="*/ 386472 h 662520"/>
              <a:gd name="connsiteX19" fmla="*/ 42412 w 1360843"/>
              <a:gd name="connsiteY19" fmla="*/ 357614 h 662520"/>
              <a:gd name="connsiteX20" fmla="*/ 19463 w 1360843"/>
              <a:gd name="connsiteY20" fmla="*/ 320990 h 662520"/>
              <a:gd name="connsiteX21" fmla="*/ 5019 w 1360843"/>
              <a:gd name="connsiteY21" fmla="*/ 276814 h 662520"/>
              <a:gd name="connsiteX22" fmla="*/ 0 w 1360843"/>
              <a:gd name="connsiteY22" fmla="*/ 225297 h 662520"/>
              <a:gd name="connsiteX23" fmla="*/ 4447 w 1360843"/>
              <a:gd name="connsiteY23" fmla="*/ 178425 h 662520"/>
              <a:gd name="connsiteX24" fmla="*/ 17453 w 1360843"/>
              <a:gd name="connsiteY24" fmla="*/ 135445 h 662520"/>
              <a:gd name="connsiteX25" fmla="*/ 38511 w 1360843"/>
              <a:gd name="connsiteY25" fmla="*/ 97085 h 662520"/>
              <a:gd name="connsiteX26" fmla="*/ 67116 w 1360843"/>
              <a:gd name="connsiteY26" fmla="*/ 64071 h 662520"/>
              <a:gd name="connsiteX27" fmla="*/ 102760 w 1360843"/>
              <a:gd name="connsiteY27" fmla="*/ 37129 h 662520"/>
              <a:gd name="connsiteX28" fmla="*/ 144939 w 1360843"/>
              <a:gd name="connsiteY28" fmla="*/ 16986 h 662520"/>
              <a:gd name="connsiteX29" fmla="*/ 193146 w 1360843"/>
              <a:gd name="connsiteY29" fmla="*/ 4367 h 662520"/>
              <a:gd name="connsiteX30" fmla="*/ 246875 w 1360843"/>
              <a:gd name="connsiteY30" fmla="*/ 0 h 662520"/>
              <a:gd name="connsiteX31" fmla="*/ 290625 w 1360843"/>
              <a:gd name="connsiteY31" fmla="*/ 2882 h 662520"/>
              <a:gd name="connsiteX32" fmla="*/ 331492 w 1360843"/>
              <a:gd name="connsiteY32" fmla="*/ 11678 h 662520"/>
              <a:gd name="connsiteX33" fmla="*/ 369070 w 1360843"/>
              <a:gd name="connsiteY33" fmla="*/ 26614 h 662520"/>
              <a:gd name="connsiteX34" fmla="*/ 402953 w 1360843"/>
              <a:gd name="connsiteY34" fmla="*/ 47914 h 662520"/>
              <a:gd name="connsiteX35" fmla="*/ 432736 w 1360843"/>
              <a:gd name="connsiteY35" fmla="*/ 75804 h 662520"/>
              <a:gd name="connsiteX36" fmla="*/ 458013 w 1360843"/>
              <a:gd name="connsiteY36" fmla="*/ 110509 h 662520"/>
              <a:gd name="connsiteX37" fmla="*/ 478379 w 1360843"/>
              <a:gd name="connsiteY37" fmla="*/ 152255 h 662520"/>
              <a:gd name="connsiteX38" fmla="*/ 493429 w 1360843"/>
              <a:gd name="connsiteY38" fmla="*/ 201265 h 662520"/>
              <a:gd name="connsiteX39" fmla="*/ 502756 w 1360843"/>
              <a:gd name="connsiteY39" fmla="*/ 257766 h 662520"/>
              <a:gd name="connsiteX40" fmla="*/ 505955 w 1360843"/>
              <a:gd name="connsiteY40" fmla="*/ 321983 h 662520"/>
              <a:gd name="connsiteX41" fmla="*/ 503406 w 1360843"/>
              <a:gd name="connsiteY41" fmla="*/ 376707 h 662520"/>
              <a:gd name="connsiteX42" fmla="*/ 495858 w 1360843"/>
              <a:gd name="connsiteY42" fmla="*/ 427041 h 662520"/>
              <a:gd name="connsiteX43" fmla="*/ 483456 w 1360843"/>
              <a:gd name="connsiteY43" fmla="*/ 472909 h 662520"/>
              <a:gd name="connsiteX44" fmla="*/ 466346 w 1360843"/>
              <a:gd name="connsiteY44" fmla="*/ 514232 h 662520"/>
              <a:gd name="connsiteX45" fmla="*/ 444674 w 1360843"/>
              <a:gd name="connsiteY45" fmla="*/ 550937 h 662520"/>
              <a:gd name="connsiteX46" fmla="*/ 418587 w 1360843"/>
              <a:gd name="connsiteY46" fmla="*/ 582945 h 662520"/>
              <a:gd name="connsiteX47" fmla="*/ 388229 w 1360843"/>
              <a:gd name="connsiteY47" fmla="*/ 610181 h 662520"/>
              <a:gd name="connsiteX48" fmla="*/ 353748 w 1360843"/>
              <a:gd name="connsiteY48" fmla="*/ 632569 h 662520"/>
              <a:gd name="connsiteX49" fmla="*/ 315289 w 1360843"/>
              <a:gd name="connsiteY49" fmla="*/ 650033 h 662520"/>
              <a:gd name="connsiteX50" fmla="*/ 272999 w 1360843"/>
              <a:gd name="connsiteY50" fmla="*/ 662495 h 662520"/>
              <a:gd name="connsiteX51" fmla="*/ 592162 w 1360843"/>
              <a:gd name="connsiteY51" fmla="*/ 662520 h 662520"/>
              <a:gd name="connsiteX52" fmla="*/ 571167 w 1360843"/>
              <a:gd name="connsiteY52" fmla="*/ 658030 h 662520"/>
              <a:gd name="connsiteX53" fmla="*/ 551373 w 1360843"/>
              <a:gd name="connsiteY53" fmla="*/ 652783 h 662520"/>
              <a:gd name="connsiteX54" fmla="*/ 532537 w 1360843"/>
              <a:gd name="connsiteY54" fmla="*/ 646826 h 662520"/>
              <a:gd name="connsiteX55" fmla="*/ 514413 w 1360843"/>
              <a:gd name="connsiteY55" fmla="*/ 640206 h 662520"/>
              <a:gd name="connsiteX56" fmla="*/ 514413 w 1360843"/>
              <a:gd name="connsiteY56" fmla="*/ 516293 h 662520"/>
              <a:gd name="connsiteX57" fmla="*/ 596087 w 1360843"/>
              <a:gd name="connsiteY57" fmla="*/ 516293 h 662520"/>
              <a:gd name="connsiteX58" fmla="*/ 612203 w 1360843"/>
              <a:gd name="connsiteY58" fmla="*/ 539439 h 662520"/>
              <a:gd name="connsiteX59" fmla="*/ 635627 w 1360843"/>
              <a:gd name="connsiteY59" fmla="*/ 559242 h 662520"/>
              <a:gd name="connsiteX60" fmla="*/ 666972 w 1360843"/>
              <a:gd name="connsiteY60" fmla="*/ 573062 h 662520"/>
              <a:gd name="connsiteX61" fmla="*/ 706856 w 1360843"/>
              <a:gd name="connsiteY61" fmla="*/ 578256 h 662520"/>
              <a:gd name="connsiteX62" fmla="*/ 749359 w 1360843"/>
              <a:gd name="connsiteY62" fmla="*/ 571758 h 662520"/>
              <a:gd name="connsiteX63" fmla="*/ 784298 w 1360843"/>
              <a:gd name="connsiteY63" fmla="*/ 552322 h 662520"/>
              <a:gd name="connsiteX64" fmla="*/ 807972 w 1360843"/>
              <a:gd name="connsiteY64" fmla="*/ 520038 h 662520"/>
              <a:gd name="connsiteX65" fmla="*/ 816686 w 1360843"/>
              <a:gd name="connsiteY65" fmla="*/ 474992 h 662520"/>
              <a:gd name="connsiteX66" fmla="*/ 809424 w 1360843"/>
              <a:gd name="connsiteY66" fmla="*/ 430240 h 662520"/>
              <a:gd name="connsiteX67" fmla="*/ 787466 w 1360843"/>
              <a:gd name="connsiteY67" fmla="*/ 398602 h 662520"/>
              <a:gd name="connsiteX68" fmla="*/ 750549 w 1360843"/>
              <a:gd name="connsiteY68" fmla="*/ 379812 h 662520"/>
              <a:gd name="connsiteX69" fmla="*/ 698411 w 1360843"/>
              <a:gd name="connsiteY69" fmla="*/ 373608 h 662520"/>
              <a:gd name="connsiteX70" fmla="*/ 649592 w 1360843"/>
              <a:gd name="connsiteY70" fmla="*/ 373608 h 662520"/>
              <a:gd name="connsiteX71" fmla="*/ 649592 w 1360843"/>
              <a:gd name="connsiteY71" fmla="*/ 286308 h 662520"/>
              <a:gd name="connsiteX72" fmla="*/ 690892 w 1360843"/>
              <a:gd name="connsiteY72" fmla="*/ 286308 h 662520"/>
              <a:gd name="connsiteX73" fmla="*/ 744563 w 1360843"/>
              <a:gd name="connsiteY73" fmla="*/ 280133 h 662520"/>
              <a:gd name="connsiteX74" fmla="*/ 783007 w 1360843"/>
              <a:gd name="connsiteY74" fmla="*/ 261550 h 662520"/>
              <a:gd name="connsiteX75" fmla="*/ 806137 w 1360843"/>
              <a:gd name="connsiteY75" fmla="*/ 230469 h 662520"/>
              <a:gd name="connsiteX76" fmla="*/ 813866 w 1360843"/>
              <a:gd name="connsiteY76" fmla="*/ 186804 h 662520"/>
              <a:gd name="connsiteX77" fmla="*/ 808513 w 1360843"/>
              <a:gd name="connsiteY77" fmla="*/ 149115 h 662520"/>
              <a:gd name="connsiteX78" fmla="*/ 792160 w 1360843"/>
              <a:gd name="connsiteY78" fmla="*/ 121104 h 662520"/>
              <a:gd name="connsiteX79" fmla="*/ 764365 w 1360843"/>
              <a:gd name="connsiteY79" fmla="*/ 103651 h 662520"/>
              <a:gd name="connsiteX80" fmla="*/ 724687 w 1360843"/>
              <a:gd name="connsiteY80" fmla="*/ 97637 h 662520"/>
              <a:gd name="connsiteX81" fmla="*/ 687243 w 1360843"/>
              <a:gd name="connsiteY81" fmla="*/ 102374 h 662520"/>
              <a:gd name="connsiteX82" fmla="*/ 657456 w 1360843"/>
              <a:gd name="connsiteY82" fmla="*/ 115117 h 662520"/>
              <a:gd name="connsiteX83" fmla="*/ 634533 w 1360843"/>
              <a:gd name="connsiteY83" fmla="*/ 133668 h 662520"/>
              <a:gd name="connsiteX84" fmla="*/ 617677 w 1360843"/>
              <a:gd name="connsiteY84" fmla="*/ 155828 h 662520"/>
              <a:gd name="connsiteX85" fmla="*/ 539775 w 1360843"/>
              <a:gd name="connsiteY85" fmla="*/ 155828 h 662520"/>
              <a:gd name="connsiteX86" fmla="*/ 539775 w 1360843"/>
              <a:gd name="connsiteY86" fmla="*/ 33807 h 662520"/>
              <a:gd name="connsiteX87" fmla="*/ 584006 w 1360843"/>
              <a:gd name="connsiteY87" fmla="*/ 19813 h 662520"/>
              <a:gd name="connsiteX88" fmla="*/ 631056 w 1360843"/>
              <a:gd name="connsiteY88" fmla="*/ 9159 h 662520"/>
              <a:gd name="connsiteX89" fmla="*/ 681278 w 1360843"/>
              <a:gd name="connsiteY89" fmla="*/ 2378 h 662520"/>
              <a:gd name="connsiteX90" fmla="*/ 735025 w 1360843"/>
              <a:gd name="connsiteY90" fmla="*/ 0 h 662520"/>
              <a:gd name="connsiteX91" fmla="*/ 790395 w 1360843"/>
              <a:gd name="connsiteY91" fmla="*/ 3158 h 662520"/>
              <a:gd name="connsiteX92" fmla="*/ 838689 w 1360843"/>
              <a:gd name="connsiteY92" fmla="*/ 12853 h 662520"/>
              <a:gd name="connsiteX93" fmla="*/ 879380 w 1360843"/>
              <a:gd name="connsiteY93" fmla="*/ 29412 h 662520"/>
              <a:gd name="connsiteX94" fmla="*/ 911943 w 1360843"/>
              <a:gd name="connsiteY94" fmla="*/ 53163 h 662520"/>
              <a:gd name="connsiteX95" fmla="*/ 935853 w 1360843"/>
              <a:gd name="connsiteY95" fmla="*/ 84435 h 662520"/>
              <a:gd name="connsiteX96" fmla="*/ 950584 w 1360843"/>
              <a:gd name="connsiteY96" fmla="*/ 123555 h 662520"/>
              <a:gd name="connsiteX97" fmla="*/ 955611 w 1360843"/>
              <a:gd name="connsiteY97" fmla="*/ 170853 h 662520"/>
              <a:gd name="connsiteX98" fmla="*/ 949453 w 1360843"/>
              <a:gd name="connsiteY98" fmla="*/ 219568 h 662520"/>
              <a:gd name="connsiteX99" fmla="*/ 931581 w 1360843"/>
              <a:gd name="connsiteY99" fmla="*/ 258234 h 662520"/>
              <a:gd name="connsiteX100" fmla="*/ 902895 w 1360843"/>
              <a:gd name="connsiteY100" fmla="*/ 287843 h 662520"/>
              <a:gd name="connsiteX101" fmla="*/ 864296 w 1360843"/>
              <a:gd name="connsiteY101" fmla="*/ 309388 h 662520"/>
              <a:gd name="connsiteX102" fmla="*/ 816686 w 1360843"/>
              <a:gd name="connsiteY102" fmla="*/ 323862 h 662520"/>
              <a:gd name="connsiteX103" fmla="*/ 816686 w 1360843"/>
              <a:gd name="connsiteY103" fmla="*/ 327609 h 662520"/>
              <a:gd name="connsiteX104" fmla="*/ 870681 w 1360843"/>
              <a:gd name="connsiteY104" fmla="*/ 340566 h 662520"/>
              <a:gd name="connsiteX105" fmla="*/ 912283 w 1360843"/>
              <a:gd name="connsiteY105" fmla="*/ 362534 h 662520"/>
              <a:gd name="connsiteX106" fmla="*/ 941719 w 1360843"/>
              <a:gd name="connsiteY106" fmla="*/ 393513 h 662520"/>
              <a:gd name="connsiteX107" fmla="*/ 959215 w 1360843"/>
              <a:gd name="connsiteY107" fmla="*/ 433502 h 662520"/>
              <a:gd name="connsiteX108" fmla="*/ 964996 w 1360843"/>
              <a:gd name="connsiteY108" fmla="*/ 482498 h 662520"/>
              <a:gd name="connsiteX109" fmla="*/ 959936 w 1360843"/>
              <a:gd name="connsiteY109" fmla="*/ 527743 h 662520"/>
              <a:gd name="connsiteX110" fmla="*/ 944659 w 1360843"/>
              <a:gd name="connsiteY110" fmla="*/ 567021 h 662520"/>
              <a:gd name="connsiteX111" fmla="*/ 920122 w 1360843"/>
              <a:gd name="connsiteY111" fmla="*/ 600232 h 662520"/>
              <a:gd name="connsiteX112" fmla="*/ 887285 w 1360843"/>
              <a:gd name="connsiteY112" fmla="*/ 627278 h 662520"/>
              <a:gd name="connsiteX113" fmla="*/ 847106 w 1360843"/>
              <a:gd name="connsiteY113" fmla="*/ 648061 h 662520"/>
              <a:gd name="connsiteX114" fmla="*/ 800544 w 1360843"/>
              <a:gd name="connsiteY114" fmla="*/ 662482 h 662520"/>
              <a:gd name="connsiteX115" fmla="*/ 1360843 w 1360843"/>
              <a:gd name="connsiteY115" fmla="*/ 662495 h 662520"/>
              <a:gd name="connsiteX0" fmla="*/ 104190 w 1360843"/>
              <a:gd name="connsiteY0" fmla="*/ 533196 h 662520"/>
              <a:gd name="connsiteX1" fmla="*/ 116931 w 1360843"/>
              <a:gd name="connsiteY1" fmla="*/ 550133 h 662520"/>
              <a:gd name="connsiteX2" fmla="*/ 135043 w 1360843"/>
              <a:gd name="connsiteY2" fmla="*/ 564522 h 662520"/>
              <a:gd name="connsiteX3" fmla="*/ 160020 w 1360843"/>
              <a:gd name="connsiteY3" fmla="*/ 574514 h 662520"/>
              <a:gd name="connsiteX4" fmla="*/ 193357 w 1360843"/>
              <a:gd name="connsiteY4" fmla="*/ 578256 h 662520"/>
              <a:gd name="connsiteX5" fmla="*/ 233829 w 1360843"/>
              <a:gd name="connsiteY5" fmla="*/ 573672 h 662520"/>
              <a:gd name="connsiteX6" fmla="*/ 297105 w 1360843"/>
              <a:gd name="connsiteY6" fmla="*/ 537246 h 662520"/>
              <a:gd name="connsiteX7" fmla="*/ 320040 w 1360843"/>
              <a:gd name="connsiteY7" fmla="*/ 505568 h 662520"/>
              <a:gd name="connsiteX8" fmla="*/ 337261 w 1360843"/>
              <a:gd name="connsiteY8" fmla="*/ 465022 h 662520"/>
              <a:gd name="connsiteX9" fmla="*/ 348834 w 1360843"/>
              <a:gd name="connsiteY9" fmla="*/ 415691 h 662520"/>
              <a:gd name="connsiteX10" fmla="*/ 354825 w 1360843"/>
              <a:gd name="connsiteY10" fmla="*/ 357657 h 662520"/>
              <a:gd name="connsiteX11" fmla="*/ 325357 w 1360843"/>
              <a:gd name="connsiteY11" fmla="*/ 385098 h 662520"/>
              <a:gd name="connsiteX12" fmla="*/ 289466 w 1360843"/>
              <a:gd name="connsiteY12" fmla="*/ 406117 h 662520"/>
              <a:gd name="connsiteX13" fmla="*/ 247767 w 1360843"/>
              <a:gd name="connsiteY13" fmla="*/ 419568 h 662520"/>
              <a:gd name="connsiteX14" fmla="*/ 200875 w 1360843"/>
              <a:gd name="connsiteY14" fmla="*/ 424306 h 662520"/>
              <a:gd name="connsiteX15" fmla="*/ 153099 w 1360843"/>
              <a:gd name="connsiteY15" fmla="*/ 420031 h 662520"/>
              <a:gd name="connsiteX16" fmla="*/ 110150 w 1360843"/>
              <a:gd name="connsiteY16" fmla="*/ 407348 h 662520"/>
              <a:gd name="connsiteX17" fmla="*/ 72948 w 1360843"/>
              <a:gd name="connsiteY17" fmla="*/ 386472 h 662520"/>
              <a:gd name="connsiteX18" fmla="*/ 42412 w 1360843"/>
              <a:gd name="connsiteY18" fmla="*/ 357614 h 662520"/>
              <a:gd name="connsiteX19" fmla="*/ 19463 w 1360843"/>
              <a:gd name="connsiteY19" fmla="*/ 320990 h 662520"/>
              <a:gd name="connsiteX20" fmla="*/ 5019 w 1360843"/>
              <a:gd name="connsiteY20" fmla="*/ 276814 h 662520"/>
              <a:gd name="connsiteX21" fmla="*/ 0 w 1360843"/>
              <a:gd name="connsiteY21" fmla="*/ 225297 h 662520"/>
              <a:gd name="connsiteX22" fmla="*/ 4447 w 1360843"/>
              <a:gd name="connsiteY22" fmla="*/ 178425 h 662520"/>
              <a:gd name="connsiteX23" fmla="*/ 17453 w 1360843"/>
              <a:gd name="connsiteY23" fmla="*/ 135445 h 662520"/>
              <a:gd name="connsiteX24" fmla="*/ 38511 w 1360843"/>
              <a:gd name="connsiteY24" fmla="*/ 97085 h 662520"/>
              <a:gd name="connsiteX25" fmla="*/ 67116 w 1360843"/>
              <a:gd name="connsiteY25" fmla="*/ 64071 h 662520"/>
              <a:gd name="connsiteX26" fmla="*/ 102760 w 1360843"/>
              <a:gd name="connsiteY26" fmla="*/ 37129 h 662520"/>
              <a:gd name="connsiteX27" fmla="*/ 144939 w 1360843"/>
              <a:gd name="connsiteY27" fmla="*/ 16986 h 662520"/>
              <a:gd name="connsiteX28" fmla="*/ 193146 w 1360843"/>
              <a:gd name="connsiteY28" fmla="*/ 4367 h 662520"/>
              <a:gd name="connsiteX29" fmla="*/ 246875 w 1360843"/>
              <a:gd name="connsiteY29" fmla="*/ 0 h 662520"/>
              <a:gd name="connsiteX30" fmla="*/ 290625 w 1360843"/>
              <a:gd name="connsiteY30" fmla="*/ 2882 h 662520"/>
              <a:gd name="connsiteX31" fmla="*/ 331492 w 1360843"/>
              <a:gd name="connsiteY31" fmla="*/ 11678 h 662520"/>
              <a:gd name="connsiteX32" fmla="*/ 369070 w 1360843"/>
              <a:gd name="connsiteY32" fmla="*/ 26614 h 662520"/>
              <a:gd name="connsiteX33" fmla="*/ 402953 w 1360843"/>
              <a:gd name="connsiteY33" fmla="*/ 47914 h 662520"/>
              <a:gd name="connsiteX34" fmla="*/ 432736 w 1360843"/>
              <a:gd name="connsiteY34" fmla="*/ 75804 h 662520"/>
              <a:gd name="connsiteX35" fmla="*/ 458013 w 1360843"/>
              <a:gd name="connsiteY35" fmla="*/ 110509 h 662520"/>
              <a:gd name="connsiteX36" fmla="*/ 478379 w 1360843"/>
              <a:gd name="connsiteY36" fmla="*/ 152255 h 662520"/>
              <a:gd name="connsiteX37" fmla="*/ 493429 w 1360843"/>
              <a:gd name="connsiteY37" fmla="*/ 201265 h 662520"/>
              <a:gd name="connsiteX38" fmla="*/ 502756 w 1360843"/>
              <a:gd name="connsiteY38" fmla="*/ 257766 h 662520"/>
              <a:gd name="connsiteX39" fmla="*/ 505955 w 1360843"/>
              <a:gd name="connsiteY39" fmla="*/ 321983 h 662520"/>
              <a:gd name="connsiteX40" fmla="*/ 503406 w 1360843"/>
              <a:gd name="connsiteY40" fmla="*/ 376707 h 662520"/>
              <a:gd name="connsiteX41" fmla="*/ 495858 w 1360843"/>
              <a:gd name="connsiteY41" fmla="*/ 427041 h 662520"/>
              <a:gd name="connsiteX42" fmla="*/ 483456 w 1360843"/>
              <a:gd name="connsiteY42" fmla="*/ 472909 h 662520"/>
              <a:gd name="connsiteX43" fmla="*/ 466346 w 1360843"/>
              <a:gd name="connsiteY43" fmla="*/ 514232 h 662520"/>
              <a:gd name="connsiteX44" fmla="*/ 444674 w 1360843"/>
              <a:gd name="connsiteY44" fmla="*/ 550937 h 662520"/>
              <a:gd name="connsiteX45" fmla="*/ 418587 w 1360843"/>
              <a:gd name="connsiteY45" fmla="*/ 582945 h 662520"/>
              <a:gd name="connsiteX46" fmla="*/ 388229 w 1360843"/>
              <a:gd name="connsiteY46" fmla="*/ 610181 h 662520"/>
              <a:gd name="connsiteX47" fmla="*/ 353748 w 1360843"/>
              <a:gd name="connsiteY47" fmla="*/ 632569 h 662520"/>
              <a:gd name="connsiteX48" fmla="*/ 315289 w 1360843"/>
              <a:gd name="connsiteY48" fmla="*/ 650033 h 662520"/>
              <a:gd name="connsiteX49" fmla="*/ 272999 w 1360843"/>
              <a:gd name="connsiteY49" fmla="*/ 662495 h 662520"/>
              <a:gd name="connsiteX50" fmla="*/ 592162 w 1360843"/>
              <a:gd name="connsiteY50" fmla="*/ 662520 h 662520"/>
              <a:gd name="connsiteX51" fmla="*/ 571167 w 1360843"/>
              <a:gd name="connsiteY51" fmla="*/ 658030 h 662520"/>
              <a:gd name="connsiteX52" fmla="*/ 551373 w 1360843"/>
              <a:gd name="connsiteY52" fmla="*/ 652783 h 662520"/>
              <a:gd name="connsiteX53" fmla="*/ 532537 w 1360843"/>
              <a:gd name="connsiteY53" fmla="*/ 646826 h 662520"/>
              <a:gd name="connsiteX54" fmla="*/ 514413 w 1360843"/>
              <a:gd name="connsiteY54" fmla="*/ 640206 h 662520"/>
              <a:gd name="connsiteX55" fmla="*/ 514413 w 1360843"/>
              <a:gd name="connsiteY55" fmla="*/ 516293 h 662520"/>
              <a:gd name="connsiteX56" fmla="*/ 596087 w 1360843"/>
              <a:gd name="connsiteY56" fmla="*/ 516293 h 662520"/>
              <a:gd name="connsiteX57" fmla="*/ 612203 w 1360843"/>
              <a:gd name="connsiteY57" fmla="*/ 539439 h 662520"/>
              <a:gd name="connsiteX58" fmla="*/ 635627 w 1360843"/>
              <a:gd name="connsiteY58" fmla="*/ 559242 h 662520"/>
              <a:gd name="connsiteX59" fmla="*/ 666972 w 1360843"/>
              <a:gd name="connsiteY59" fmla="*/ 573062 h 662520"/>
              <a:gd name="connsiteX60" fmla="*/ 706856 w 1360843"/>
              <a:gd name="connsiteY60" fmla="*/ 578256 h 662520"/>
              <a:gd name="connsiteX61" fmla="*/ 749359 w 1360843"/>
              <a:gd name="connsiteY61" fmla="*/ 571758 h 662520"/>
              <a:gd name="connsiteX62" fmla="*/ 784298 w 1360843"/>
              <a:gd name="connsiteY62" fmla="*/ 552322 h 662520"/>
              <a:gd name="connsiteX63" fmla="*/ 807972 w 1360843"/>
              <a:gd name="connsiteY63" fmla="*/ 520038 h 662520"/>
              <a:gd name="connsiteX64" fmla="*/ 816686 w 1360843"/>
              <a:gd name="connsiteY64" fmla="*/ 474992 h 662520"/>
              <a:gd name="connsiteX65" fmla="*/ 809424 w 1360843"/>
              <a:gd name="connsiteY65" fmla="*/ 430240 h 662520"/>
              <a:gd name="connsiteX66" fmla="*/ 787466 w 1360843"/>
              <a:gd name="connsiteY66" fmla="*/ 398602 h 662520"/>
              <a:gd name="connsiteX67" fmla="*/ 750549 w 1360843"/>
              <a:gd name="connsiteY67" fmla="*/ 379812 h 662520"/>
              <a:gd name="connsiteX68" fmla="*/ 698411 w 1360843"/>
              <a:gd name="connsiteY68" fmla="*/ 373608 h 662520"/>
              <a:gd name="connsiteX69" fmla="*/ 649592 w 1360843"/>
              <a:gd name="connsiteY69" fmla="*/ 373608 h 662520"/>
              <a:gd name="connsiteX70" fmla="*/ 649592 w 1360843"/>
              <a:gd name="connsiteY70" fmla="*/ 286308 h 662520"/>
              <a:gd name="connsiteX71" fmla="*/ 690892 w 1360843"/>
              <a:gd name="connsiteY71" fmla="*/ 286308 h 662520"/>
              <a:gd name="connsiteX72" fmla="*/ 744563 w 1360843"/>
              <a:gd name="connsiteY72" fmla="*/ 280133 h 662520"/>
              <a:gd name="connsiteX73" fmla="*/ 783007 w 1360843"/>
              <a:gd name="connsiteY73" fmla="*/ 261550 h 662520"/>
              <a:gd name="connsiteX74" fmla="*/ 806137 w 1360843"/>
              <a:gd name="connsiteY74" fmla="*/ 230469 h 662520"/>
              <a:gd name="connsiteX75" fmla="*/ 813866 w 1360843"/>
              <a:gd name="connsiteY75" fmla="*/ 186804 h 662520"/>
              <a:gd name="connsiteX76" fmla="*/ 808513 w 1360843"/>
              <a:gd name="connsiteY76" fmla="*/ 149115 h 662520"/>
              <a:gd name="connsiteX77" fmla="*/ 792160 w 1360843"/>
              <a:gd name="connsiteY77" fmla="*/ 121104 h 662520"/>
              <a:gd name="connsiteX78" fmla="*/ 764365 w 1360843"/>
              <a:gd name="connsiteY78" fmla="*/ 103651 h 662520"/>
              <a:gd name="connsiteX79" fmla="*/ 724687 w 1360843"/>
              <a:gd name="connsiteY79" fmla="*/ 97637 h 662520"/>
              <a:gd name="connsiteX80" fmla="*/ 687243 w 1360843"/>
              <a:gd name="connsiteY80" fmla="*/ 102374 h 662520"/>
              <a:gd name="connsiteX81" fmla="*/ 657456 w 1360843"/>
              <a:gd name="connsiteY81" fmla="*/ 115117 h 662520"/>
              <a:gd name="connsiteX82" fmla="*/ 634533 w 1360843"/>
              <a:gd name="connsiteY82" fmla="*/ 133668 h 662520"/>
              <a:gd name="connsiteX83" fmla="*/ 617677 w 1360843"/>
              <a:gd name="connsiteY83" fmla="*/ 155828 h 662520"/>
              <a:gd name="connsiteX84" fmla="*/ 539775 w 1360843"/>
              <a:gd name="connsiteY84" fmla="*/ 155828 h 662520"/>
              <a:gd name="connsiteX85" fmla="*/ 539775 w 1360843"/>
              <a:gd name="connsiteY85" fmla="*/ 33807 h 662520"/>
              <a:gd name="connsiteX86" fmla="*/ 584006 w 1360843"/>
              <a:gd name="connsiteY86" fmla="*/ 19813 h 662520"/>
              <a:gd name="connsiteX87" fmla="*/ 631056 w 1360843"/>
              <a:gd name="connsiteY87" fmla="*/ 9159 h 662520"/>
              <a:gd name="connsiteX88" fmla="*/ 681278 w 1360843"/>
              <a:gd name="connsiteY88" fmla="*/ 2378 h 662520"/>
              <a:gd name="connsiteX89" fmla="*/ 735025 w 1360843"/>
              <a:gd name="connsiteY89" fmla="*/ 0 h 662520"/>
              <a:gd name="connsiteX90" fmla="*/ 790395 w 1360843"/>
              <a:gd name="connsiteY90" fmla="*/ 3158 h 662520"/>
              <a:gd name="connsiteX91" fmla="*/ 838689 w 1360843"/>
              <a:gd name="connsiteY91" fmla="*/ 12853 h 662520"/>
              <a:gd name="connsiteX92" fmla="*/ 879380 w 1360843"/>
              <a:gd name="connsiteY92" fmla="*/ 29412 h 662520"/>
              <a:gd name="connsiteX93" fmla="*/ 911943 w 1360843"/>
              <a:gd name="connsiteY93" fmla="*/ 53163 h 662520"/>
              <a:gd name="connsiteX94" fmla="*/ 935853 w 1360843"/>
              <a:gd name="connsiteY94" fmla="*/ 84435 h 662520"/>
              <a:gd name="connsiteX95" fmla="*/ 950584 w 1360843"/>
              <a:gd name="connsiteY95" fmla="*/ 123555 h 662520"/>
              <a:gd name="connsiteX96" fmla="*/ 955611 w 1360843"/>
              <a:gd name="connsiteY96" fmla="*/ 170853 h 662520"/>
              <a:gd name="connsiteX97" fmla="*/ 949453 w 1360843"/>
              <a:gd name="connsiteY97" fmla="*/ 219568 h 662520"/>
              <a:gd name="connsiteX98" fmla="*/ 931581 w 1360843"/>
              <a:gd name="connsiteY98" fmla="*/ 258234 h 662520"/>
              <a:gd name="connsiteX99" fmla="*/ 902895 w 1360843"/>
              <a:gd name="connsiteY99" fmla="*/ 287843 h 662520"/>
              <a:gd name="connsiteX100" fmla="*/ 864296 w 1360843"/>
              <a:gd name="connsiteY100" fmla="*/ 309388 h 662520"/>
              <a:gd name="connsiteX101" fmla="*/ 816686 w 1360843"/>
              <a:gd name="connsiteY101" fmla="*/ 323862 h 662520"/>
              <a:gd name="connsiteX102" fmla="*/ 816686 w 1360843"/>
              <a:gd name="connsiteY102" fmla="*/ 327609 h 662520"/>
              <a:gd name="connsiteX103" fmla="*/ 870681 w 1360843"/>
              <a:gd name="connsiteY103" fmla="*/ 340566 h 662520"/>
              <a:gd name="connsiteX104" fmla="*/ 912283 w 1360843"/>
              <a:gd name="connsiteY104" fmla="*/ 362534 h 662520"/>
              <a:gd name="connsiteX105" fmla="*/ 941719 w 1360843"/>
              <a:gd name="connsiteY105" fmla="*/ 393513 h 662520"/>
              <a:gd name="connsiteX106" fmla="*/ 959215 w 1360843"/>
              <a:gd name="connsiteY106" fmla="*/ 433502 h 662520"/>
              <a:gd name="connsiteX107" fmla="*/ 964996 w 1360843"/>
              <a:gd name="connsiteY107" fmla="*/ 482498 h 662520"/>
              <a:gd name="connsiteX108" fmla="*/ 959936 w 1360843"/>
              <a:gd name="connsiteY108" fmla="*/ 527743 h 662520"/>
              <a:gd name="connsiteX109" fmla="*/ 944659 w 1360843"/>
              <a:gd name="connsiteY109" fmla="*/ 567021 h 662520"/>
              <a:gd name="connsiteX110" fmla="*/ 920122 w 1360843"/>
              <a:gd name="connsiteY110" fmla="*/ 600232 h 662520"/>
              <a:gd name="connsiteX111" fmla="*/ 887285 w 1360843"/>
              <a:gd name="connsiteY111" fmla="*/ 627278 h 662520"/>
              <a:gd name="connsiteX112" fmla="*/ 847106 w 1360843"/>
              <a:gd name="connsiteY112" fmla="*/ 648061 h 662520"/>
              <a:gd name="connsiteX113" fmla="*/ 800544 w 1360843"/>
              <a:gd name="connsiteY113" fmla="*/ 662482 h 662520"/>
              <a:gd name="connsiteX114" fmla="*/ 1360843 w 1360843"/>
              <a:gd name="connsiteY114" fmla="*/ 662495 h 662520"/>
              <a:gd name="connsiteX0" fmla="*/ 116931 w 1360843"/>
              <a:gd name="connsiteY0" fmla="*/ 550133 h 662520"/>
              <a:gd name="connsiteX1" fmla="*/ 135043 w 1360843"/>
              <a:gd name="connsiteY1" fmla="*/ 564522 h 662520"/>
              <a:gd name="connsiteX2" fmla="*/ 160020 w 1360843"/>
              <a:gd name="connsiteY2" fmla="*/ 574514 h 662520"/>
              <a:gd name="connsiteX3" fmla="*/ 193357 w 1360843"/>
              <a:gd name="connsiteY3" fmla="*/ 578256 h 662520"/>
              <a:gd name="connsiteX4" fmla="*/ 233829 w 1360843"/>
              <a:gd name="connsiteY4" fmla="*/ 573672 h 662520"/>
              <a:gd name="connsiteX5" fmla="*/ 297105 w 1360843"/>
              <a:gd name="connsiteY5" fmla="*/ 537246 h 662520"/>
              <a:gd name="connsiteX6" fmla="*/ 320040 w 1360843"/>
              <a:gd name="connsiteY6" fmla="*/ 505568 h 662520"/>
              <a:gd name="connsiteX7" fmla="*/ 337261 w 1360843"/>
              <a:gd name="connsiteY7" fmla="*/ 465022 h 662520"/>
              <a:gd name="connsiteX8" fmla="*/ 348834 w 1360843"/>
              <a:gd name="connsiteY8" fmla="*/ 415691 h 662520"/>
              <a:gd name="connsiteX9" fmla="*/ 354825 w 1360843"/>
              <a:gd name="connsiteY9" fmla="*/ 357657 h 662520"/>
              <a:gd name="connsiteX10" fmla="*/ 325357 w 1360843"/>
              <a:gd name="connsiteY10" fmla="*/ 385098 h 662520"/>
              <a:gd name="connsiteX11" fmla="*/ 289466 w 1360843"/>
              <a:gd name="connsiteY11" fmla="*/ 406117 h 662520"/>
              <a:gd name="connsiteX12" fmla="*/ 247767 w 1360843"/>
              <a:gd name="connsiteY12" fmla="*/ 419568 h 662520"/>
              <a:gd name="connsiteX13" fmla="*/ 200875 w 1360843"/>
              <a:gd name="connsiteY13" fmla="*/ 424306 h 662520"/>
              <a:gd name="connsiteX14" fmla="*/ 153099 w 1360843"/>
              <a:gd name="connsiteY14" fmla="*/ 420031 h 662520"/>
              <a:gd name="connsiteX15" fmla="*/ 110150 w 1360843"/>
              <a:gd name="connsiteY15" fmla="*/ 407348 h 662520"/>
              <a:gd name="connsiteX16" fmla="*/ 72948 w 1360843"/>
              <a:gd name="connsiteY16" fmla="*/ 386472 h 662520"/>
              <a:gd name="connsiteX17" fmla="*/ 42412 w 1360843"/>
              <a:gd name="connsiteY17" fmla="*/ 357614 h 662520"/>
              <a:gd name="connsiteX18" fmla="*/ 19463 w 1360843"/>
              <a:gd name="connsiteY18" fmla="*/ 320990 h 662520"/>
              <a:gd name="connsiteX19" fmla="*/ 5019 w 1360843"/>
              <a:gd name="connsiteY19" fmla="*/ 276814 h 662520"/>
              <a:gd name="connsiteX20" fmla="*/ 0 w 1360843"/>
              <a:gd name="connsiteY20" fmla="*/ 225297 h 662520"/>
              <a:gd name="connsiteX21" fmla="*/ 4447 w 1360843"/>
              <a:gd name="connsiteY21" fmla="*/ 178425 h 662520"/>
              <a:gd name="connsiteX22" fmla="*/ 17453 w 1360843"/>
              <a:gd name="connsiteY22" fmla="*/ 135445 h 662520"/>
              <a:gd name="connsiteX23" fmla="*/ 38511 w 1360843"/>
              <a:gd name="connsiteY23" fmla="*/ 97085 h 662520"/>
              <a:gd name="connsiteX24" fmla="*/ 67116 w 1360843"/>
              <a:gd name="connsiteY24" fmla="*/ 64071 h 662520"/>
              <a:gd name="connsiteX25" fmla="*/ 102760 w 1360843"/>
              <a:gd name="connsiteY25" fmla="*/ 37129 h 662520"/>
              <a:gd name="connsiteX26" fmla="*/ 144939 w 1360843"/>
              <a:gd name="connsiteY26" fmla="*/ 16986 h 662520"/>
              <a:gd name="connsiteX27" fmla="*/ 193146 w 1360843"/>
              <a:gd name="connsiteY27" fmla="*/ 4367 h 662520"/>
              <a:gd name="connsiteX28" fmla="*/ 246875 w 1360843"/>
              <a:gd name="connsiteY28" fmla="*/ 0 h 662520"/>
              <a:gd name="connsiteX29" fmla="*/ 290625 w 1360843"/>
              <a:gd name="connsiteY29" fmla="*/ 2882 h 662520"/>
              <a:gd name="connsiteX30" fmla="*/ 331492 w 1360843"/>
              <a:gd name="connsiteY30" fmla="*/ 11678 h 662520"/>
              <a:gd name="connsiteX31" fmla="*/ 369070 w 1360843"/>
              <a:gd name="connsiteY31" fmla="*/ 26614 h 662520"/>
              <a:gd name="connsiteX32" fmla="*/ 402953 w 1360843"/>
              <a:gd name="connsiteY32" fmla="*/ 47914 h 662520"/>
              <a:gd name="connsiteX33" fmla="*/ 432736 w 1360843"/>
              <a:gd name="connsiteY33" fmla="*/ 75804 h 662520"/>
              <a:gd name="connsiteX34" fmla="*/ 458013 w 1360843"/>
              <a:gd name="connsiteY34" fmla="*/ 110509 h 662520"/>
              <a:gd name="connsiteX35" fmla="*/ 478379 w 1360843"/>
              <a:gd name="connsiteY35" fmla="*/ 152255 h 662520"/>
              <a:gd name="connsiteX36" fmla="*/ 493429 w 1360843"/>
              <a:gd name="connsiteY36" fmla="*/ 201265 h 662520"/>
              <a:gd name="connsiteX37" fmla="*/ 502756 w 1360843"/>
              <a:gd name="connsiteY37" fmla="*/ 257766 h 662520"/>
              <a:gd name="connsiteX38" fmla="*/ 505955 w 1360843"/>
              <a:gd name="connsiteY38" fmla="*/ 321983 h 662520"/>
              <a:gd name="connsiteX39" fmla="*/ 503406 w 1360843"/>
              <a:gd name="connsiteY39" fmla="*/ 376707 h 662520"/>
              <a:gd name="connsiteX40" fmla="*/ 495858 w 1360843"/>
              <a:gd name="connsiteY40" fmla="*/ 427041 h 662520"/>
              <a:gd name="connsiteX41" fmla="*/ 483456 w 1360843"/>
              <a:gd name="connsiteY41" fmla="*/ 472909 h 662520"/>
              <a:gd name="connsiteX42" fmla="*/ 466346 w 1360843"/>
              <a:gd name="connsiteY42" fmla="*/ 514232 h 662520"/>
              <a:gd name="connsiteX43" fmla="*/ 444674 w 1360843"/>
              <a:gd name="connsiteY43" fmla="*/ 550937 h 662520"/>
              <a:gd name="connsiteX44" fmla="*/ 418587 w 1360843"/>
              <a:gd name="connsiteY44" fmla="*/ 582945 h 662520"/>
              <a:gd name="connsiteX45" fmla="*/ 388229 w 1360843"/>
              <a:gd name="connsiteY45" fmla="*/ 610181 h 662520"/>
              <a:gd name="connsiteX46" fmla="*/ 353748 w 1360843"/>
              <a:gd name="connsiteY46" fmla="*/ 632569 h 662520"/>
              <a:gd name="connsiteX47" fmla="*/ 315289 w 1360843"/>
              <a:gd name="connsiteY47" fmla="*/ 650033 h 662520"/>
              <a:gd name="connsiteX48" fmla="*/ 272999 w 1360843"/>
              <a:gd name="connsiteY48" fmla="*/ 662495 h 662520"/>
              <a:gd name="connsiteX49" fmla="*/ 592162 w 1360843"/>
              <a:gd name="connsiteY49" fmla="*/ 662520 h 662520"/>
              <a:gd name="connsiteX50" fmla="*/ 571167 w 1360843"/>
              <a:gd name="connsiteY50" fmla="*/ 658030 h 662520"/>
              <a:gd name="connsiteX51" fmla="*/ 551373 w 1360843"/>
              <a:gd name="connsiteY51" fmla="*/ 652783 h 662520"/>
              <a:gd name="connsiteX52" fmla="*/ 532537 w 1360843"/>
              <a:gd name="connsiteY52" fmla="*/ 646826 h 662520"/>
              <a:gd name="connsiteX53" fmla="*/ 514413 w 1360843"/>
              <a:gd name="connsiteY53" fmla="*/ 640206 h 662520"/>
              <a:gd name="connsiteX54" fmla="*/ 514413 w 1360843"/>
              <a:gd name="connsiteY54" fmla="*/ 516293 h 662520"/>
              <a:gd name="connsiteX55" fmla="*/ 596087 w 1360843"/>
              <a:gd name="connsiteY55" fmla="*/ 516293 h 662520"/>
              <a:gd name="connsiteX56" fmla="*/ 612203 w 1360843"/>
              <a:gd name="connsiteY56" fmla="*/ 539439 h 662520"/>
              <a:gd name="connsiteX57" fmla="*/ 635627 w 1360843"/>
              <a:gd name="connsiteY57" fmla="*/ 559242 h 662520"/>
              <a:gd name="connsiteX58" fmla="*/ 666972 w 1360843"/>
              <a:gd name="connsiteY58" fmla="*/ 573062 h 662520"/>
              <a:gd name="connsiteX59" fmla="*/ 706856 w 1360843"/>
              <a:gd name="connsiteY59" fmla="*/ 578256 h 662520"/>
              <a:gd name="connsiteX60" fmla="*/ 749359 w 1360843"/>
              <a:gd name="connsiteY60" fmla="*/ 571758 h 662520"/>
              <a:gd name="connsiteX61" fmla="*/ 784298 w 1360843"/>
              <a:gd name="connsiteY61" fmla="*/ 552322 h 662520"/>
              <a:gd name="connsiteX62" fmla="*/ 807972 w 1360843"/>
              <a:gd name="connsiteY62" fmla="*/ 520038 h 662520"/>
              <a:gd name="connsiteX63" fmla="*/ 816686 w 1360843"/>
              <a:gd name="connsiteY63" fmla="*/ 474992 h 662520"/>
              <a:gd name="connsiteX64" fmla="*/ 809424 w 1360843"/>
              <a:gd name="connsiteY64" fmla="*/ 430240 h 662520"/>
              <a:gd name="connsiteX65" fmla="*/ 787466 w 1360843"/>
              <a:gd name="connsiteY65" fmla="*/ 398602 h 662520"/>
              <a:gd name="connsiteX66" fmla="*/ 750549 w 1360843"/>
              <a:gd name="connsiteY66" fmla="*/ 379812 h 662520"/>
              <a:gd name="connsiteX67" fmla="*/ 698411 w 1360843"/>
              <a:gd name="connsiteY67" fmla="*/ 373608 h 662520"/>
              <a:gd name="connsiteX68" fmla="*/ 649592 w 1360843"/>
              <a:gd name="connsiteY68" fmla="*/ 373608 h 662520"/>
              <a:gd name="connsiteX69" fmla="*/ 649592 w 1360843"/>
              <a:gd name="connsiteY69" fmla="*/ 286308 h 662520"/>
              <a:gd name="connsiteX70" fmla="*/ 690892 w 1360843"/>
              <a:gd name="connsiteY70" fmla="*/ 286308 h 662520"/>
              <a:gd name="connsiteX71" fmla="*/ 744563 w 1360843"/>
              <a:gd name="connsiteY71" fmla="*/ 280133 h 662520"/>
              <a:gd name="connsiteX72" fmla="*/ 783007 w 1360843"/>
              <a:gd name="connsiteY72" fmla="*/ 261550 h 662520"/>
              <a:gd name="connsiteX73" fmla="*/ 806137 w 1360843"/>
              <a:gd name="connsiteY73" fmla="*/ 230469 h 662520"/>
              <a:gd name="connsiteX74" fmla="*/ 813866 w 1360843"/>
              <a:gd name="connsiteY74" fmla="*/ 186804 h 662520"/>
              <a:gd name="connsiteX75" fmla="*/ 808513 w 1360843"/>
              <a:gd name="connsiteY75" fmla="*/ 149115 h 662520"/>
              <a:gd name="connsiteX76" fmla="*/ 792160 w 1360843"/>
              <a:gd name="connsiteY76" fmla="*/ 121104 h 662520"/>
              <a:gd name="connsiteX77" fmla="*/ 764365 w 1360843"/>
              <a:gd name="connsiteY77" fmla="*/ 103651 h 662520"/>
              <a:gd name="connsiteX78" fmla="*/ 724687 w 1360843"/>
              <a:gd name="connsiteY78" fmla="*/ 97637 h 662520"/>
              <a:gd name="connsiteX79" fmla="*/ 687243 w 1360843"/>
              <a:gd name="connsiteY79" fmla="*/ 102374 h 662520"/>
              <a:gd name="connsiteX80" fmla="*/ 657456 w 1360843"/>
              <a:gd name="connsiteY80" fmla="*/ 115117 h 662520"/>
              <a:gd name="connsiteX81" fmla="*/ 634533 w 1360843"/>
              <a:gd name="connsiteY81" fmla="*/ 133668 h 662520"/>
              <a:gd name="connsiteX82" fmla="*/ 617677 w 1360843"/>
              <a:gd name="connsiteY82" fmla="*/ 155828 h 662520"/>
              <a:gd name="connsiteX83" fmla="*/ 539775 w 1360843"/>
              <a:gd name="connsiteY83" fmla="*/ 155828 h 662520"/>
              <a:gd name="connsiteX84" fmla="*/ 539775 w 1360843"/>
              <a:gd name="connsiteY84" fmla="*/ 33807 h 662520"/>
              <a:gd name="connsiteX85" fmla="*/ 584006 w 1360843"/>
              <a:gd name="connsiteY85" fmla="*/ 19813 h 662520"/>
              <a:gd name="connsiteX86" fmla="*/ 631056 w 1360843"/>
              <a:gd name="connsiteY86" fmla="*/ 9159 h 662520"/>
              <a:gd name="connsiteX87" fmla="*/ 681278 w 1360843"/>
              <a:gd name="connsiteY87" fmla="*/ 2378 h 662520"/>
              <a:gd name="connsiteX88" fmla="*/ 735025 w 1360843"/>
              <a:gd name="connsiteY88" fmla="*/ 0 h 662520"/>
              <a:gd name="connsiteX89" fmla="*/ 790395 w 1360843"/>
              <a:gd name="connsiteY89" fmla="*/ 3158 h 662520"/>
              <a:gd name="connsiteX90" fmla="*/ 838689 w 1360843"/>
              <a:gd name="connsiteY90" fmla="*/ 12853 h 662520"/>
              <a:gd name="connsiteX91" fmla="*/ 879380 w 1360843"/>
              <a:gd name="connsiteY91" fmla="*/ 29412 h 662520"/>
              <a:gd name="connsiteX92" fmla="*/ 911943 w 1360843"/>
              <a:gd name="connsiteY92" fmla="*/ 53163 h 662520"/>
              <a:gd name="connsiteX93" fmla="*/ 935853 w 1360843"/>
              <a:gd name="connsiteY93" fmla="*/ 84435 h 662520"/>
              <a:gd name="connsiteX94" fmla="*/ 950584 w 1360843"/>
              <a:gd name="connsiteY94" fmla="*/ 123555 h 662520"/>
              <a:gd name="connsiteX95" fmla="*/ 955611 w 1360843"/>
              <a:gd name="connsiteY95" fmla="*/ 170853 h 662520"/>
              <a:gd name="connsiteX96" fmla="*/ 949453 w 1360843"/>
              <a:gd name="connsiteY96" fmla="*/ 219568 h 662520"/>
              <a:gd name="connsiteX97" fmla="*/ 931581 w 1360843"/>
              <a:gd name="connsiteY97" fmla="*/ 258234 h 662520"/>
              <a:gd name="connsiteX98" fmla="*/ 902895 w 1360843"/>
              <a:gd name="connsiteY98" fmla="*/ 287843 h 662520"/>
              <a:gd name="connsiteX99" fmla="*/ 864296 w 1360843"/>
              <a:gd name="connsiteY99" fmla="*/ 309388 h 662520"/>
              <a:gd name="connsiteX100" fmla="*/ 816686 w 1360843"/>
              <a:gd name="connsiteY100" fmla="*/ 323862 h 662520"/>
              <a:gd name="connsiteX101" fmla="*/ 816686 w 1360843"/>
              <a:gd name="connsiteY101" fmla="*/ 327609 h 662520"/>
              <a:gd name="connsiteX102" fmla="*/ 870681 w 1360843"/>
              <a:gd name="connsiteY102" fmla="*/ 340566 h 662520"/>
              <a:gd name="connsiteX103" fmla="*/ 912283 w 1360843"/>
              <a:gd name="connsiteY103" fmla="*/ 362534 h 662520"/>
              <a:gd name="connsiteX104" fmla="*/ 941719 w 1360843"/>
              <a:gd name="connsiteY104" fmla="*/ 393513 h 662520"/>
              <a:gd name="connsiteX105" fmla="*/ 959215 w 1360843"/>
              <a:gd name="connsiteY105" fmla="*/ 433502 h 662520"/>
              <a:gd name="connsiteX106" fmla="*/ 964996 w 1360843"/>
              <a:gd name="connsiteY106" fmla="*/ 482498 h 662520"/>
              <a:gd name="connsiteX107" fmla="*/ 959936 w 1360843"/>
              <a:gd name="connsiteY107" fmla="*/ 527743 h 662520"/>
              <a:gd name="connsiteX108" fmla="*/ 944659 w 1360843"/>
              <a:gd name="connsiteY108" fmla="*/ 567021 h 662520"/>
              <a:gd name="connsiteX109" fmla="*/ 920122 w 1360843"/>
              <a:gd name="connsiteY109" fmla="*/ 600232 h 662520"/>
              <a:gd name="connsiteX110" fmla="*/ 887285 w 1360843"/>
              <a:gd name="connsiteY110" fmla="*/ 627278 h 662520"/>
              <a:gd name="connsiteX111" fmla="*/ 847106 w 1360843"/>
              <a:gd name="connsiteY111" fmla="*/ 648061 h 662520"/>
              <a:gd name="connsiteX112" fmla="*/ 800544 w 1360843"/>
              <a:gd name="connsiteY112" fmla="*/ 662482 h 662520"/>
              <a:gd name="connsiteX113" fmla="*/ 1360843 w 1360843"/>
              <a:gd name="connsiteY113" fmla="*/ 662495 h 662520"/>
              <a:gd name="connsiteX0" fmla="*/ 135043 w 1360843"/>
              <a:gd name="connsiteY0" fmla="*/ 564522 h 662520"/>
              <a:gd name="connsiteX1" fmla="*/ 160020 w 1360843"/>
              <a:gd name="connsiteY1" fmla="*/ 574514 h 662520"/>
              <a:gd name="connsiteX2" fmla="*/ 193357 w 1360843"/>
              <a:gd name="connsiteY2" fmla="*/ 578256 h 662520"/>
              <a:gd name="connsiteX3" fmla="*/ 233829 w 1360843"/>
              <a:gd name="connsiteY3" fmla="*/ 573672 h 662520"/>
              <a:gd name="connsiteX4" fmla="*/ 297105 w 1360843"/>
              <a:gd name="connsiteY4" fmla="*/ 537246 h 662520"/>
              <a:gd name="connsiteX5" fmla="*/ 320040 w 1360843"/>
              <a:gd name="connsiteY5" fmla="*/ 505568 h 662520"/>
              <a:gd name="connsiteX6" fmla="*/ 337261 w 1360843"/>
              <a:gd name="connsiteY6" fmla="*/ 465022 h 662520"/>
              <a:gd name="connsiteX7" fmla="*/ 348834 w 1360843"/>
              <a:gd name="connsiteY7" fmla="*/ 415691 h 662520"/>
              <a:gd name="connsiteX8" fmla="*/ 354825 w 1360843"/>
              <a:gd name="connsiteY8" fmla="*/ 357657 h 662520"/>
              <a:gd name="connsiteX9" fmla="*/ 325357 w 1360843"/>
              <a:gd name="connsiteY9" fmla="*/ 385098 h 662520"/>
              <a:gd name="connsiteX10" fmla="*/ 289466 w 1360843"/>
              <a:gd name="connsiteY10" fmla="*/ 406117 h 662520"/>
              <a:gd name="connsiteX11" fmla="*/ 247767 w 1360843"/>
              <a:gd name="connsiteY11" fmla="*/ 419568 h 662520"/>
              <a:gd name="connsiteX12" fmla="*/ 200875 w 1360843"/>
              <a:gd name="connsiteY12" fmla="*/ 424306 h 662520"/>
              <a:gd name="connsiteX13" fmla="*/ 153099 w 1360843"/>
              <a:gd name="connsiteY13" fmla="*/ 420031 h 662520"/>
              <a:gd name="connsiteX14" fmla="*/ 110150 w 1360843"/>
              <a:gd name="connsiteY14" fmla="*/ 407348 h 662520"/>
              <a:gd name="connsiteX15" fmla="*/ 72948 w 1360843"/>
              <a:gd name="connsiteY15" fmla="*/ 386472 h 662520"/>
              <a:gd name="connsiteX16" fmla="*/ 42412 w 1360843"/>
              <a:gd name="connsiteY16" fmla="*/ 357614 h 662520"/>
              <a:gd name="connsiteX17" fmla="*/ 19463 w 1360843"/>
              <a:gd name="connsiteY17" fmla="*/ 320990 h 662520"/>
              <a:gd name="connsiteX18" fmla="*/ 5019 w 1360843"/>
              <a:gd name="connsiteY18" fmla="*/ 276814 h 662520"/>
              <a:gd name="connsiteX19" fmla="*/ 0 w 1360843"/>
              <a:gd name="connsiteY19" fmla="*/ 225297 h 662520"/>
              <a:gd name="connsiteX20" fmla="*/ 4447 w 1360843"/>
              <a:gd name="connsiteY20" fmla="*/ 178425 h 662520"/>
              <a:gd name="connsiteX21" fmla="*/ 17453 w 1360843"/>
              <a:gd name="connsiteY21" fmla="*/ 135445 h 662520"/>
              <a:gd name="connsiteX22" fmla="*/ 38511 w 1360843"/>
              <a:gd name="connsiteY22" fmla="*/ 97085 h 662520"/>
              <a:gd name="connsiteX23" fmla="*/ 67116 w 1360843"/>
              <a:gd name="connsiteY23" fmla="*/ 64071 h 662520"/>
              <a:gd name="connsiteX24" fmla="*/ 102760 w 1360843"/>
              <a:gd name="connsiteY24" fmla="*/ 37129 h 662520"/>
              <a:gd name="connsiteX25" fmla="*/ 144939 w 1360843"/>
              <a:gd name="connsiteY25" fmla="*/ 16986 h 662520"/>
              <a:gd name="connsiteX26" fmla="*/ 193146 w 1360843"/>
              <a:gd name="connsiteY26" fmla="*/ 4367 h 662520"/>
              <a:gd name="connsiteX27" fmla="*/ 246875 w 1360843"/>
              <a:gd name="connsiteY27" fmla="*/ 0 h 662520"/>
              <a:gd name="connsiteX28" fmla="*/ 290625 w 1360843"/>
              <a:gd name="connsiteY28" fmla="*/ 2882 h 662520"/>
              <a:gd name="connsiteX29" fmla="*/ 331492 w 1360843"/>
              <a:gd name="connsiteY29" fmla="*/ 11678 h 662520"/>
              <a:gd name="connsiteX30" fmla="*/ 369070 w 1360843"/>
              <a:gd name="connsiteY30" fmla="*/ 26614 h 662520"/>
              <a:gd name="connsiteX31" fmla="*/ 402953 w 1360843"/>
              <a:gd name="connsiteY31" fmla="*/ 47914 h 662520"/>
              <a:gd name="connsiteX32" fmla="*/ 432736 w 1360843"/>
              <a:gd name="connsiteY32" fmla="*/ 75804 h 662520"/>
              <a:gd name="connsiteX33" fmla="*/ 458013 w 1360843"/>
              <a:gd name="connsiteY33" fmla="*/ 110509 h 662520"/>
              <a:gd name="connsiteX34" fmla="*/ 478379 w 1360843"/>
              <a:gd name="connsiteY34" fmla="*/ 152255 h 662520"/>
              <a:gd name="connsiteX35" fmla="*/ 493429 w 1360843"/>
              <a:gd name="connsiteY35" fmla="*/ 201265 h 662520"/>
              <a:gd name="connsiteX36" fmla="*/ 502756 w 1360843"/>
              <a:gd name="connsiteY36" fmla="*/ 257766 h 662520"/>
              <a:gd name="connsiteX37" fmla="*/ 505955 w 1360843"/>
              <a:gd name="connsiteY37" fmla="*/ 321983 h 662520"/>
              <a:gd name="connsiteX38" fmla="*/ 503406 w 1360843"/>
              <a:gd name="connsiteY38" fmla="*/ 376707 h 662520"/>
              <a:gd name="connsiteX39" fmla="*/ 495858 w 1360843"/>
              <a:gd name="connsiteY39" fmla="*/ 427041 h 662520"/>
              <a:gd name="connsiteX40" fmla="*/ 483456 w 1360843"/>
              <a:gd name="connsiteY40" fmla="*/ 472909 h 662520"/>
              <a:gd name="connsiteX41" fmla="*/ 466346 w 1360843"/>
              <a:gd name="connsiteY41" fmla="*/ 514232 h 662520"/>
              <a:gd name="connsiteX42" fmla="*/ 444674 w 1360843"/>
              <a:gd name="connsiteY42" fmla="*/ 550937 h 662520"/>
              <a:gd name="connsiteX43" fmla="*/ 418587 w 1360843"/>
              <a:gd name="connsiteY43" fmla="*/ 582945 h 662520"/>
              <a:gd name="connsiteX44" fmla="*/ 388229 w 1360843"/>
              <a:gd name="connsiteY44" fmla="*/ 610181 h 662520"/>
              <a:gd name="connsiteX45" fmla="*/ 353748 w 1360843"/>
              <a:gd name="connsiteY45" fmla="*/ 632569 h 662520"/>
              <a:gd name="connsiteX46" fmla="*/ 315289 w 1360843"/>
              <a:gd name="connsiteY46" fmla="*/ 650033 h 662520"/>
              <a:gd name="connsiteX47" fmla="*/ 272999 w 1360843"/>
              <a:gd name="connsiteY47" fmla="*/ 662495 h 662520"/>
              <a:gd name="connsiteX48" fmla="*/ 592162 w 1360843"/>
              <a:gd name="connsiteY48" fmla="*/ 662520 h 662520"/>
              <a:gd name="connsiteX49" fmla="*/ 571167 w 1360843"/>
              <a:gd name="connsiteY49" fmla="*/ 658030 h 662520"/>
              <a:gd name="connsiteX50" fmla="*/ 551373 w 1360843"/>
              <a:gd name="connsiteY50" fmla="*/ 652783 h 662520"/>
              <a:gd name="connsiteX51" fmla="*/ 532537 w 1360843"/>
              <a:gd name="connsiteY51" fmla="*/ 646826 h 662520"/>
              <a:gd name="connsiteX52" fmla="*/ 514413 w 1360843"/>
              <a:gd name="connsiteY52" fmla="*/ 640206 h 662520"/>
              <a:gd name="connsiteX53" fmla="*/ 514413 w 1360843"/>
              <a:gd name="connsiteY53" fmla="*/ 516293 h 662520"/>
              <a:gd name="connsiteX54" fmla="*/ 596087 w 1360843"/>
              <a:gd name="connsiteY54" fmla="*/ 516293 h 662520"/>
              <a:gd name="connsiteX55" fmla="*/ 612203 w 1360843"/>
              <a:gd name="connsiteY55" fmla="*/ 539439 h 662520"/>
              <a:gd name="connsiteX56" fmla="*/ 635627 w 1360843"/>
              <a:gd name="connsiteY56" fmla="*/ 559242 h 662520"/>
              <a:gd name="connsiteX57" fmla="*/ 666972 w 1360843"/>
              <a:gd name="connsiteY57" fmla="*/ 573062 h 662520"/>
              <a:gd name="connsiteX58" fmla="*/ 706856 w 1360843"/>
              <a:gd name="connsiteY58" fmla="*/ 578256 h 662520"/>
              <a:gd name="connsiteX59" fmla="*/ 749359 w 1360843"/>
              <a:gd name="connsiteY59" fmla="*/ 571758 h 662520"/>
              <a:gd name="connsiteX60" fmla="*/ 784298 w 1360843"/>
              <a:gd name="connsiteY60" fmla="*/ 552322 h 662520"/>
              <a:gd name="connsiteX61" fmla="*/ 807972 w 1360843"/>
              <a:gd name="connsiteY61" fmla="*/ 520038 h 662520"/>
              <a:gd name="connsiteX62" fmla="*/ 816686 w 1360843"/>
              <a:gd name="connsiteY62" fmla="*/ 474992 h 662520"/>
              <a:gd name="connsiteX63" fmla="*/ 809424 w 1360843"/>
              <a:gd name="connsiteY63" fmla="*/ 430240 h 662520"/>
              <a:gd name="connsiteX64" fmla="*/ 787466 w 1360843"/>
              <a:gd name="connsiteY64" fmla="*/ 398602 h 662520"/>
              <a:gd name="connsiteX65" fmla="*/ 750549 w 1360843"/>
              <a:gd name="connsiteY65" fmla="*/ 379812 h 662520"/>
              <a:gd name="connsiteX66" fmla="*/ 698411 w 1360843"/>
              <a:gd name="connsiteY66" fmla="*/ 373608 h 662520"/>
              <a:gd name="connsiteX67" fmla="*/ 649592 w 1360843"/>
              <a:gd name="connsiteY67" fmla="*/ 373608 h 662520"/>
              <a:gd name="connsiteX68" fmla="*/ 649592 w 1360843"/>
              <a:gd name="connsiteY68" fmla="*/ 286308 h 662520"/>
              <a:gd name="connsiteX69" fmla="*/ 690892 w 1360843"/>
              <a:gd name="connsiteY69" fmla="*/ 286308 h 662520"/>
              <a:gd name="connsiteX70" fmla="*/ 744563 w 1360843"/>
              <a:gd name="connsiteY70" fmla="*/ 280133 h 662520"/>
              <a:gd name="connsiteX71" fmla="*/ 783007 w 1360843"/>
              <a:gd name="connsiteY71" fmla="*/ 261550 h 662520"/>
              <a:gd name="connsiteX72" fmla="*/ 806137 w 1360843"/>
              <a:gd name="connsiteY72" fmla="*/ 230469 h 662520"/>
              <a:gd name="connsiteX73" fmla="*/ 813866 w 1360843"/>
              <a:gd name="connsiteY73" fmla="*/ 186804 h 662520"/>
              <a:gd name="connsiteX74" fmla="*/ 808513 w 1360843"/>
              <a:gd name="connsiteY74" fmla="*/ 149115 h 662520"/>
              <a:gd name="connsiteX75" fmla="*/ 792160 w 1360843"/>
              <a:gd name="connsiteY75" fmla="*/ 121104 h 662520"/>
              <a:gd name="connsiteX76" fmla="*/ 764365 w 1360843"/>
              <a:gd name="connsiteY76" fmla="*/ 103651 h 662520"/>
              <a:gd name="connsiteX77" fmla="*/ 724687 w 1360843"/>
              <a:gd name="connsiteY77" fmla="*/ 97637 h 662520"/>
              <a:gd name="connsiteX78" fmla="*/ 687243 w 1360843"/>
              <a:gd name="connsiteY78" fmla="*/ 102374 h 662520"/>
              <a:gd name="connsiteX79" fmla="*/ 657456 w 1360843"/>
              <a:gd name="connsiteY79" fmla="*/ 115117 h 662520"/>
              <a:gd name="connsiteX80" fmla="*/ 634533 w 1360843"/>
              <a:gd name="connsiteY80" fmla="*/ 133668 h 662520"/>
              <a:gd name="connsiteX81" fmla="*/ 617677 w 1360843"/>
              <a:gd name="connsiteY81" fmla="*/ 155828 h 662520"/>
              <a:gd name="connsiteX82" fmla="*/ 539775 w 1360843"/>
              <a:gd name="connsiteY82" fmla="*/ 155828 h 662520"/>
              <a:gd name="connsiteX83" fmla="*/ 539775 w 1360843"/>
              <a:gd name="connsiteY83" fmla="*/ 33807 h 662520"/>
              <a:gd name="connsiteX84" fmla="*/ 584006 w 1360843"/>
              <a:gd name="connsiteY84" fmla="*/ 19813 h 662520"/>
              <a:gd name="connsiteX85" fmla="*/ 631056 w 1360843"/>
              <a:gd name="connsiteY85" fmla="*/ 9159 h 662520"/>
              <a:gd name="connsiteX86" fmla="*/ 681278 w 1360843"/>
              <a:gd name="connsiteY86" fmla="*/ 2378 h 662520"/>
              <a:gd name="connsiteX87" fmla="*/ 735025 w 1360843"/>
              <a:gd name="connsiteY87" fmla="*/ 0 h 662520"/>
              <a:gd name="connsiteX88" fmla="*/ 790395 w 1360843"/>
              <a:gd name="connsiteY88" fmla="*/ 3158 h 662520"/>
              <a:gd name="connsiteX89" fmla="*/ 838689 w 1360843"/>
              <a:gd name="connsiteY89" fmla="*/ 12853 h 662520"/>
              <a:gd name="connsiteX90" fmla="*/ 879380 w 1360843"/>
              <a:gd name="connsiteY90" fmla="*/ 29412 h 662520"/>
              <a:gd name="connsiteX91" fmla="*/ 911943 w 1360843"/>
              <a:gd name="connsiteY91" fmla="*/ 53163 h 662520"/>
              <a:gd name="connsiteX92" fmla="*/ 935853 w 1360843"/>
              <a:gd name="connsiteY92" fmla="*/ 84435 h 662520"/>
              <a:gd name="connsiteX93" fmla="*/ 950584 w 1360843"/>
              <a:gd name="connsiteY93" fmla="*/ 123555 h 662520"/>
              <a:gd name="connsiteX94" fmla="*/ 955611 w 1360843"/>
              <a:gd name="connsiteY94" fmla="*/ 170853 h 662520"/>
              <a:gd name="connsiteX95" fmla="*/ 949453 w 1360843"/>
              <a:gd name="connsiteY95" fmla="*/ 219568 h 662520"/>
              <a:gd name="connsiteX96" fmla="*/ 931581 w 1360843"/>
              <a:gd name="connsiteY96" fmla="*/ 258234 h 662520"/>
              <a:gd name="connsiteX97" fmla="*/ 902895 w 1360843"/>
              <a:gd name="connsiteY97" fmla="*/ 287843 h 662520"/>
              <a:gd name="connsiteX98" fmla="*/ 864296 w 1360843"/>
              <a:gd name="connsiteY98" fmla="*/ 309388 h 662520"/>
              <a:gd name="connsiteX99" fmla="*/ 816686 w 1360843"/>
              <a:gd name="connsiteY99" fmla="*/ 323862 h 662520"/>
              <a:gd name="connsiteX100" fmla="*/ 816686 w 1360843"/>
              <a:gd name="connsiteY100" fmla="*/ 327609 h 662520"/>
              <a:gd name="connsiteX101" fmla="*/ 870681 w 1360843"/>
              <a:gd name="connsiteY101" fmla="*/ 340566 h 662520"/>
              <a:gd name="connsiteX102" fmla="*/ 912283 w 1360843"/>
              <a:gd name="connsiteY102" fmla="*/ 362534 h 662520"/>
              <a:gd name="connsiteX103" fmla="*/ 941719 w 1360843"/>
              <a:gd name="connsiteY103" fmla="*/ 393513 h 662520"/>
              <a:gd name="connsiteX104" fmla="*/ 959215 w 1360843"/>
              <a:gd name="connsiteY104" fmla="*/ 433502 h 662520"/>
              <a:gd name="connsiteX105" fmla="*/ 964996 w 1360843"/>
              <a:gd name="connsiteY105" fmla="*/ 482498 h 662520"/>
              <a:gd name="connsiteX106" fmla="*/ 959936 w 1360843"/>
              <a:gd name="connsiteY106" fmla="*/ 527743 h 662520"/>
              <a:gd name="connsiteX107" fmla="*/ 944659 w 1360843"/>
              <a:gd name="connsiteY107" fmla="*/ 567021 h 662520"/>
              <a:gd name="connsiteX108" fmla="*/ 920122 w 1360843"/>
              <a:gd name="connsiteY108" fmla="*/ 600232 h 662520"/>
              <a:gd name="connsiteX109" fmla="*/ 887285 w 1360843"/>
              <a:gd name="connsiteY109" fmla="*/ 627278 h 662520"/>
              <a:gd name="connsiteX110" fmla="*/ 847106 w 1360843"/>
              <a:gd name="connsiteY110" fmla="*/ 648061 h 662520"/>
              <a:gd name="connsiteX111" fmla="*/ 800544 w 1360843"/>
              <a:gd name="connsiteY111" fmla="*/ 662482 h 662520"/>
              <a:gd name="connsiteX112" fmla="*/ 1360843 w 1360843"/>
              <a:gd name="connsiteY112" fmla="*/ 662495 h 662520"/>
              <a:gd name="connsiteX0" fmla="*/ 135043 w 1360843"/>
              <a:gd name="connsiteY0" fmla="*/ 564522 h 662520"/>
              <a:gd name="connsiteX1" fmla="*/ 193357 w 1360843"/>
              <a:gd name="connsiteY1" fmla="*/ 578256 h 662520"/>
              <a:gd name="connsiteX2" fmla="*/ 233829 w 1360843"/>
              <a:gd name="connsiteY2" fmla="*/ 573672 h 662520"/>
              <a:gd name="connsiteX3" fmla="*/ 297105 w 1360843"/>
              <a:gd name="connsiteY3" fmla="*/ 537246 h 662520"/>
              <a:gd name="connsiteX4" fmla="*/ 320040 w 1360843"/>
              <a:gd name="connsiteY4" fmla="*/ 505568 h 662520"/>
              <a:gd name="connsiteX5" fmla="*/ 337261 w 1360843"/>
              <a:gd name="connsiteY5" fmla="*/ 465022 h 662520"/>
              <a:gd name="connsiteX6" fmla="*/ 348834 w 1360843"/>
              <a:gd name="connsiteY6" fmla="*/ 415691 h 662520"/>
              <a:gd name="connsiteX7" fmla="*/ 354825 w 1360843"/>
              <a:gd name="connsiteY7" fmla="*/ 357657 h 662520"/>
              <a:gd name="connsiteX8" fmla="*/ 325357 w 1360843"/>
              <a:gd name="connsiteY8" fmla="*/ 385098 h 662520"/>
              <a:gd name="connsiteX9" fmla="*/ 289466 w 1360843"/>
              <a:gd name="connsiteY9" fmla="*/ 406117 h 662520"/>
              <a:gd name="connsiteX10" fmla="*/ 247767 w 1360843"/>
              <a:gd name="connsiteY10" fmla="*/ 419568 h 662520"/>
              <a:gd name="connsiteX11" fmla="*/ 200875 w 1360843"/>
              <a:gd name="connsiteY11" fmla="*/ 424306 h 662520"/>
              <a:gd name="connsiteX12" fmla="*/ 153099 w 1360843"/>
              <a:gd name="connsiteY12" fmla="*/ 420031 h 662520"/>
              <a:gd name="connsiteX13" fmla="*/ 110150 w 1360843"/>
              <a:gd name="connsiteY13" fmla="*/ 407348 h 662520"/>
              <a:gd name="connsiteX14" fmla="*/ 72948 w 1360843"/>
              <a:gd name="connsiteY14" fmla="*/ 386472 h 662520"/>
              <a:gd name="connsiteX15" fmla="*/ 42412 w 1360843"/>
              <a:gd name="connsiteY15" fmla="*/ 357614 h 662520"/>
              <a:gd name="connsiteX16" fmla="*/ 19463 w 1360843"/>
              <a:gd name="connsiteY16" fmla="*/ 320990 h 662520"/>
              <a:gd name="connsiteX17" fmla="*/ 5019 w 1360843"/>
              <a:gd name="connsiteY17" fmla="*/ 276814 h 662520"/>
              <a:gd name="connsiteX18" fmla="*/ 0 w 1360843"/>
              <a:gd name="connsiteY18" fmla="*/ 225297 h 662520"/>
              <a:gd name="connsiteX19" fmla="*/ 4447 w 1360843"/>
              <a:gd name="connsiteY19" fmla="*/ 178425 h 662520"/>
              <a:gd name="connsiteX20" fmla="*/ 17453 w 1360843"/>
              <a:gd name="connsiteY20" fmla="*/ 135445 h 662520"/>
              <a:gd name="connsiteX21" fmla="*/ 38511 w 1360843"/>
              <a:gd name="connsiteY21" fmla="*/ 97085 h 662520"/>
              <a:gd name="connsiteX22" fmla="*/ 67116 w 1360843"/>
              <a:gd name="connsiteY22" fmla="*/ 64071 h 662520"/>
              <a:gd name="connsiteX23" fmla="*/ 102760 w 1360843"/>
              <a:gd name="connsiteY23" fmla="*/ 37129 h 662520"/>
              <a:gd name="connsiteX24" fmla="*/ 144939 w 1360843"/>
              <a:gd name="connsiteY24" fmla="*/ 16986 h 662520"/>
              <a:gd name="connsiteX25" fmla="*/ 193146 w 1360843"/>
              <a:gd name="connsiteY25" fmla="*/ 4367 h 662520"/>
              <a:gd name="connsiteX26" fmla="*/ 246875 w 1360843"/>
              <a:gd name="connsiteY26" fmla="*/ 0 h 662520"/>
              <a:gd name="connsiteX27" fmla="*/ 290625 w 1360843"/>
              <a:gd name="connsiteY27" fmla="*/ 2882 h 662520"/>
              <a:gd name="connsiteX28" fmla="*/ 331492 w 1360843"/>
              <a:gd name="connsiteY28" fmla="*/ 11678 h 662520"/>
              <a:gd name="connsiteX29" fmla="*/ 369070 w 1360843"/>
              <a:gd name="connsiteY29" fmla="*/ 26614 h 662520"/>
              <a:gd name="connsiteX30" fmla="*/ 402953 w 1360843"/>
              <a:gd name="connsiteY30" fmla="*/ 47914 h 662520"/>
              <a:gd name="connsiteX31" fmla="*/ 432736 w 1360843"/>
              <a:gd name="connsiteY31" fmla="*/ 75804 h 662520"/>
              <a:gd name="connsiteX32" fmla="*/ 458013 w 1360843"/>
              <a:gd name="connsiteY32" fmla="*/ 110509 h 662520"/>
              <a:gd name="connsiteX33" fmla="*/ 478379 w 1360843"/>
              <a:gd name="connsiteY33" fmla="*/ 152255 h 662520"/>
              <a:gd name="connsiteX34" fmla="*/ 493429 w 1360843"/>
              <a:gd name="connsiteY34" fmla="*/ 201265 h 662520"/>
              <a:gd name="connsiteX35" fmla="*/ 502756 w 1360843"/>
              <a:gd name="connsiteY35" fmla="*/ 257766 h 662520"/>
              <a:gd name="connsiteX36" fmla="*/ 505955 w 1360843"/>
              <a:gd name="connsiteY36" fmla="*/ 321983 h 662520"/>
              <a:gd name="connsiteX37" fmla="*/ 503406 w 1360843"/>
              <a:gd name="connsiteY37" fmla="*/ 376707 h 662520"/>
              <a:gd name="connsiteX38" fmla="*/ 495858 w 1360843"/>
              <a:gd name="connsiteY38" fmla="*/ 427041 h 662520"/>
              <a:gd name="connsiteX39" fmla="*/ 483456 w 1360843"/>
              <a:gd name="connsiteY39" fmla="*/ 472909 h 662520"/>
              <a:gd name="connsiteX40" fmla="*/ 466346 w 1360843"/>
              <a:gd name="connsiteY40" fmla="*/ 514232 h 662520"/>
              <a:gd name="connsiteX41" fmla="*/ 444674 w 1360843"/>
              <a:gd name="connsiteY41" fmla="*/ 550937 h 662520"/>
              <a:gd name="connsiteX42" fmla="*/ 418587 w 1360843"/>
              <a:gd name="connsiteY42" fmla="*/ 582945 h 662520"/>
              <a:gd name="connsiteX43" fmla="*/ 388229 w 1360843"/>
              <a:gd name="connsiteY43" fmla="*/ 610181 h 662520"/>
              <a:gd name="connsiteX44" fmla="*/ 353748 w 1360843"/>
              <a:gd name="connsiteY44" fmla="*/ 632569 h 662520"/>
              <a:gd name="connsiteX45" fmla="*/ 315289 w 1360843"/>
              <a:gd name="connsiteY45" fmla="*/ 650033 h 662520"/>
              <a:gd name="connsiteX46" fmla="*/ 272999 w 1360843"/>
              <a:gd name="connsiteY46" fmla="*/ 662495 h 662520"/>
              <a:gd name="connsiteX47" fmla="*/ 592162 w 1360843"/>
              <a:gd name="connsiteY47" fmla="*/ 662520 h 662520"/>
              <a:gd name="connsiteX48" fmla="*/ 571167 w 1360843"/>
              <a:gd name="connsiteY48" fmla="*/ 658030 h 662520"/>
              <a:gd name="connsiteX49" fmla="*/ 551373 w 1360843"/>
              <a:gd name="connsiteY49" fmla="*/ 652783 h 662520"/>
              <a:gd name="connsiteX50" fmla="*/ 532537 w 1360843"/>
              <a:gd name="connsiteY50" fmla="*/ 646826 h 662520"/>
              <a:gd name="connsiteX51" fmla="*/ 514413 w 1360843"/>
              <a:gd name="connsiteY51" fmla="*/ 640206 h 662520"/>
              <a:gd name="connsiteX52" fmla="*/ 514413 w 1360843"/>
              <a:gd name="connsiteY52" fmla="*/ 516293 h 662520"/>
              <a:gd name="connsiteX53" fmla="*/ 596087 w 1360843"/>
              <a:gd name="connsiteY53" fmla="*/ 516293 h 662520"/>
              <a:gd name="connsiteX54" fmla="*/ 612203 w 1360843"/>
              <a:gd name="connsiteY54" fmla="*/ 539439 h 662520"/>
              <a:gd name="connsiteX55" fmla="*/ 635627 w 1360843"/>
              <a:gd name="connsiteY55" fmla="*/ 559242 h 662520"/>
              <a:gd name="connsiteX56" fmla="*/ 666972 w 1360843"/>
              <a:gd name="connsiteY56" fmla="*/ 573062 h 662520"/>
              <a:gd name="connsiteX57" fmla="*/ 706856 w 1360843"/>
              <a:gd name="connsiteY57" fmla="*/ 578256 h 662520"/>
              <a:gd name="connsiteX58" fmla="*/ 749359 w 1360843"/>
              <a:gd name="connsiteY58" fmla="*/ 571758 h 662520"/>
              <a:gd name="connsiteX59" fmla="*/ 784298 w 1360843"/>
              <a:gd name="connsiteY59" fmla="*/ 552322 h 662520"/>
              <a:gd name="connsiteX60" fmla="*/ 807972 w 1360843"/>
              <a:gd name="connsiteY60" fmla="*/ 520038 h 662520"/>
              <a:gd name="connsiteX61" fmla="*/ 816686 w 1360843"/>
              <a:gd name="connsiteY61" fmla="*/ 474992 h 662520"/>
              <a:gd name="connsiteX62" fmla="*/ 809424 w 1360843"/>
              <a:gd name="connsiteY62" fmla="*/ 430240 h 662520"/>
              <a:gd name="connsiteX63" fmla="*/ 787466 w 1360843"/>
              <a:gd name="connsiteY63" fmla="*/ 398602 h 662520"/>
              <a:gd name="connsiteX64" fmla="*/ 750549 w 1360843"/>
              <a:gd name="connsiteY64" fmla="*/ 379812 h 662520"/>
              <a:gd name="connsiteX65" fmla="*/ 698411 w 1360843"/>
              <a:gd name="connsiteY65" fmla="*/ 373608 h 662520"/>
              <a:gd name="connsiteX66" fmla="*/ 649592 w 1360843"/>
              <a:gd name="connsiteY66" fmla="*/ 373608 h 662520"/>
              <a:gd name="connsiteX67" fmla="*/ 649592 w 1360843"/>
              <a:gd name="connsiteY67" fmla="*/ 286308 h 662520"/>
              <a:gd name="connsiteX68" fmla="*/ 690892 w 1360843"/>
              <a:gd name="connsiteY68" fmla="*/ 286308 h 662520"/>
              <a:gd name="connsiteX69" fmla="*/ 744563 w 1360843"/>
              <a:gd name="connsiteY69" fmla="*/ 280133 h 662520"/>
              <a:gd name="connsiteX70" fmla="*/ 783007 w 1360843"/>
              <a:gd name="connsiteY70" fmla="*/ 261550 h 662520"/>
              <a:gd name="connsiteX71" fmla="*/ 806137 w 1360843"/>
              <a:gd name="connsiteY71" fmla="*/ 230469 h 662520"/>
              <a:gd name="connsiteX72" fmla="*/ 813866 w 1360843"/>
              <a:gd name="connsiteY72" fmla="*/ 186804 h 662520"/>
              <a:gd name="connsiteX73" fmla="*/ 808513 w 1360843"/>
              <a:gd name="connsiteY73" fmla="*/ 149115 h 662520"/>
              <a:gd name="connsiteX74" fmla="*/ 792160 w 1360843"/>
              <a:gd name="connsiteY74" fmla="*/ 121104 h 662520"/>
              <a:gd name="connsiteX75" fmla="*/ 764365 w 1360843"/>
              <a:gd name="connsiteY75" fmla="*/ 103651 h 662520"/>
              <a:gd name="connsiteX76" fmla="*/ 724687 w 1360843"/>
              <a:gd name="connsiteY76" fmla="*/ 97637 h 662520"/>
              <a:gd name="connsiteX77" fmla="*/ 687243 w 1360843"/>
              <a:gd name="connsiteY77" fmla="*/ 102374 h 662520"/>
              <a:gd name="connsiteX78" fmla="*/ 657456 w 1360843"/>
              <a:gd name="connsiteY78" fmla="*/ 115117 h 662520"/>
              <a:gd name="connsiteX79" fmla="*/ 634533 w 1360843"/>
              <a:gd name="connsiteY79" fmla="*/ 133668 h 662520"/>
              <a:gd name="connsiteX80" fmla="*/ 617677 w 1360843"/>
              <a:gd name="connsiteY80" fmla="*/ 155828 h 662520"/>
              <a:gd name="connsiteX81" fmla="*/ 539775 w 1360843"/>
              <a:gd name="connsiteY81" fmla="*/ 155828 h 662520"/>
              <a:gd name="connsiteX82" fmla="*/ 539775 w 1360843"/>
              <a:gd name="connsiteY82" fmla="*/ 33807 h 662520"/>
              <a:gd name="connsiteX83" fmla="*/ 584006 w 1360843"/>
              <a:gd name="connsiteY83" fmla="*/ 19813 h 662520"/>
              <a:gd name="connsiteX84" fmla="*/ 631056 w 1360843"/>
              <a:gd name="connsiteY84" fmla="*/ 9159 h 662520"/>
              <a:gd name="connsiteX85" fmla="*/ 681278 w 1360843"/>
              <a:gd name="connsiteY85" fmla="*/ 2378 h 662520"/>
              <a:gd name="connsiteX86" fmla="*/ 735025 w 1360843"/>
              <a:gd name="connsiteY86" fmla="*/ 0 h 662520"/>
              <a:gd name="connsiteX87" fmla="*/ 790395 w 1360843"/>
              <a:gd name="connsiteY87" fmla="*/ 3158 h 662520"/>
              <a:gd name="connsiteX88" fmla="*/ 838689 w 1360843"/>
              <a:gd name="connsiteY88" fmla="*/ 12853 h 662520"/>
              <a:gd name="connsiteX89" fmla="*/ 879380 w 1360843"/>
              <a:gd name="connsiteY89" fmla="*/ 29412 h 662520"/>
              <a:gd name="connsiteX90" fmla="*/ 911943 w 1360843"/>
              <a:gd name="connsiteY90" fmla="*/ 53163 h 662520"/>
              <a:gd name="connsiteX91" fmla="*/ 935853 w 1360843"/>
              <a:gd name="connsiteY91" fmla="*/ 84435 h 662520"/>
              <a:gd name="connsiteX92" fmla="*/ 950584 w 1360843"/>
              <a:gd name="connsiteY92" fmla="*/ 123555 h 662520"/>
              <a:gd name="connsiteX93" fmla="*/ 955611 w 1360843"/>
              <a:gd name="connsiteY93" fmla="*/ 170853 h 662520"/>
              <a:gd name="connsiteX94" fmla="*/ 949453 w 1360843"/>
              <a:gd name="connsiteY94" fmla="*/ 219568 h 662520"/>
              <a:gd name="connsiteX95" fmla="*/ 931581 w 1360843"/>
              <a:gd name="connsiteY95" fmla="*/ 258234 h 662520"/>
              <a:gd name="connsiteX96" fmla="*/ 902895 w 1360843"/>
              <a:gd name="connsiteY96" fmla="*/ 287843 h 662520"/>
              <a:gd name="connsiteX97" fmla="*/ 864296 w 1360843"/>
              <a:gd name="connsiteY97" fmla="*/ 309388 h 662520"/>
              <a:gd name="connsiteX98" fmla="*/ 816686 w 1360843"/>
              <a:gd name="connsiteY98" fmla="*/ 323862 h 662520"/>
              <a:gd name="connsiteX99" fmla="*/ 816686 w 1360843"/>
              <a:gd name="connsiteY99" fmla="*/ 327609 h 662520"/>
              <a:gd name="connsiteX100" fmla="*/ 870681 w 1360843"/>
              <a:gd name="connsiteY100" fmla="*/ 340566 h 662520"/>
              <a:gd name="connsiteX101" fmla="*/ 912283 w 1360843"/>
              <a:gd name="connsiteY101" fmla="*/ 362534 h 662520"/>
              <a:gd name="connsiteX102" fmla="*/ 941719 w 1360843"/>
              <a:gd name="connsiteY102" fmla="*/ 393513 h 662520"/>
              <a:gd name="connsiteX103" fmla="*/ 959215 w 1360843"/>
              <a:gd name="connsiteY103" fmla="*/ 433502 h 662520"/>
              <a:gd name="connsiteX104" fmla="*/ 964996 w 1360843"/>
              <a:gd name="connsiteY104" fmla="*/ 482498 h 662520"/>
              <a:gd name="connsiteX105" fmla="*/ 959936 w 1360843"/>
              <a:gd name="connsiteY105" fmla="*/ 527743 h 662520"/>
              <a:gd name="connsiteX106" fmla="*/ 944659 w 1360843"/>
              <a:gd name="connsiteY106" fmla="*/ 567021 h 662520"/>
              <a:gd name="connsiteX107" fmla="*/ 920122 w 1360843"/>
              <a:gd name="connsiteY107" fmla="*/ 600232 h 662520"/>
              <a:gd name="connsiteX108" fmla="*/ 887285 w 1360843"/>
              <a:gd name="connsiteY108" fmla="*/ 627278 h 662520"/>
              <a:gd name="connsiteX109" fmla="*/ 847106 w 1360843"/>
              <a:gd name="connsiteY109" fmla="*/ 648061 h 662520"/>
              <a:gd name="connsiteX110" fmla="*/ 800544 w 1360843"/>
              <a:gd name="connsiteY110" fmla="*/ 662482 h 662520"/>
              <a:gd name="connsiteX111" fmla="*/ 1360843 w 1360843"/>
              <a:gd name="connsiteY111" fmla="*/ 662495 h 662520"/>
              <a:gd name="connsiteX0" fmla="*/ 193357 w 1360843"/>
              <a:gd name="connsiteY0" fmla="*/ 578256 h 662520"/>
              <a:gd name="connsiteX1" fmla="*/ 233829 w 1360843"/>
              <a:gd name="connsiteY1" fmla="*/ 573672 h 662520"/>
              <a:gd name="connsiteX2" fmla="*/ 297105 w 1360843"/>
              <a:gd name="connsiteY2" fmla="*/ 537246 h 662520"/>
              <a:gd name="connsiteX3" fmla="*/ 320040 w 1360843"/>
              <a:gd name="connsiteY3" fmla="*/ 505568 h 662520"/>
              <a:gd name="connsiteX4" fmla="*/ 337261 w 1360843"/>
              <a:gd name="connsiteY4" fmla="*/ 465022 h 662520"/>
              <a:gd name="connsiteX5" fmla="*/ 348834 w 1360843"/>
              <a:gd name="connsiteY5" fmla="*/ 415691 h 662520"/>
              <a:gd name="connsiteX6" fmla="*/ 354825 w 1360843"/>
              <a:gd name="connsiteY6" fmla="*/ 357657 h 662520"/>
              <a:gd name="connsiteX7" fmla="*/ 325357 w 1360843"/>
              <a:gd name="connsiteY7" fmla="*/ 385098 h 662520"/>
              <a:gd name="connsiteX8" fmla="*/ 289466 w 1360843"/>
              <a:gd name="connsiteY8" fmla="*/ 406117 h 662520"/>
              <a:gd name="connsiteX9" fmla="*/ 247767 w 1360843"/>
              <a:gd name="connsiteY9" fmla="*/ 419568 h 662520"/>
              <a:gd name="connsiteX10" fmla="*/ 200875 w 1360843"/>
              <a:gd name="connsiteY10" fmla="*/ 424306 h 662520"/>
              <a:gd name="connsiteX11" fmla="*/ 153099 w 1360843"/>
              <a:gd name="connsiteY11" fmla="*/ 420031 h 662520"/>
              <a:gd name="connsiteX12" fmla="*/ 110150 w 1360843"/>
              <a:gd name="connsiteY12" fmla="*/ 407348 h 662520"/>
              <a:gd name="connsiteX13" fmla="*/ 72948 w 1360843"/>
              <a:gd name="connsiteY13" fmla="*/ 386472 h 662520"/>
              <a:gd name="connsiteX14" fmla="*/ 42412 w 1360843"/>
              <a:gd name="connsiteY14" fmla="*/ 357614 h 662520"/>
              <a:gd name="connsiteX15" fmla="*/ 19463 w 1360843"/>
              <a:gd name="connsiteY15" fmla="*/ 320990 h 662520"/>
              <a:gd name="connsiteX16" fmla="*/ 5019 w 1360843"/>
              <a:gd name="connsiteY16" fmla="*/ 276814 h 662520"/>
              <a:gd name="connsiteX17" fmla="*/ 0 w 1360843"/>
              <a:gd name="connsiteY17" fmla="*/ 225297 h 662520"/>
              <a:gd name="connsiteX18" fmla="*/ 4447 w 1360843"/>
              <a:gd name="connsiteY18" fmla="*/ 178425 h 662520"/>
              <a:gd name="connsiteX19" fmla="*/ 17453 w 1360843"/>
              <a:gd name="connsiteY19" fmla="*/ 135445 h 662520"/>
              <a:gd name="connsiteX20" fmla="*/ 38511 w 1360843"/>
              <a:gd name="connsiteY20" fmla="*/ 97085 h 662520"/>
              <a:gd name="connsiteX21" fmla="*/ 67116 w 1360843"/>
              <a:gd name="connsiteY21" fmla="*/ 64071 h 662520"/>
              <a:gd name="connsiteX22" fmla="*/ 102760 w 1360843"/>
              <a:gd name="connsiteY22" fmla="*/ 37129 h 662520"/>
              <a:gd name="connsiteX23" fmla="*/ 144939 w 1360843"/>
              <a:gd name="connsiteY23" fmla="*/ 16986 h 662520"/>
              <a:gd name="connsiteX24" fmla="*/ 193146 w 1360843"/>
              <a:gd name="connsiteY24" fmla="*/ 4367 h 662520"/>
              <a:gd name="connsiteX25" fmla="*/ 246875 w 1360843"/>
              <a:gd name="connsiteY25" fmla="*/ 0 h 662520"/>
              <a:gd name="connsiteX26" fmla="*/ 290625 w 1360843"/>
              <a:gd name="connsiteY26" fmla="*/ 2882 h 662520"/>
              <a:gd name="connsiteX27" fmla="*/ 331492 w 1360843"/>
              <a:gd name="connsiteY27" fmla="*/ 11678 h 662520"/>
              <a:gd name="connsiteX28" fmla="*/ 369070 w 1360843"/>
              <a:gd name="connsiteY28" fmla="*/ 26614 h 662520"/>
              <a:gd name="connsiteX29" fmla="*/ 402953 w 1360843"/>
              <a:gd name="connsiteY29" fmla="*/ 47914 h 662520"/>
              <a:gd name="connsiteX30" fmla="*/ 432736 w 1360843"/>
              <a:gd name="connsiteY30" fmla="*/ 75804 h 662520"/>
              <a:gd name="connsiteX31" fmla="*/ 458013 w 1360843"/>
              <a:gd name="connsiteY31" fmla="*/ 110509 h 662520"/>
              <a:gd name="connsiteX32" fmla="*/ 478379 w 1360843"/>
              <a:gd name="connsiteY32" fmla="*/ 152255 h 662520"/>
              <a:gd name="connsiteX33" fmla="*/ 493429 w 1360843"/>
              <a:gd name="connsiteY33" fmla="*/ 201265 h 662520"/>
              <a:gd name="connsiteX34" fmla="*/ 502756 w 1360843"/>
              <a:gd name="connsiteY34" fmla="*/ 257766 h 662520"/>
              <a:gd name="connsiteX35" fmla="*/ 505955 w 1360843"/>
              <a:gd name="connsiteY35" fmla="*/ 321983 h 662520"/>
              <a:gd name="connsiteX36" fmla="*/ 503406 w 1360843"/>
              <a:gd name="connsiteY36" fmla="*/ 376707 h 662520"/>
              <a:gd name="connsiteX37" fmla="*/ 495858 w 1360843"/>
              <a:gd name="connsiteY37" fmla="*/ 427041 h 662520"/>
              <a:gd name="connsiteX38" fmla="*/ 483456 w 1360843"/>
              <a:gd name="connsiteY38" fmla="*/ 472909 h 662520"/>
              <a:gd name="connsiteX39" fmla="*/ 466346 w 1360843"/>
              <a:gd name="connsiteY39" fmla="*/ 514232 h 662520"/>
              <a:gd name="connsiteX40" fmla="*/ 444674 w 1360843"/>
              <a:gd name="connsiteY40" fmla="*/ 550937 h 662520"/>
              <a:gd name="connsiteX41" fmla="*/ 418587 w 1360843"/>
              <a:gd name="connsiteY41" fmla="*/ 582945 h 662520"/>
              <a:gd name="connsiteX42" fmla="*/ 388229 w 1360843"/>
              <a:gd name="connsiteY42" fmla="*/ 610181 h 662520"/>
              <a:gd name="connsiteX43" fmla="*/ 353748 w 1360843"/>
              <a:gd name="connsiteY43" fmla="*/ 632569 h 662520"/>
              <a:gd name="connsiteX44" fmla="*/ 315289 w 1360843"/>
              <a:gd name="connsiteY44" fmla="*/ 650033 h 662520"/>
              <a:gd name="connsiteX45" fmla="*/ 272999 w 1360843"/>
              <a:gd name="connsiteY45" fmla="*/ 662495 h 662520"/>
              <a:gd name="connsiteX46" fmla="*/ 592162 w 1360843"/>
              <a:gd name="connsiteY46" fmla="*/ 662520 h 662520"/>
              <a:gd name="connsiteX47" fmla="*/ 571167 w 1360843"/>
              <a:gd name="connsiteY47" fmla="*/ 658030 h 662520"/>
              <a:gd name="connsiteX48" fmla="*/ 551373 w 1360843"/>
              <a:gd name="connsiteY48" fmla="*/ 652783 h 662520"/>
              <a:gd name="connsiteX49" fmla="*/ 532537 w 1360843"/>
              <a:gd name="connsiteY49" fmla="*/ 646826 h 662520"/>
              <a:gd name="connsiteX50" fmla="*/ 514413 w 1360843"/>
              <a:gd name="connsiteY50" fmla="*/ 640206 h 662520"/>
              <a:gd name="connsiteX51" fmla="*/ 514413 w 1360843"/>
              <a:gd name="connsiteY51" fmla="*/ 516293 h 662520"/>
              <a:gd name="connsiteX52" fmla="*/ 596087 w 1360843"/>
              <a:gd name="connsiteY52" fmla="*/ 516293 h 662520"/>
              <a:gd name="connsiteX53" fmla="*/ 612203 w 1360843"/>
              <a:gd name="connsiteY53" fmla="*/ 539439 h 662520"/>
              <a:gd name="connsiteX54" fmla="*/ 635627 w 1360843"/>
              <a:gd name="connsiteY54" fmla="*/ 559242 h 662520"/>
              <a:gd name="connsiteX55" fmla="*/ 666972 w 1360843"/>
              <a:gd name="connsiteY55" fmla="*/ 573062 h 662520"/>
              <a:gd name="connsiteX56" fmla="*/ 706856 w 1360843"/>
              <a:gd name="connsiteY56" fmla="*/ 578256 h 662520"/>
              <a:gd name="connsiteX57" fmla="*/ 749359 w 1360843"/>
              <a:gd name="connsiteY57" fmla="*/ 571758 h 662520"/>
              <a:gd name="connsiteX58" fmla="*/ 784298 w 1360843"/>
              <a:gd name="connsiteY58" fmla="*/ 552322 h 662520"/>
              <a:gd name="connsiteX59" fmla="*/ 807972 w 1360843"/>
              <a:gd name="connsiteY59" fmla="*/ 520038 h 662520"/>
              <a:gd name="connsiteX60" fmla="*/ 816686 w 1360843"/>
              <a:gd name="connsiteY60" fmla="*/ 474992 h 662520"/>
              <a:gd name="connsiteX61" fmla="*/ 809424 w 1360843"/>
              <a:gd name="connsiteY61" fmla="*/ 430240 h 662520"/>
              <a:gd name="connsiteX62" fmla="*/ 787466 w 1360843"/>
              <a:gd name="connsiteY62" fmla="*/ 398602 h 662520"/>
              <a:gd name="connsiteX63" fmla="*/ 750549 w 1360843"/>
              <a:gd name="connsiteY63" fmla="*/ 379812 h 662520"/>
              <a:gd name="connsiteX64" fmla="*/ 698411 w 1360843"/>
              <a:gd name="connsiteY64" fmla="*/ 373608 h 662520"/>
              <a:gd name="connsiteX65" fmla="*/ 649592 w 1360843"/>
              <a:gd name="connsiteY65" fmla="*/ 373608 h 662520"/>
              <a:gd name="connsiteX66" fmla="*/ 649592 w 1360843"/>
              <a:gd name="connsiteY66" fmla="*/ 286308 h 662520"/>
              <a:gd name="connsiteX67" fmla="*/ 690892 w 1360843"/>
              <a:gd name="connsiteY67" fmla="*/ 286308 h 662520"/>
              <a:gd name="connsiteX68" fmla="*/ 744563 w 1360843"/>
              <a:gd name="connsiteY68" fmla="*/ 280133 h 662520"/>
              <a:gd name="connsiteX69" fmla="*/ 783007 w 1360843"/>
              <a:gd name="connsiteY69" fmla="*/ 261550 h 662520"/>
              <a:gd name="connsiteX70" fmla="*/ 806137 w 1360843"/>
              <a:gd name="connsiteY70" fmla="*/ 230469 h 662520"/>
              <a:gd name="connsiteX71" fmla="*/ 813866 w 1360843"/>
              <a:gd name="connsiteY71" fmla="*/ 186804 h 662520"/>
              <a:gd name="connsiteX72" fmla="*/ 808513 w 1360843"/>
              <a:gd name="connsiteY72" fmla="*/ 149115 h 662520"/>
              <a:gd name="connsiteX73" fmla="*/ 792160 w 1360843"/>
              <a:gd name="connsiteY73" fmla="*/ 121104 h 662520"/>
              <a:gd name="connsiteX74" fmla="*/ 764365 w 1360843"/>
              <a:gd name="connsiteY74" fmla="*/ 103651 h 662520"/>
              <a:gd name="connsiteX75" fmla="*/ 724687 w 1360843"/>
              <a:gd name="connsiteY75" fmla="*/ 97637 h 662520"/>
              <a:gd name="connsiteX76" fmla="*/ 687243 w 1360843"/>
              <a:gd name="connsiteY76" fmla="*/ 102374 h 662520"/>
              <a:gd name="connsiteX77" fmla="*/ 657456 w 1360843"/>
              <a:gd name="connsiteY77" fmla="*/ 115117 h 662520"/>
              <a:gd name="connsiteX78" fmla="*/ 634533 w 1360843"/>
              <a:gd name="connsiteY78" fmla="*/ 133668 h 662520"/>
              <a:gd name="connsiteX79" fmla="*/ 617677 w 1360843"/>
              <a:gd name="connsiteY79" fmla="*/ 155828 h 662520"/>
              <a:gd name="connsiteX80" fmla="*/ 539775 w 1360843"/>
              <a:gd name="connsiteY80" fmla="*/ 155828 h 662520"/>
              <a:gd name="connsiteX81" fmla="*/ 539775 w 1360843"/>
              <a:gd name="connsiteY81" fmla="*/ 33807 h 662520"/>
              <a:gd name="connsiteX82" fmla="*/ 584006 w 1360843"/>
              <a:gd name="connsiteY82" fmla="*/ 19813 h 662520"/>
              <a:gd name="connsiteX83" fmla="*/ 631056 w 1360843"/>
              <a:gd name="connsiteY83" fmla="*/ 9159 h 662520"/>
              <a:gd name="connsiteX84" fmla="*/ 681278 w 1360843"/>
              <a:gd name="connsiteY84" fmla="*/ 2378 h 662520"/>
              <a:gd name="connsiteX85" fmla="*/ 735025 w 1360843"/>
              <a:gd name="connsiteY85" fmla="*/ 0 h 662520"/>
              <a:gd name="connsiteX86" fmla="*/ 790395 w 1360843"/>
              <a:gd name="connsiteY86" fmla="*/ 3158 h 662520"/>
              <a:gd name="connsiteX87" fmla="*/ 838689 w 1360843"/>
              <a:gd name="connsiteY87" fmla="*/ 12853 h 662520"/>
              <a:gd name="connsiteX88" fmla="*/ 879380 w 1360843"/>
              <a:gd name="connsiteY88" fmla="*/ 29412 h 662520"/>
              <a:gd name="connsiteX89" fmla="*/ 911943 w 1360843"/>
              <a:gd name="connsiteY89" fmla="*/ 53163 h 662520"/>
              <a:gd name="connsiteX90" fmla="*/ 935853 w 1360843"/>
              <a:gd name="connsiteY90" fmla="*/ 84435 h 662520"/>
              <a:gd name="connsiteX91" fmla="*/ 950584 w 1360843"/>
              <a:gd name="connsiteY91" fmla="*/ 123555 h 662520"/>
              <a:gd name="connsiteX92" fmla="*/ 955611 w 1360843"/>
              <a:gd name="connsiteY92" fmla="*/ 170853 h 662520"/>
              <a:gd name="connsiteX93" fmla="*/ 949453 w 1360843"/>
              <a:gd name="connsiteY93" fmla="*/ 219568 h 662520"/>
              <a:gd name="connsiteX94" fmla="*/ 931581 w 1360843"/>
              <a:gd name="connsiteY94" fmla="*/ 258234 h 662520"/>
              <a:gd name="connsiteX95" fmla="*/ 902895 w 1360843"/>
              <a:gd name="connsiteY95" fmla="*/ 287843 h 662520"/>
              <a:gd name="connsiteX96" fmla="*/ 864296 w 1360843"/>
              <a:gd name="connsiteY96" fmla="*/ 309388 h 662520"/>
              <a:gd name="connsiteX97" fmla="*/ 816686 w 1360843"/>
              <a:gd name="connsiteY97" fmla="*/ 323862 h 662520"/>
              <a:gd name="connsiteX98" fmla="*/ 816686 w 1360843"/>
              <a:gd name="connsiteY98" fmla="*/ 327609 h 662520"/>
              <a:gd name="connsiteX99" fmla="*/ 870681 w 1360843"/>
              <a:gd name="connsiteY99" fmla="*/ 340566 h 662520"/>
              <a:gd name="connsiteX100" fmla="*/ 912283 w 1360843"/>
              <a:gd name="connsiteY100" fmla="*/ 362534 h 662520"/>
              <a:gd name="connsiteX101" fmla="*/ 941719 w 1360843"/>
              <a:gd name="connsiteY101" fmla="*/ 393513 h 662520"/>
              <a:gd name="connsiteX102" fmla="*/ 959215 w 1360843"/>
              <a:gd name="connsiteY102" fmla="*/ 433502 h 662520"/>
              <a:gd name="connsiteX103" fmla="*/ 964996 w 1360843"/>
              <a:gd name="connsiteY103" fmla="*/ 482498 h 662520"/>
              <a:gd name="connsiteX104" fmla="*/ 959936 w 1360843"/>
              <a:gd name="connsiteY104" fmla="*/ 527743 h 662520"/>
              <a:gd name="connsiteX105" fmla="*/ 944659 w 1360843"/>
              <a:gd name="connsiteY105" fmla="*/ 567021 h 662520"/>
              <a:gd name="connsiteX106" fmla="*/ 920122 w 1360843"/>
              <a:gd name="connsiteY106" fmla="*/ 600232 h 662520"/>
              <a:gd name="connsiteX107" fmla="*/ 887285 w 1360843"/>
              <a:gd name="connsiteY107" fmla="*/ 627278 h 662520"/>
              <a:gd name="connsiteX108" fmla="*/ 847106 w 1360843"/>
              <a:gd name="connsiteY108" fmla="*/ 648061 h 662520"/>
              <a:gd name="connsiteX109" fmla="*/ 800544 w 1360843"/>
              <a:gd name="connsiteY109" fmla="*/ 662482 h 662520"/>
              <a:gd name="connsiteX110" fmla="*/ 1360843 w 1360843"/>
              <a:gd name="connsiteY110" fmla="*/ 662495 h 662520"/>
              <a:gd name="connsiteX0" fmla="*/ 193357 w 1360843"/>
              <a:gd name="connsiteY0" fmla="*/ 578256 h 662520"/>
              <a:gd name="connsiteX1" fmla="*/ 233829 w 1360843"/>
              <a:gd name="connsiteY1" fmla="*/ 573672 h 662520"/>
              <a:gd name="connsiteX2" fmla="*/ 297105 w 1360843"/>
              <a:gd name="connsiteY2" fmla="*/ 537246 h 662520"/>
              <a:gd name="connsiteX3" fmla="*/ 320040 w 1360843"/>
              <a:gd name="connsiteY3" fmla="*/ 505568 h 662520"/>
              <a:gd name="connsiteX4" fmla="*/ 337261 w 1360843"/>
              <a:gd name="connsiteY4" fmla="*/ 465022 h 662520"/>
              <a:gd name="connsiteX5" fmla="*/ 348834 w 1360843"/>
              <a:gd name="connsiteY5" fmla="*/ 415691 h 662520"/>
              <a:gd name="connsiteX6" fmla="*/ 325357 w 1360843"/>
              <a:gd name="connsiteY6" fmla="*/ 385098 h 662520"/>
              <a:gd name="connsiteX7" fmla="*/ 289466 w 1360843"/>
              <a:gd name="connsiteY7" fmla="*/ 406117 h 662520"/>
              <a:gd name="connsiteX8" fmla="*/ 247767 w 1360843"/>
              <a:gd name="connsiteY8" fmla="*/ 419568 h 662520"/>
              <a:gd name="connsiteX9" fmla="*/ 200875 w 1360843"/>
              <a:gd name="connsiteY9" fmla="*/ 424306 h 662520"/>
              <a:gd name="connsiteX10" fmla="*/ 153099 w 1360843"/>
              <a:gd name="connsiteY10" fmla="*/ 420031 h 662520"/>
              <a:gd name="connsiteX11" fmla="*/ 110150 w 1360843"/>
              <a:gd name="connsiteY11" fmla="*/ 407348 h 662520"/>
              <a:gd name="connsiteX12" fmla="*/ 72948 w 1360843"/>
              <a:gd name="connsiteY12" fmla="*/ 386472 h 662520"/>
              <a:gd name="connsiteX13" fmla="*/ 42412 w 1360843"/>
              <a:gd name="connsiteY13" fmla="*/ 357614 h 662520"/>
              <a:gd name="connsiteX14" fmla="*/ 19463 w 1360843"/>
              <a:gd name="connsiteY14" fmla="*/ 320990 h 662520"/>
              <a:gd name="connsiteX15" fmla="*/ 5019 w 1360843"/>
              <a:gd name="connsiteY15" fmla="*/ 276814 h 662520"/>
              <a:gd name="connsiteX16" fmla="*/ 0 w 1360843"/>
              <a:gd name="connsiteY16" fmla="*/ 225297 h 662520"/>
              <a:gd name="connsiteX17" fmla="*/ 4447 w 1360843"/>
              <a:gd name="connsiteY17" fmla="*/ 178425 h 662520"/>
              <a:gd name="connsiteX18" fmla="*/ 17453 w 1360843"/>
              <a:gd name="connsiteY18" fmla="*/ 135445 h 662520"/>
              <a:gd name="connsiteX19" fmla="*/ 38511 w 1360843"/>
              <a:gd name="connsiteY19" fmla="*/ 97085 h 662520"/>
              <a:gd name="connsiteX20" fmla="*/ 67116 w 1360843"/>
              <a:gd name="connsiteY20" fmla="*/ 64071 h 662520"/>
              <a:gd name="connsiteX21" fmla="*/ 102760 w 1360843"/>
              <a:gd name="connsiteY21" fmla="*/ 37129 h 662520"/>
              <a:gd name="connsiteX22" fmla="*/ 144939 w 1360843"/>
              <a:gd name="connsiteY22" fmla="*/ 16986 h 662520"/>
              <a:gd name="connsiteX23" fmla="*/ 193146 w 1360843"/>
              <a:gd name="connsiteY23" fmla="*/ 4367 h 662520"/>
              <a:gd name="connsiteX24" fmla="*/ 246875 w 1360843"/>
              <a:gd name="connsiteY24" fmla="*/ 0 h 662520"/>
              <a:gd name="connsiteX25" fmla="*/ 290625 w 1360843"/>
              <a:gd name="connsiteY25" fmla="*/ 2882 h 662520"/>
              <a:gd name="connsiteX26" fmla="*/ 331492 w 1360843"/>
              <a:gd name="connsiteY26" fmla="*/ 11678 h 662520"/>
              <a:gd name="connsiteX27" fmla="*/ 369070 w 1360843"/>
              <a:gd name="connsiteY27" fmla="*/ 26614 h 662520"/>
              <a:gd name="connsiteX28" fmla="*/ 402953 w 1360843"/>
              <a:gd name="connsiteY28" fmla="*/ 47914 h 662520"/>
              <a:gd name="connsiteX29" fmla="*/ 432736 w 1360843"/>
              <a:gd name="connsiteY29" fmla="*/ 75804 h 662520"/>
              <a:gd name="connsiteX30" fmla="*/ 458013 w 1360843"/>
              <a:gd name="connsiteY30" fmla="*/ 110509 h 662520"/>
              <a:gd name="connsiteX31" fmla="*/ 478379 w 1360843"/>
              <a:gd name="connsiteY31" fmla="*/ 152255 h 662520"/>
              <a:gd name="connsiteX32" fmla="*/ 493429 w 1360843"/>
              <a:gd name="connsiteY32" fmla="*/ 201265 h 662520"/>
              <a:gd name="connsiteX33" fmla="*/ 502756 w 1360843"/>
              <a:gd name="connsiteY33" fmla="*/ 257766 h 662520"/>
              <a:gd name="connsiteX34" fmla="*/ 505955 w 1360843"/>
              <a:gd name="connsiteY34" fmla="*/ 321983 h 662520"/>
              <a:gd name="connsiteX35" fmla="*/ 503406 w 1360843"/>
              <a:gd name="connsiteY35" fmla="*/ 376707 h 662520"/>
              <a:gd name="connsiteX36" fmla="*/ 495858 w 1360843"/>
              <a:gd name="connsiteY36" fmla="*/ 427041 h 662520"/>
              <a:gd name="connsiteX37" fmla="*/ 483456 w 1360843"/>
              <a:gd name="connsiteY37" fmla="*/ 472909 h 662520"/>
              <a:gd name="connsiteX38" fmla="*/ 466346 w 1360843"/>
              <a:gd name="connsiteY38" fmla="*/ 514232 h 662520"/>
              <a:gd name="connsiteX39" fmla="*/ 444674 w 1360843"/>
              <a:gd name="connsiteY39" fmla="*/ 550937 h 662520"/>
              <a:gd name="connsiteX40" fmla="*/ 418587 w 1360843"/>
              <a:gd name="connsiteY40" fmla="*/ 582945 h 662520"/>
              <a:gd name="connsiteX41" fmla="*/ 388229 w 1360843"/>
              <a:gd name="connsiteY41" fmla="*/ 610181 h 662520"/>
              <a:gd name="connsiteX42" fmla="*/ 353748 w 1360843"/>
              <a:gd name="connsiteY42" fmla="*/ 632569 h 662520"/>
              <a:gd name="connsiteX43" fmla="*/ 315289 w 1360843"/>
              <a:gd name="connsiteY43" fmla="*/ 650033 h 662520"/>
              <a:gd name="connsiteX44" fmla="*/ 272999 w 1360843"/>
              <a:gd name="connsiteY44" fmla="*/ 662495 h 662520"/>
              <a:gd name="connsiteX45" fmla="*/ 592162 w 1360843"/>
              <a:gd name="connsiteY45" fmla="*/ 662520 h 662520"/>
              <a:gd name="connsiteX46" fmla="*/ 571167 w 1360843"/>
              <a:gd name="connsiteY46" fmla="*/ 658030 h 662520"/>
              <a:gd name="connsiteX47" fmla="*/ 551373 w 1360843"/>
              <a:gd name="connsiteY47" fmla="*/ 652783 h 662520"/>
              <a:gd name="connsiteX48" fmla="*/ 532537 w 1360843"/>
              <a:gd name="connsiteY48" fmla="*/ 646826 h 662520"/>
              <a:gd name="connsiteX49" fmla="*/ 514413 w 1360843"/>
              <a:gd name="connsiteY49" fmla="*/ 640206 h 662520"/>
              <a:gd name="connsiteX50" fmla="*/ 514413 w 1360843"/>
              <a:gd name="connsiteY50" fmla="*/ 516293 h 662520"/>
              <a:gd name="connsiteX51" fmla="*/ 596087 w 1360843"/>
              <a:gd name="connsiteY51" fmla="*/ 516293 h 662520"/>
              <a:gd name="connsiteX52" fmla="*/ 612203 w 1360843"/>
              <a:gd name="connsiteY52" fmla="*/ 539439 h 662520"/>
              <a:gd name="connsiteX53" fmla="*/ 635627 w 1360843"/>
              <a:gd name="connsiteY53" fmla="*/ 559242 h 662520"/>
              <a:gd name="connsiteX54" fmla="*/ 666972 w 1360843"/>
              <a:gd name="connsiteY54" fmla="*/ 573062 h 662520"/>
              <a:gd name="connsiteX55" fmla="*/ 706856 w 1360843"/>
              <a:gd name="connsiteY55" fmla="*/ 578256 h 662520"/>
              <a:gd name="connsiteX56" fmla="*/ 749359 w 1360843"/>
              <a:gd name="connsiteY56" fmla="*/ 571758 h 662520"/>
              <a:gd name="connsiteX57" fmla="*/ 784298 w 1360843"/>
              <a:gd name="connsiteY57" fmla="*/ 552322 h 662520"/>
              <a:gd name="connsiteX58" fmla="*/ 807972 w 1360843"/>
              <a:gd name="connsiteY58" fmla="*/ 520038 h 662520"/>
              <a:gd name="connsiteX59" fmla="*/ 816686 w 1360843"/>
              <a:gd name="connsiteY59" fmla="*/ 474992 h 662520"/>
              <a:gd name="connsiteX60" fmla="*/ 809424 w 1360843"/>
              <a:gd name="connsiteY60" fmla="*/ 430240 h 662520"/>
              <a:gd name="connsiteX61" fmla="*/ 787466 w 1360843"/>
              <a:gd name="connsiteY61" fmla="*/ 398602 h 662520"/>
              <a:gd name="connsiteX62" fmla="*/ 750549 w 1360843"/>
              <a:gd name="connsiteY62" fmla="*/ 379812 h 662520"/>
              <a:gd name="connsiteX63" fmla="*/ 698411 w 1360843"/>
              <a:gd name="connsiteY63" fmla="*/ 373608 h 662520"/>
              <a:gd name="connsiteX64" fmla="*/ 649592 w 1360843"/>
              <a:gd name="connsiteY64" fmla="*/ 373608 h 662520"/>
              <a:gd name="connsiteX65" fmla="*/ 649592 w 1360843"/>
              <a:gd name="connsiteY65" fmla="*/ 286308 h 662520"/>
              <a:gd name="connsiteX66" fmla="*/ 690892 w 1360843"/>
              <a:gd name="connsiteY66" fmla="*/ 286308 h 662520"/>
              <a:gd name="connsiteX67" fmla="*/ 744563 w 1360843"/>
              <a:gd name="connsiteY67" fmla="*/ 280133 h 662520"/>
              <a:gd name="connsiteX68" fmla="*/ 783007 w 1360843"/>
              <a:gd name="connsiteY68" fmla="*/ 261550 h 662520"/>
              <a:gd name="connsiteX69" fmla="*/ 806137 w 1360843"/>
              <a:gd name="connsiteY69" fmla="*/ 230469 h 662520"/>
              <a:gd name="connsiteX70" fmla="*/ 813866 w 1360843"/>
              <a:gd name="connsiteY70" fmla="*/ 186804 h 662520"/>
              <a:gd name="connsiteX71" fmla="*/ 808513 w 1360843"/>
              <a:gd name="connsiteY71" fmla="*/ 149115 h 662520"/>
              <a:gd name="connsiteX72" fmla="*/ 792160 w 1360843"/>
              <a:gd name="connsiteY72" fmla="*/ 121104 h 662520"/>
              <a:gd name="connsiteX73" fmla="*/ 764365 w 1360843"/>
              <a:gd name="connsiteY73" fmla="*/ 103651 h 662520"/>
              <a:gd name="connsiteX74" fmla="*/ 724687 w 1360843"/>
              <a:gd name="connsiteY74" fmla="*/ 97637 h 662520"/>
              <a:gd name="connsiteX75" fmla="*/ 687243 w 1360843"/>
              <a:gd name="connsiteY75" fmla="*/ 102374 h 662520"/>
              <a:gd name="connsiteX76" fmla="*/ 657456 w 1360843"/>
              <a:gd name="connsiteY76" fmla="*/ 115117 h 662520"/>
              <a:gd name="connsiteX77" fmla="*/ 634533 w 1360843"/>
              <a:gd name="connsiteY77" fmla="*/ 133668 h 662520"/>
              <a:gd name="connsiteX78" fmla="*/ 617677 w 1360843"/>
              <a:gd name="connsiteY78" fmla="*/ 155828 h 662520"/>
              <a:gd name="connsiteX79" fmla="*/ 539775 w 1360843"/>
              <a:gd name="connsiteY79" fmla="*/ 155828 h 662520"/>
              <a:gd name="connsiteX80" fmla="*/ 539775 w 1360843"/>
              <a:gd name="connsiteY80" fmla="*/ 33807 h 662520"/>
              <a:gd name="connsiteX81" fmla="*/ 584006 w 1360843"/>
              <a:gd name="connsiteY81" fmla="*/ 19813 h 662520"/>
              <a:gd name="connsiteX82" fmla="*/ 631056 w 1360843"/>
              <a:gd name="connsiteY82" fmla="*/ 9159 h 662520"/>
              <a:gd name="connsiteX83" fmla="*/ 681278 w 1360843"/>
              <a:gd name="connsiteY83" fmla="*/ 2378 h 662520"/>
              <a:gd name="connsiteX84" fmla="*/ 735025 w 1360843"/>
              <a:gd name="connsiteY84" fmla="*/ 0 h 662520"/>
              <a:gd name="connsiteX85" fmla="*/ 790395 w 1360843"/>
              <a:gd name="connsiteY85" fmla="*/ 3158 h 662520"/>
              <a:gd name="connsiteX86" fmla="*/ 838689 w 1360843"/>
              <a:gd name="connsiteY86" fmla="*/ 12853 h 662520"/>
              <a:gd name="connsiteX87" fmla="*/ 879380 w 1360843"/>
              <a:gd name="connsiteY87" fmla="*/ 29412 h 662520"/>
              <a:gd name="connsiteX88" fmla="*/ 911943 w 1360843"/>
              <a:gd name="connsiteY88" fmla="*/ 53163 h 662520"/>
              <a:gd name="connsiteX89" fmla="*/ 935853 w 1360843"/>
              <a:gd name="connsiteY89" fmla="*/ 84435 h 662520"/>
              <a:gd name="connsiteX90" fmla="*/ 950584 w 1360843"/>
              <a:gd name="connsiteY90" fmla="*/ 123555 h 662520"/>
              <a:gd name="connsiteX91" fmla="*/ 955611 w 1360843"/>
              <a:gd name="connsiteY91" fmla="*/ 170853 h 662520"/>
              <a:gd name="connsiteX92" fmla="*/ 949453 w 1360843"/>
              <a:gd name="connsiteY92" fmla="*/ 219568 h 662520"/>
              <a:gd name="connsiteX93" fmla="*/ 931581 w 1360843"/>
              <a:gd name="connsiteY93" fmla="*/ 258234 h 662520"/>
              <a:gd name="connsiteX94" fmla="*/ 902895 w 1360843"/>
              <a:gd name="connsiteY94" fmla="*/ 287843 h 662520"/>
              <a:gd name="connsiteX95" fmla="*/ 864296 w 1360843"/>
              <a:gd name="connsiteY95" fmla="*/ 309388 h 662520"/>
              <a:gd name="connsiteX96" fmla="*/ 816686 w 1360843"/>
              <a:gd name="connsiteY96" fmla="*/ 323862 h 662520"/>
              <a:gd name="connsiteX97" fmla="*/ 816686 w 1360843"/>
              <a:gd name="connsiteY97" fmla="*/ 327609 h 662520"/>
              <a:gd name="connsiteX98" fmla="*/ 870681 w 1360843"/>
              <a:gd name="connsiteY98" fmla="*/ 340566 h 662520"/>
              <a:gd name="connsiteX99" fmla="*/ 912283 w 1360843"/>
              <a:gd name="connsiteY99" fmla="*/ 362534 h 662520"/>
              <a:gd name="connsiteX100" fmla="*/ 941719 w 1360843"/>
              <a:gd name="connsiteY100" fmla="*/ 393513 h 662520"/>
              <a:gd name="connsiteX101" fmla="*/ 959215 w 1360843"/>
              <a:gd name="connsiteY101" fmla="*/ 433502 h 662520"/>
              <a:gd name="connsiteX102" fmla="*/ 964996 w 1360843"/>
              <a:gd name="connsiteY102" fmla="*/ 482498 h 662520"/>
              <a:gd name="connsiteX103" fmla="*/ 959936 w 1360843"/>
              <a:gd name="connsiteY103" fmla="*/ 527743 h 662520"/>
              <a:gd name="connsiteX104" fmla="*/ 944659 w 1360843"/>
              <a:gd name="connsiteY104" fmla="*/ 567021 h 662520"/>
              <a:gd name="connsiteX105" fmla="*/ 920122 w 1360843"/>
              <a:gd name="connsiteY105" fmla="*/ 600232 h 662520"/>
              <a:gd name="connsiteX106" fmla="*/ 887285 w 1360843"/>
              <a:gd name="connsiteY106" fmla="*/ 627278 h 662520"/>
              <a:gd name="connsiteX107" fmla="*/ 847106 w 1360843"/>
              <a:gd name="connsiteY107" fmla="*/ 648061 h 662520"/>
              <a:gd name="connsiteX108" fmla="*/ 800544 w 1360843"/>
              <a:gd name="connsiteY108" fmla="*/ 662482 h 662520"/>
              <a:gd name="connsiteX109" fmla="*/ 1360843 w 1360843"/>
              <a:gd name="connsiteY109" fmla="*/ 662495 h 662520"/>
              <a:gd name="connsiteX0" fmla="*/ 193357 w 1360843"/>
              <a:gd name="connsiteY0" fmla="*/ 578256 h 662520"/>
              <a:gd name="connsiteX1" fmla="*/ 233829 w 1360843"/>
              <a:gd name="connsiteY1" fmla="*/ 573672 h 662520"/>
              <a:gd name="connsiteX2" fmla="*/ 297105 w 1360843"/>
              <a:gd name="connsiteY2" fmla="*/ 537246 h 662520"/>
              <a:gd name="connsiteX3" fmla="*/ 320040 w 1360843"/>
              <a:gd name="connsiteY3" fmla="*/ 505568 h 662520"/>
              <a:gd name="connsiteX4" fmla="*/ 348834 w 1360843"/>
              <a:gd name="connsiteY4" fmla="*/ 415691 h 662520"/>
              <a:gd name="connsiteX5" fmla="*/ 325357 w 1360843"/>
              <a:gd name="connsiteY5" fmla="*/ 385098 h 662520"/>
              <a:gd name="connsiteX6" fmla="*/ 289466 w 1360843"/>
              <a:gd name="connsiteY6" fmla="*/ 406117 h 662520"/>
              <a:gd name="connsiteX7" fmla="*/ 247767 w 1360843"/>
              <a:gd name="connsiteY7" fmla="*/ 419568 h 662520"/>
              <a:gd name="connsiteX8" fmla="*/ 200875 w 1360843"/>
              <a:gd name="connsiteY8" fmla="*/ 424306 h 662520"/>
              <a:gd name="connsiteX9" fmla="*/ 153099 w 1360843"/>
              <a:gd name="connsiteY9" fmla="*/ 420031 h 662520"/>
              <a:gd name="connsiteX10" fmla="*/ 110150 w 1360843"/>
              <a:gd name="connsiteY10" fmla="*/ 407348 h 662520"/>
              <a:gd name="connsiteX11" fmla="*/ 72948 w 1360843"/>
              <a:gd name="connsiteY11" fmla="*/ 386472 h 662520"/>
              <a:gd name="connsiteX12" fmla="*/ 42412 w 1360843"/>
              <a:gd name="connsiteY12" fmla="*/ 357614 h 662520"/>
              <a:gd name="connsiteX13" fmla="*/ 19463 w 1360843"/>
              <a:gd name="connsiteY13" fmla="*/ 320990 h 662520"/>
              <a:gd name="connsiteX14" fmla="*/ 5019 w 1360843"/>
              <a:gd name="connsiteY14" fmla="*/ 276814 h 662520"/>
              <a:gd name="connsiteX15" fmla="*/ 0 w 1360843"/>
              <a:gd name="connsiteY15" fmla="*/ 225297 h 662520"/>
              <a:gd name="connsiteX16" fmla="*/ 4447 w 1360843"/>
              <a:gd name="connsiteY16" fmla="*/ 178425 h 662520"/>
              <a:gd name="connsiteX17" fmla="*/ 17453 w 1360843"/>
              <a:gd name="connsiteY17" fmla="*/ 135445 h 662520"/>
              <a:gd name="connsiteX18" fmla="*/ 38511 w 1360843"/>
              <a:gd name="connsiteY18" fmla="*/ 97085 h 662520"/>
              <a:gd name="connsiteX19" fmla="*/ 67116 w 1360843"/>
              <a:gd name="connsiteY19" fmla="*/ 64071 h 662520"/>
              <a:gd name="connsiteX20" fmla="*/ 102760 w 1360843"/>
              <a:gd name="connsiteY20" fmla="*/ 37129 h 662520"/>
              <a:gd name="connsiteX21" fmla="*/ 144939 w 1360843"/>
              <a:gd name="connsiteY21" fmla="*/ 16986 h 662520"/>
              <a:gd name="connsiteX22" fmla="*/ 193146 w 1360843"/>
              <a:gd name="connsiteY22" fmla="*/ 4367 h 662520"/>
              <a:gd name="connsiteX23" fmla="*/ 246875 w 1360843"/>
              <a:gd name="connsiteY23" fmla="*/ 0 h 662520"/>
              <a:gd name="connsiteX24" fmla="*/ 290625 w 1360843"/>
              <a:gd name="connsiteY24" fmla="*/ 2882 h 662520"/>
              <a:gd name="connsiteX25" fmla="*/ 331492 w 1360843"/>
              <a:gd name="connsiteY25" fmla="*/ 11678 h 662520"/>
              <a:gd name="connsiteX26" fmla="*/ 369070 w 1360843"/>
              <a:gd name="connsiteY26" fmla="*/ 26614 h 662520"/>
              <a:gd name="connsiteX27" fmla="*/ 402953 w 1360843"/>
              <a:gd name="connsiteY27" fmla="*/ 47914 h 662520"/>
              <a:gd name="connsiteX28" fmla="*/ 432736 w 1360843"/>
              <a:gd name="connsiteY28" fmla="*/ 75804 h 662520"/>
              <a:gd name="connsiteX29" fmla="*/ 458013 w 1360843"/>
              <a:gd name="connsiteY29" fmla="*/ 110509 h 662520"/>
              <a:gd name="connsiteX30" fmla="*/ 478379 w 1360843"/>
              <a:gd name="connsiteY30" fmla="*/ 152255 h 662520"/>
              <a:gd name="connsiteX31" fmla="*/ 493429 w 1360843"/>
              <a:gd name="connsiteY31" fmla="*/ 201265 h 662520"/>
              <a:gd name="connsiteX32" fmla="*/ 502756 w 1360843"/>
              <a:gd name="connsiteY32" fmla="*/ 257766 h 662520"/>
              <a:gd name="connsiteX33" fmla="*/ 505955 w 1360843"/>
              <a:gd name="connsiteY33" fmla="*/ 321983 h 662520"/>
              <a:gd name="connsiteX34" fmla="*/ 503406 w 1360843"/>
              <a:gd name="connsiteY34" fmla="*/ 376707 h 662520"/>
              <a:gd name="connsiteX35" fmla="*/ 495858 w 1360843"/>
              <a:gd name="connsiteY35" fmla="*/ 427041 h 662520"/>
              <a:gd name="connsiteX36" fmla="*/ 483456 w 1360843"/>
              <a:gd name="connsiteY36" fmla="*/ 472909 h 662520"/>
              <a:gd name="connsiteX37" fmla="*/ 466346 w 1360843"/>
              <a:gd name="connsiteY37" fmla="*/ 514232 h 662520"/>
              <a:gd name="connsiteX38" fmla="*/ 444674 w 1360843"/>
              <a:gd name="connsiteY38" fmla="*/ 550937 h 662520"/>
              <a:gd name="connsiteX39" fmla="*/ 418587 w 1360843"/>
              <a:gd name="connsiteY39" fmla="*/ 582945 h 662520"/>
              <a:gd name="connsiteX40" fmla="*/ 388229 w 1360843"/>
              <a:gd name="connsiteY40" fmla="*/ 610181 h 662520"/>
              <a:gd name="connsiteX41" fmla="*/ 353748 w 1360843"/>
              <a:gd name="connsiteY41" fmla="*/ 632569 h 662520"/>
              <a:gd name="connsiteX42" fmla="*/ 315289 w 1360843"/>
              <a:gd name="connsiteY42" fmla="*/ 650033 h 662520"/>
              <a:gd name="connsiteX43" fmla="*/ 272999 w 1360843"/>
              <a:gd name="connsiteY43" fmla="*/ 662495 h 662520"/>
              <a:gd name="connsiteX44" fmla="*/ 592162 w 1360843"/>
              <a:gd name="connsiteY44" fmla="*/ 662520 h 662520"/>
              <a:gd name="connsiteX45" fmla="*/ 571167 w 1360843"/>
              <a:gd name="connsiteY45" fmla="*/ 658030 h 662520"/>
              <a:gd name="connsiteX46" fmla="*/ 551373 w 1360843"/>
              <a:gd name="connsiteY46" fmla="*/ 652783 h 662520"/>
              <a:gd name="connsiteX47" fmla="*/ 532537 w 1360843"/>
              <a:gd name="connsiteY47" fmla="*/ 646826 h 662520"/>
              <a:gd name="connsiteX48" fmla="*/ 514413 w 1360843"/>
              <a:gd name="connsiteY48" fmla="*/ 640206 h 662520"/>
              <a:gd name="connsiteX49" fmla="*/ 514413 w 1360843"/>
              <a:gd name="connsiteY49" fmla="*/ 516293 h 662520"/>
              <a:gd name="connsiteX50" fmla="*/ 596087 w 1360843"/>
              <a:gd name="connsiteY50" fmla="*/ 516293 h 662520"/>
              <a:gd name="connsiteX51" fmla="*/ 612203 w 1360843"/>
              <a:gd name="connsiteY51" fmla="*/ 539439 h 662520"/>
              <a:gd name="connsiteX52" fmla="*/ 635627 w 1360843"/>
              <a:gd name="connsiteY52" fmla="*/ 559242 h 662520"/>
              <a:gd name="connsiteX53" fmla="*/ 666972 w 1360843"/>
              <a:gd name="connsiteY53" fmla="*/ 573062 h 662520"/>
              <a:gd name="connsiteX54" fmla="*/ 706856 w 1360843"/>
              <a:gd name="connsiteY54" fmla="*/ 578256 h 662520"/>
              <a:gd name="connsiteX55" fmla="*/ 749359 w 1360843"/>
              <a:gd name="connsiteY55" fmla="*/ 571758 h 662520"/>
              <a:gd name="connsiteX56" fmla="*/ 784298 w 1360843"/>
              <a:gd name="connsiteY56" fmla="*/ 552322 h 662520"/>
              <a:gd name="connsiteX57" fmla="*/ 807972 w 1360843"/>
              <a:gd name="connsiteY57" fmla="*/ 520038 h 662520"/>
              <a:gd name="connsiteX58" fmla="*/ 816686 w 1360843"/>
              <a:gd name="connsiteY58" fmla="*/ 474992 h 662520"/>
              <a:gd name="connsiteX59" fmla="*/ 809424 w 1360843"/>
              <a:gd name="connsiteY59" fmla="*/ 430240 h 662520"/>
              <a:gd name="connsiteX60" fmla="*/ 787466 w 1360843"/>
              <a:gd name="connsiteY60" fmla="*/ 398602 h 662520"/>
              <a:gd name="connsiteX61" fmla="*/ 750549 w 1360843"/>
              <a:gd name="connsiteY61" fmla="*/ 379812 h 662520"/>
              <a:gd name="connsiteX62" fmla="*/ 698411 w 1360843"/>
              <a:gd name="connsiteY62" fmla="*/ 373608 h 662520"/>
              <a:gd name="connsiteX63" fmla="*/ 649592 w 1360843"/>
              <a:gd name="connsiteY63" fmla="*/ 373608 h 662520"/>
              <a:gd name="connsiteX64" fmla="*/ 649592 w 1360843"/>
              <a:gd name="connsiteY64" fmla="*/ 286308 h 662520"/>
              <a:gd name="connsiteX65" fmla="*/ 690892 w 1360843"/>
              <a:gd name="connsiteY65" fmla="*/ 286308 h 662520"/>
              <a:gd name="connsiteX66" fmla="*/ 744563 w 1360843"/>
              <a:gd name="connsiteY66" fmla="*/ 280133 h 662520"/>
              <a:gd name="connsiteX67" fmla="*/ 783007 w 1360843"/>
              <a:gd name="connsiteY67" fmla="*/ 261550 h 662520"/>
              <a:gd name="connsiteX68" fmla="*/ 806137 w 1360843"/>
              <a:gd name="connsiteY68" fmla="*/ 230469 h 662520"/>
              <a:gd name="connsiteX69" fmla="*/ 813866 w 1360843"/>
              <a:gd name="connsiteY69" fmla="*/ 186804 h 662520"/>
              <a:gd name="connsiteX70" fmla="*/ 808513 w 1360843"/>
              <a:gd name="connsiteY70" fmla="*/ 149115 h 662520"/>
              <a:gd name="connsiteX71" fmla="*/ 792160 w 1360843"/>
              <a:gd name="connsiteY71" fmla="*/ 121104 h 662520"/>
              <a:gd name="connsiteX72" fmla="*/ 764365 w 1360843"/>
              <a:gd name="connsiteY72" fmla="*/ 103651 h 662520"/>
              <a:gd name="connsiteX73" fmla="*/ 724687 w 1360843"/>
              <a:gd name="connsiteY73" fmla="*/ 97637 h 662520"/>
              <a:gd name="connsiteX74" fmla="*/ 687243 w 1360843"/>
              <a:gd name="connsiteY74" fmla="*/ 102374 h 662520"/>
              <a:gd name="connsiteX75" fmla="*/ 657456 w 1360843"/>
              <a:gd name="connsiteY75" fmla="*/ 115117 h 662520"/>
              <a:gd name="connsiteX76" fmla="*/ 634533 w 1360843"/>
              <a:gd name="connsiteY76" fmla="*/ 133668 h 662520"/>
              <a:gd name="connsiteX77" fmla="*/ 617677 w 1360843"/>
              <a:gd name="connsiteY77" fmla="*/ 155828 h 662520"/>
              <a:gd name="connsiteX78" fmla="*/ 539775 w 1360843"/>
              <a:gd name="connsiteY78" fmla="*/ 155828 h 662520"/>
              <a:gd name="connsiteX79" fmla="*/ 539775 w 1360843"/>
              <a:gd name="connsiteY79" fmla="*/ 33807 h 662520"/>
              <a:gd name="connsiteX80" fmla="*/ 584006 w 1360843"/>
              <a:gd name="connsiteY80" fmla="*/ 19813 h 662520"/>
              <a:gd name="connsiteX81" fmla="*/ 631056 w 1360843"/>
              <a:gd name="connsiteY81" fmla="*/ 9159 h 662520"/>
              <a:gd name="connsiteX82" fmla="*/ 681278 w 1360843"/>
              <a:gd name="connsiteY82" fmla="*/ 2378 h 662520"/>
              <a:gd name="connsiteX83" fmla="*/ 735025 w 1360843"/>
              <a:gd name="connsiteY83" fmla="*/ 0 h 662520"/>
              <a:gd name="connsiteX84" fmla="*/ 790395 w 1360843"/>
              <a:gd name="connsiteY84" fmla="*/ 3158 h 662520"/>
              <a:gd name="connsiteX85" fmla="*/ 838689 w 1360843"/>
              <a:gd name="connsiteY85" fmla="*/ 12853 h 662520"/>
              <a:gd name="connsiteX86" fmla="*/ 879380 w 1360843"/>
              <a:gd name="connsiteY86" fmla="*/ 29412 h 662520"/>
              <a:gd name="connsiteX87" fmla="*/ 911943 w 1360843"/>
              <a:gd name="connsiteY87" fmla="*/ 53163 h 662520"/>
              <a:gd name="connsiteX88" fmla="*/ 935853 w 1360843"/>
              <a:gd name="connsiteY88" fmla="*/ 84435 h 662520"/>
              <a:gd name="connsiteX89" fmla="*/ 950584 w 1360843"/>
              <a:gd name="connsiteY89" fmla="*/ 123555 h 662520"/>
              <a:gd name="connsiteX90" fmla="*/ 955611 w 1360843"/>
              <a:gd name="connsiteY90" fmla="*/ 170853 h 662520"/>
              <a:gd name="connsiteX91" fmla="*/ 949453 w 1360843"/>
              <a:gd name="connsiteY91" fmla="*/ 219568 h 662520"/>
              <a:gd name="connsiteX92" fmla="*/ 931581 w 1360843"/>
              <a:gd name="connsiteY92" fmla="*/ 258234 h 662520"/>
              <a:gd name="connsiteX93" fmla="*/ 902895 w 1360843"/>
              <a:gd name="connsiteY93" fmla="*/ 287843 h 662520"/>
              <a:gd name="connsiteX94" fmla="*/ 864296 w 1360843"/>
              <a:gd name="connsiteY94" fmla="*/ 309388 h 662520"/>
              <a:gd name="connsiteX95" fmla="*/ 816686 w 1360843"/>
              <a:gd name="connsiteY95" fmla="*/ 323862 h 662520"/>
              <a:gd name="connsiteX96" fmla="*/ 816686 w 1360843"/>
              <a:gd name="connsiteY96" fmla="*/ 327609 h 662520"/>
              <a:gd name="connsiteX97" fmla="*/ 870681 w 1360843"/>
              <a:gd name="connsiteY97" fmla="*/ 340566 h 662520"/>
              <a:gd name="connsiteX98" fmla="*/ 912283 w 1360843"/>
              <a:gd name="connsiteY98" fmla="*/ 362534 h 662520"/>
              <a:gd name="connsiteX99" fmla="*/ 941719 w 1360843"/>
              <a:gd name="connsiteY99" fmla="*/ 393513 h 662520"/>
              <a:gd name="connsiteX100" fmla="*/ 959215 w 1360843"/>
              <a:gd name="connsiteY100" fmla="*/ 433502 h 662520"/>
              <a:gd name="connsiteX101" fmla="*/ 964996 w 1360843"/>
              <a:gd name="connsiteY101" fmla="*/ 482498 h 662520"/>
              <a:gd name="connsiteX102" fmla="*/ 959936 w 1360843"/>
              <a:gd name="connsiteY102" fmla="*/ 527743 h 662520"/>
              <a:gd name="connsiteX103" fmla="*/ 944659 w 1360843"/>
              <a:gd name="connsiteY103" fmla="*/ 567021 h 662520"/>
              <a:gd name="connsiteX104" fmla="*/ 920122 w 1360843"/>
              <a:gd name="connsiteY104" fmla="*/ 600232 h 662520"/>
              <a:gd name="connsiteX105" fmla="*/ 887285 w 1360843"/>
              <a:gd name="connsiteY105" fmla="*/ 627278 h 662520"/>
              <a:gd name="connsiteX106" fmla="*/ 847106 w 1360843"/>
              <a:gd name="connsiteY106" fmla="*/ 648061 h 662520"/>
              <a:gd name="connsiteX107" fmla="*/ 800544 w 1360843"/>
              <a:gd name="connsiteY107" fmla="*/ 662482 h 662520"/>
              <a:gd name="connsiteX108" fmla="*/ 1360843 w 1360843"/>
              <a:gd name="connsiteY108" fmla="*/ 662495 h 662520"/>
              <a:gd name="connsiteX0" fmla="*/ 193357 w 1360843"/>
              <a:gd name="connsiteY0" fmla="*/ 578256 h 662520"/>
              <a:gd name="connsiteX1" fmla="*/ 233829 w 1360843"/>
              <a:gd name="connsiteY1" fmla="*/ 573672 h 662520"/>
              <a:gd name="connsiteX2" fmla="*/ 297105 w 1360843"/>
              <a:gd name="connsiteY2" fmla="*/ 537246 h 662520"/>
              <a:gd name="connsiteX3" fmla="*/ 348834 w 1360843"/>
              <a:gd name="connsiteY3" fmla="*/ 415691 h 662520"/>
              <a:gd name="connsiteX4" fmla="*/ 325357 w 1360843"/>
              <a:gd name="connsiteY4" fmla="*/ 385098 h 662520"/>
              <a:gd name="connsiteX5" fmla="*/ 289466 w 1360843"/>
              <a:gd name="connsiteY5" fmla="*/ 406117 h 662520"/>
              <a:gd name="connsiteX6" fmla="*/ 247767 w 1360843"/>
              <a:gd name="connsiteY6" fmla="*/ 419568 h 662520"/>
              <a:gd name="connsiteX7" fmla="*/ 200875 w 1360843"/>
              <a:gd name="connsiteY7" fmla="*/ 424306 h 662520"/>
              <a:gd name="connsiteX8" fmla="*/ 153099 w 1360843"/>
              <a:gd name="connsiteY8" fmla="*/ 420031 h 662520"/>
              <a:gd name="connsiteX9" fmla="*/ 110150 w 1360843"/>
              <a:gd name="connsiteY9" fmla="*/ 407348 h 662520"/>
              <a:gd name="connsiteX10" fmla="*/ 72948 w 1360843"/>
              <a:gd name="connsiteY10" fmla="*/ 386472 h 662520"/>
              <a:gd name="connsiteX11" fmla="*/ 42412 w 1360843"/>
              <a:gd name="connsiteY11" fmla="*/ 357614 h 662520"/>
              <a:gd name="connsiteX12" fmla="*/ 19463 w 1360843"/>
              <a:gd name="connsiteY12" fmla="*/ 320990 h 662520"/>
              <a:gd name="connsiteX13" fmla="*/ 5019 w 1360843"/>
              <a:gd name="connsiteY13" fmla="*/ 276814 h 662520"/>
              <a:gd name="connsiteX14" fmla="*/ 0 w 1360843"/>
              <a:gd name="connsiteY14" fmla="*/ 225297 h 662520"/>
              <a:gd name="connsiteX15" fmla="*/ 4447 w 1360843"/>
              <a:gd name="connsiteY15" fmla="*/ 178425 h 662520"/>
              <a:gd name="connsiteX16" fmla="*/ 17453 w 1360843"/>
              <a:gd name="connsiteY16" fmla="*/ 135445 h 662520"/>
              <a:gd name="connsiteX17" fmla="*/ 38511 w 1360843"/>
              <a:gd name="connsiteY17" fmla="*/ 97085 h 662520"/>
              <a:gd name="connsiteX18" fmla="*/ 67116 w 1360843"/>
              <a:gd name="connsiteY18" fmla="*/ 64071 h 662520"/>
              <a:gd name="connsiteX19" fmla="*/ 102760 w 1360843"/>
              <a:gd name="connsiteY19" fmla="*/ 37129 h 662520"/>
              <a:gd name="connsiteX20" fmla="*/ 144939 w 1360843"/>
              <a:gd name="connsiteY20" fmla="*/ 16986 h 662520"/>
              <a:gd name="connsiteX21" fmla="*/ 193146 w 1360843"/>
              <a:gd name="connsiteY21" fmla="*/ 4367 h 662520"/>
              <a:gd name="connsiteX22" fmla="*/ 246875 w 1360843"/>
              <a:gd name="connsiteY22" fmla="*/ 0 h 662520"/>
              <a:gd name="connsiteX23" fmla="*/ 290625 w 1360843"/>
              <a:gd name="connsiteY23" fmla="*/ 2882 h 662520"/>
              <a:gd name="connsiteX24" fmla="*/ 331492 w 1360843"/>
              <a:gd name="connsiteY24" fmla="*/ 11678 h 662520"/>
              <a:gd name="connsiteX25" fmla="*/ 369070 w 1360843"/>
              <a:gd name="connsiteY25" fmla="*/ 26614 h 662520"/>
              <a:gd name="connsiteX26" fmla="*/ 402953 w 1360843"/>
              <a:gd name="connsiteY26" fmla="*/ 47914 h 662520"/>
              <a:gd name="connsiteX27" fmla="*/ 432736 w 1360843"/>
              <a:gd name="connsiteY27" fmla="*/ 75804 h 662520"/>
              <a:gd name="connsiteX28" fmla="*/ 458013 w 1360843"/>
              <a:gd name="connsiteY28" fmla="*/ 110509 h 662520"/>
              <a:gd name="connsiteX29" fmla="*/ 478379 w 1360843"/>
              <a:gd name="connsiteY29" fmla="*/ 152255 h 662520"/>
              <a:gd name="connsiteX30" fmla="*/ 493429 w 1360843"/>
              <a:gd name="connsiteY30" fmla="*/ 201265 h 662520"/>
              <a:gd name="connsiteX31" fmla="*/ 502756 w 1360843"/>
              <a:gd name="connsiteY31" fmla="*/ 257766 h 662520"/>
              <a:gd name="connsiteX32" fmla="*/ 505955 w 1360843"/>
              <a:gd name="connsiteY32" fmla="*/ 321983 h 662520"/>
              <a:gd name="connsiteX33" fmla="*/ 503406 w 1360843"/>
              <a:gd name="connsiteY33" fmla="*/ 376707 h 662520"/>
              <a:gd name="connsiteX34" fmla="*/ 495858 w 1360843"/>
              <a:gd name="connsiteY34" fmla="*/ 427041 h 662520"/>
              <a:gd name="connsiteX35" fmla="*/ 483456 w 1360843"/>
              <a:gd name="connsiteY35" fmla="*/ 472909 h 662520"/>
              <a:gd name="connsiteX36" fmla="*/ 466346 w 1360843"/>
              <a:gd name="connsiteY36" fmla="*/ 514232 h 662520"/>
              <a:gd name="connsiteX37" fmla="*/ 444674 w 1360843"/>
              <a:gd name="connsiteY37" fmla="*/ 550937 h 662520"/>
              <a:gd name="connsiteX38" fmla="*/ 418587 w 1360843"/>
              <a:gd name="connsiteY38" fmla="*/ 582945 h 662520"/>
              <a:gd name="connsiteX39" fmla="*/ 388229 w 1360843"/>
              <a:gd name="connsiteY39" fmla="*/ 610181 h 662520"/>
              <a:gd name="connsiteX40" fmla="*/ 353748 w 1360843"/>
              <a:gd name="connsiteY40" fmla="*/ 632569 h 662520"/>
              <a:gd name="connsiteX41" fmla="*/ 315289 w 1360843"/>
              <a:gd name="connsiteY41" fmla="*/ 650033 h 662520"/>
              <a:gd name="connsiteX42" fmla="*/ 272999 w 1360843"/>
              <a:gd name="connsiteY42" fmla="*/ 662495 h 662520"/>
              <a:gd name="connsiteX43" fmla="*/ 592162 w 1360843"/>
              <a:gd name="connsiteY43" fmla="*/ 662520 h 662520"/>
              <a:gd name="connsiteX44" fmla="*/ 571167 w 1360843"/>
              <a:gd name="connsiteY44" fmla="*/ 658030 h 662520"/>
              <a:gd name="connsiteX45" fmla="*/ 551373 w 1360843"/>
              <a:gd name="connsiteY45" fmla="*/ 652783 h 662520"/>
              <a:gd name="connsiteX46" fmla="*/ 532537 w 1360843"/>
              <a:gd name="connsiteY46" fmla="*/ 646826 h 662520"/>
              <a:gd name="connsiteX47" fmla="*/ 514413 w 1360843"/>
              <a:gd name="connsiteY47" fmla="*/ 640206 h 662520"/>
              <a:gd name="connsiteX48" fmla="*/ 514413 w 1360843"/>
              <a:gd name="connsiteY48" fmla="*/ 516293 h 662520"/>
              <a:gd name="connsiteX49" fmla="*/ 596087 w 1360843"/>
              <a:gd name="connsiteY49" fmla="*/ 516293 h 662520"/>
              <a:gd name="connsiteX50" fmla="*/ 612203 w 1360843"/>
              <a:gd name="connsiteY50" fmla="*/ 539439 h 662520"/>
              <a:gd name="connsiteX51" fmla="*/ 635627 w 1360843"/>
              <a:gd name="connsiteY51" fmla="*/ 559242 h 662520"/>
              <a:gd name="connsiteX52" fmla="*/ 666972 w 1360843"/>
              <a:gd name="connsiteY52" fmla="*/ 573062 h 662520"/>
              <a:gd name="connsiteX53" fmla="*/ 706856 w 1360843"/>
              <a:gd name="connsiteY53" fmla="*/ 578256 h 662520"/>
              <a:gd name="connsiteX54" fmla="*/ 749359 w 1360843"/>
              <a:gd name="connsiteY54" fmla="*/ 571758 h 662520"/>
              <a:gd name="connsiteX55" fmla="*/ 784298 w 1360843"/>
              <a:gd name="connsiteY55" fmla="*/ 552322 h 662520"/>
              <a:gd name="connsiteX56" fmla="*/ 807972 w 1360843"/>
              <a:gd name="connsiteY56" fmla="*/ 520038 h 662520"/>
              <a:gd name="connsiteX57" fmla="*/ 816686 w 1360843"/>
              <a:gd name="connsiteY57" fmla="*/ 474992 h 662520"/>
              <a:gd name="connsiteX58" fmla="*/ 809424 w 1360843"/>
              <a:gd name="connsiteY58" fmla="*/ 430240 h 662520"/>
              <a:gd name="connsiteX59" fmla="*/ 787466 w 1360843"/>
              <a:gd name="connsiteY59" fmla="*/ 398602 h 662520"/>
              <a:gd name="connsiteX60" fmla="*/ 750549 w 1360843"/>
              <a:gd name="connsiteY60" fmla="*/ 379812 h 662520"/>
              <a:gd name="connsiteX61" fmla="*/ 698411 w 1360843"/>
              <a:gd name="connsiteY61" fmla="*/ 373608 h 662520"/>
              <a:gd name="connsiteX62" fmla="*/ 649592 w 1360843"/>
              <a:gd name="connsiteY62" fmla="*/ 373608 h 662520"/>
              <a:gd name="connsiteX63" fmla="*/ 649592 w 1360843"/>
              <a:gd name="connsiteY63" fmla="*/ 286308 h 662520"/>
              <a:gd name="connsiteX64" fmla="*/ 690892 w 1360843"/>
              <a:gd name="connsiteY64" fmla="*/ 286308 h 662520"/>
              <a:gd name="connsiteX65" fmla="*/ 744563 w 1360843"/>
              <a:gd name="connsiteY65" fmla="*/ 280133 h 662520"/>
              <a:gd name="connsiteX66" fmla="*/ 783007 w 1360843"/>
              <a:gd name="connsiteY66" fmla="*/ 261550 h 662520"/>
              <a:gd name="connsiteX67" fmla="*/ 806137 w 1360843"/>
              <a:gd name="connsiteY67" fmla="*/ 230469 h 662520"/>
              <a:gd name="connsiteX68" fmla="*/ 813866 w 1360843"/>
              <a:gd name="connsiteY68" fmla="*/ 186804 h 662520"/>
              <a:gd name="connsiteX69" fmla="*/ 808513 w 1360843"/>
              <a:gd name="connsiteY69" fmla="*/ 149115 h 662520"/>
              <a:gd name="connsiteX70" fmla="*/ 792160 w 1360843"/>
              <a:gd name="connsiteY70" fmla="*/ 121104 h 662520"/>
              <a:gd name="connsiteX71" fmla="*/ 764365 w 1360843"/>
              <a:gd name="connsiteY71" fmla="*/ 103651 h 662520"/>
              <a:gd name="connsiteX72" fmla="*/ 724687 w 1360843"/>
              <a:gd name="connsiteY72" fmla="*/ 97637 h 662520"/>
              <a:gd name="connsiteX73" fmla="*/ 687243 w 1360843"/>
              <a:gd name="connsiteY73" fmla="*/ 102374 h 662520"/>
              <a:gd name="connsiteX74" fmla="*/ 657456 w 1360843"/>
              <a:gd name="connsiteY74" fmla="*/ 115117 h 662520"/>
              <a:gd name="connsiteX75" fmla="*/ 634533 w 1360843"/>
              <a:gd name="connsiteY75" fmla="*/ 133668 h 662520"/>
              <a:gd name="connsiteX76" fmla="*/ 617677 w 1360843"/>
              <a:gd name="connsiteY76" fmla="*/ 155828 h 662520"/>
              <a:gd name="connsiteX77" fmla="*/ 539775 w 1360843"/>
              <a:gd name="connsiteY77" fmla="*/ 155828 h 662520"/>
              <a:gd name="connsiteX78" fmla="*/ 539775 w 1360843"/>
              <a:gd name="connsiteY78" fmla="*/ 33807 h 662520"/>
              <a:gd name="connsiteX79" fmla="*/ 584006 w 1360843"/>
              <a:gd name="connsiteY79" fmla="*/ 19813 h 662520"/>
              <a:gd name="connsiteX80" fmla="*/ 631056 w 1360843"/>
              <a:gd name="connsiteY80" fmla="*/ 9159 h 662520"/>
              <a:gd name="connsiteX81" fmla="*/ 681278 w 1360843"/>
              <a:gd name="connsiteY81" fmla="*/ 2378 h 662520"/>
              <a:gd name="connsiteX82" fmla="*/ 735025 w 1360843"/>
              <a:gd name="connsiteY82" fmla="*/ 0 h 662520"/>
              <a:gd name="connsiteX83" fmla="*/ 790395 w 1360843"/>
              <a:gd name="connsiteY83" fmla="*/ 3158 h 662520"/>
              <a:gd name="connsiteX84" fmla="*/ 838689 w 1360843"/>
              <a:gd name="connsiteY84" fmla="*/ 12853 h 662520"/>
              <a:gd name="connsiteX85" fmla="*/ 879380 w 1360843"/>
              <a:gd name="connsiteY85" fmla="*/ 29412 h 662520"/>
              <a:gd name="connsiteX86" fmla="*/ 911943 w 1360843"/>
              <a:gd name="connsiteY86" fmla="*/ 53163 h 662520"/>
              <a:gd name="connsiteX87" fmla="*/ 935853 w 1360843"/>
              <a:gd name="connsiteY87" fmla="*/ 84435 h 662520"/>
              <a:gd name="connsiteX88" fmla="*/ 950584 w 1360843"/>
              <a:gd name="connsiteY88" fmla="*/ 123555 h 662520"/>
              <a:gd name="connsiteX89" fmla="*/ 955611 w 1360843"/>
              <a:gd name="connsiteY89" fmla="*/ 170853 h 662520"/>
              <a:gd name="connsiteX90" fmla="*/ 949453 w 1360843"/>
              <a:gd name="connsiteY90" fmla="*/ 219568 h 662520"/>
              <a:gd name="connsiteX91" fmla="*/ 931581 w 1360843"/>
              <a:gd name="connsiteY91" fmla="*/ 258234 h 662520"/>
              <a:gd name="connsiteX92" fmla="*/ 902895 w 1360843"/>
              <a:gd name="connsiteY92" fmla="*/ 287843 h 662520"/>
              <a:gd name="connsiteX93" fmla="*/ 864296 w 1360843"/>
              <a:gd name="connsiteY93" fmla="*/ 309388 h 662520"/>
              <a:gd name="connsiteX94" fmla="*/ 816686 w 1360843"/>
              <a:gd name="connsiteY94" fmla="*/ 323862 h 662520"/>
              <a:gd name="connsiteX95" fmla="*/ 816686 w 1360843"/>
              <a:gd name="connsiteY95" fmla="*/ 327609 h 662520"/>
              <a:gd name="connsiteX96" fmla="*/ 870681 w 1360843"/>
              <a:gd name="connsiteY96" fmla="*/ 340566 h 662520"/>
              <a:gd name="connsiteX97" fmla="*/ 912283 w 1360843"/>
              <a:gd name="connsiteY97" fmla="*/ 362534 h 662520"/>
              <a:gd name="connsiteX98" fmla="*/ 941719 w 1360843"/>
              <a:gd name="connsiteY98" fmla="*/ 393513 h 662520"/>
              <a:gd name="connsiteX99" fmla="*/ 959215 w 1360843"/>
              <a:gd name="connsiteY99" fmla="*/ 433502 h 662520"/>
              <a:gd name="connsiteX100" fmla="*/ 964996 w 1360843"/>
              <a:gd name="connsiteY100" fmla="*/ 482498 h 662520"/>
              <a:gd name="connsiteX101" fmla="*/ 959936 w 1360843"/>
              <a:gd name="connsiteY101" fmla="*/ 527743 h 662520"/>
              <a:gd name="connsiteX102" fmla="*/ 944659 w 1360843"/>
              <a:gd name="connsiteY102" fmla="*/ 567021 h 662520"/>
              <a:gd name="connsiteX103" fmla="*/ 920122 w 1360843"/>
              <a:gd name="connsiteY103" fmla="*/ 600232 h 662520"/>
              <a:gd name="connsiteX104" fmla="*/ 887285 w 1360843"/>
              <a:gd name="connsiteY104" fmla="*/ 627278 h 662520"/>
              <a:gd name="connsiteX105" fmla="*/ 847106 w 1360843"/>
              <a:gd name="connsiteY105" fmla="*/ 648061 h 662520"/>
              <a:gd name="connsiteX106" fmla="*/ 800544 w 1360843"/>
              <a:gd name="connsiteY106" fmla="*/ 662482 h 662520"/>
              <a:gd name="connsiteX107" fmla="*/ 1360843 w 1360843"/>
              <a:gd name="connsiteY107" fmla="*/ 662495 h 662520"/>
              <a:gd name="connsiteX0" fmla="*/ 193357 w 1360843"/>
              <a:gd name="connsiteY0" fmla="*/ 578256 h 662520"/>
              <a:gd name="connsiteX1" fmla="*/ 233829 w 1360843"/>
              <a:gd name="connsiteY1" fmla="*/ 573672 h 662520"/>
              <a:gd name="connsiteX2" fmla="*/ 348834 w 1360843"/>
              <a:gd name="connsiteY2" fmla="*/ 415691 h 662520"/>
              <a:gd name="connsiteX3" fmla="*/ 325357 w 1360843"/>
              <a:gd name="connsiteY3" fmla="*/ 385098 h 662520"/>
              <a:gd name="connsiteX4" fmla="*/ 289466 w 1360843"/>
              <a:gd name="connsiteY4" fmla="*/ 406117 h 662520"/>
              <a:gd name="connsiteX5" fmla="*/ 247767 w 1360843"/>
              <a:gd name="connsiteY5" fmla="*/ 419568 h 662520"/>
              <a:gd name="connsiteX6" fmla="*/ 200875 w 1360843"/>
              <a:gd name="connsiteY6" fmla="*/ 424306 h 662520"/>
              <a:gd name="connsiteX7" fmla="*/ 153099 w 1360843"/>
              <a:gd name="connsiteY7" fmla="*/ 420031 h 662520"/>
              <a:gd name="connsiteX8" fmla="*/ 110150 w 1360843"/>
              <a:gd name="connsiteY8" fmla="*/ 407348 h 662520"/>
              <a:gd name="connsiteX9" fmla="*/ 72948 w 1360843"/>
              <a:gd name="connsiteY9" fmla="*/ 386472 h 662520"/>
              <a:gd name="connsiteX10" fmla="*/ 42412 w 1360843"/>
              <a:gd name="connsiteY10" fmla="*/ 357614 h 662520"/>
              <a:gd name="connsiteX11" fmla="*/ 19463 w 1360843"/>
              <a:gd name="connsiteY11" fmla="*/ 320990 h 662520"/>
              <a:gd name="connsiteX12" fmla="*/ 5019 w 1360843"/>
              <a:gd name="connsiteY12" fmla="*/ 276814 h 662520"/>
              <a:gd name="connsiteX13" fmla="*/ 0 w 1360843"/>
              <a:gd name="connsiteY13" fmla="*/ 225297 h 662520"/>
              <a:gd name="connsiteX14" fmla="*/ 4447 w 1360843"/>
              <a:gd name="connsiteY14" fmla="*/ 178425 h 662520"/>
              <a:gd name="connsiteX15" fmla="*/ 17453 w 1360843"/>
              <a:gd name="connsiteY15" fmla="*/ 135445 h 662520"/>
              <a:gd name="connsiteX16" fmla="*/ 38511 w 1360843"/>
              <a:gd name="connsiteY16" fmla="*/ 97085 h 662520"/>
              <a:gd name="connsiteX17" fmla="*/ 67116 w 1360843"/>
              <a:gd name="connsiteY17" fmla="*/ 64071 h 662520"/>
              <a:gd name="connsiteX18" fmla="*/ 102760 w 1360843"/>
              <a:gd name="connsiteY18" fmla="*/ 37129 h 662520"/>
              <a:gd name="connsiteX19" fmla="*/ 144939 w 1360843"/>
              <a:gd name="connsiteY19" fmla="*/ 16986 h 662520"/>
              <a:gd name="connsiteX20" fmla="*/ 193146 w 1360843"/>
              <a:gd name="connsiteY20" fmla="*/ 4367 h 662520"/>
              <a:gd name="connsiteX21" fmla="*/ 246875 w 1360843"/>
              <a:gd name="connsiteY21" fmla="*/ 0 h 662520"/>
              <a:gd name="connsiteX22" fmla="*/ 290625 w 1360843"/>
              <a:gd name="connsiteY22" fmla="*/ 2882 h 662520"/>
              <a:gd name="connsiteX23" fmla="*/ 331492 w 1360843"/>
              <a:gd name="connsiteY23" fmla="*/ 11678 h 662520"/>
              <a:gd name="connsiteX24" fmla="*/ 369070 w 1360843"/>
              <a:gd name="connsiteY24" fmla="*/ 26614 h 662520"/>
              <a:gd name="connsiteX25" fmla="*/ 402953 w 1360843"/>
              <a:gd name="connsiteY25" fmla="*/ 47914 h 662520"/>
              <a:gd name="connsiteX26" fmla="*/ 432736 w 1360843"/>
              <a:gd name="connsiteY26" fmla="*/ 75804 h 662520"/>
              <a:gd name="connsiteX27" fmla="*/ 458013 w 1360843"/>
              <a:gd name="connsiteY27" fmla="*/ 110509 h 662520"/>
              <a:gd name="connsiteX28" fmla="*/ 478379 w 1360843"/>
              <a:gd name="connsiteY28" fmla="*/ 152255 h 662520"/>
              <a:gd name="connsiteX29" fmla="*/ 493429 w 1360843"/>
              <a:gd name="connsiteY29" fmla="*/ 201265 h 662520"/>
              <a:gd name="connsiteX30" fmla="*/ 502756 w 1360843"/>
              <a:gd name="connsiteY30" fmla="*/ 257766 h 662520"/>
              <a:gd name="connsiteX31" fmla="*/ 505955 w 1360843"/>
              <a:gd name="connsiteY31" fmla="*/ 321983 h 662520"/>
              <a:gd name="connsiteX32" fmla="*/ 503406 w 1360843"/>
              <a:gd name="connsiteY32" fmla="*/ 376707 h 662520"/>
              <a:gd name="connsiteX33" fmla="*/ 495858 w 1360843"/>
              <a:gd name="connsiteY33" fmla="*/ 427041 h 662520"/>
              <a:gd name="connsiteX34" fmla="*/ 483456 w 1360843"/>
              <a:gd name="connsiteY34" fmla="*/ 472909 h 662520"/>
              <a:gd name="connsiteX35" fmla="*/ 466346 w 1360843"/>
              <a:gd name="connsiteY35" fmla="*/ 514232 h 662520"/>
              <a:gd name="connsiteX36" fmla="*/ 444674 w 1360843"/>
              <a:gd name="connsiteY36" fmla="*/ 550937 h 662520"/>
              <a:gd name="connsiteX37" fmla="*/ 418587 w 1360843"/>
              <a:gd name="connsiteY37" fmla="*/ 582945 h 662520"/>
              <a:gd name="connsiteX38" fmla="*/ 388229 w 1360843"/>
              <a:gd name="connsiteY38" fmla="*/ 610181 h 662520"/>
              <a:gd name="connsiteX39" fmla="*/ 353748 w 1360843"/>
              <a:gd name="connsiteY39" fmla="*/ 632569 h 662520"/>
              <a:gd name="connsiteX40" fmla="*/ 315289 w 1360843"/>
              <a:gd name="connsiteY40" fmla="*/ 650033 h 662520"/>
              <a:gd name="connsiteX41" fmla="*/ 272999 w 1360843"/>
              <a:gd name="connsiteY41" fmla="*/ 662495 h 662520"/>
              <a:gd name="connsiteX42" fmla="*/ 592162 w 1360843"/>
              <a:gd name="connsiteY42" fmla="*/ 662520 h 662520"/>
              <a:gd name="connsiteX43" fmla="*/ 571167 w 1360843"/>
              <a:gd name="connsiteY43" fmla="*/ 658030 h 662520"/>
              <a:gd name="connsiteX44" fmla="*/ 551373 w 1360843"/>
              <a:gd name="connsiteY44" fmla="*/ 652783 h 662520"/>
              <a:gd name="connsiteX45" fmla="*/ 532537 w 1360843"/>
              <a:gd name="connsiteY45" fmla="*/ 646826 h 662520"/>
              <a:gd name="connsiteX46" fmla="*/ 514413 w 1360843"/>
              <a:gd name="connsiteY46" fmla="*/ 640206 h 662520"/>
              <a:gd name="connsiteX47" fmla="*/ 514413 w 1360843"/>
              <a:gd name="connsiteY47" fmla="*/ 516293 h 662520"/>
              <a:gd name="connsiteX48" fmla="*/ 596087 w 1360843"/>
              <a:gd name="connsiteY48" fmla="*/ 516293 h 662520"/>
              <a:gd name="connsiteX49" fmla="*/ 612203 w 1360843"/>
              <a:gd name="connsiteY49" fmla="*/ 539439 h 662520"/>
              <a:gd name="connsiteX50" fmla="*/ 635627 w 1360843"/>
              <a:gd name="connsiteY50" fmla="*/ 559242 h 662520"/>
              <a:gd name="connsiteX51" fmla="*/ 666972 w 1360843"/>
              <a:gd name="connsiteY51" fmla="*/ 573062 h 662520"/>
              <a:gd name="connsiteX52" fmla="*/ 706856 w 1360843"/>
              <a:gd name="connsiteY52" fmla="*/ 578256 h 662520"/>
              <a:gd name="connsiteX53" fmla="*/ 749359 w 1360843"/>
              <a:gd name="connsiteY53" fmla="*/ 571758 h 662520"/>
              <a:gd name="connsiteX54" fmla="*/ 784298 w 1360843"/>
              <a:gd name="connsiteY54" fmla="*/ 552322 h 662520"/>
              <a:gd name="connsiteX55" fmla="*/ 807972 w 1360843"/>
              <a:gd name="connsiteY55" fmla="*/ 520038 h 662520"/>
              <a:gd name="connsiteX56" fmla="*/ 816686 w 1360843"/>
              <a:gd name="connsiteY56" fmla="*/ 474992 h 662520"/>
              <a:gd name="connsiteX57" fmla="*/ 809424 w 1360843"/>
              <a:gd name="connsiteY57" fmla="*/ 430240 h 662520"/>
              <a:gd name="connsiteX58" fmla="*/ 787466 w 1360843"/>
              <a:gd name="connsiteY58" fmla="*/ 398602 h 662520"/>
              <a:gd name="connsiteX59" fmla="*/ 750549 w 1360843"/>
              <a:gd name="connsiteY59" fmla="*/ 379812 h 662520"/>
              <a:gd name="connsiteX60" fmla="*/ 698411 w 1360843"/>
              <a:gd name="connsiteY60" fmla="*/ 373608 h 662520"/>
              <a:gd name="connsiteX61" fmla="*/ 649592 w 1360843"/>
              <a:gd name="connsiteY61" fmla="*/ 373608 h 662520"/>
              <a:gd name="connsiteX62" fmla="*/ 649592 w 1360843"/>
              <a:gd name="connsiteY62" fmla="*/ 286308 h 662520"/>
              <a:gd name="connsiteX63" fmla="*/ 690892 w 1360843"/>
              <a:gd name="connsiteY63" fmla="*/ 286308 h 662520"/>
              <a:gd name="connsiteX64" fmla="*/ 744563 w 1360843"/>
              <a:gd name="connsiteY64" fmla="*/ 280133 h 662520"/>
              <a:gd name="connsiteX65" fmla="*/ 783007 w 1360843"/>
              <a:gd name="connsiteY65" fmla="*/ 261550 h 662520"/>
              <a:gd name="connsiteX66" fmla="*/ 806137 w 1360843"/>
              <a:gd name="connsiteY66" fmla="*/ 230469 h 662520"/>
              <a:gd name="connsiteX67" fmla="*/ 813866 w 1360843"/>
              <a:gd name="connsiteY67" fmla="*/ 186804 h 662520"/>
              <a:gd name="connsiteX68" fmla="*/ 808513 w 1360843"/>
              <a:gd name="connsiteY68" fmla="*/ 149115 h 662520"/>
              <a:gd name="connsiteX69" fmla="*/ 792160 w 1360843"/>
              <a:gd name="connsiteY69" fmla="*/ 121104 h 662520"/>
              <a:gd name="connsiteX70" fmla="*/ 764365 w 1360843"/>
              <a:gd name="connsiteY70" fmla="*/ 103651 h 662520"/>
              <a:gd name="connsiteX71" fmla="*/ 724687 w 1360843"/>
              <a:gd name="connsiteY71" fmla="*/ 97637 h 662520"/>
              <a:gd name="connsiteX72" fmla="*/ 687243 w 1360843"/>
              <a:gd name="connsiteY72" fmla="*/ 102374 h 662520"/>
              <a:gd name="connsiteX73" fmla="*/ 657456 w 1360843"/>
              <a:gd name="connsiteY73" fmla="*/ 115117 h 662520"/>
              <a:gd name="connsiteX74" fmla="*/ 634533 w 1360843"/>
              <a:gd name="connsiteY74" fmla="*/ 133668 h 662520"/>
              <a:gd name="connsiteX75" fmla="*/ 617677 w 1360843"/>
              <a:gd name="connsiteY75" fmla="*/ 155828 h 662520"/>
              <a:gd name="connsiteX76" fmla="*/ 539775 w 1360843"/>
              <a:gd name="connsiteY76" fmla="*/ 155828 h 662520"/>
              <a:gd name="connsiteX77" fmla="*/ 539775 w 1360843"/>
              <a:gd name="connsiteY77" fmla="*/ 33807 h 662520"/>
              <a:gd name="connsiteX78" fmla="*/ 584006 w 1360843"/>
              <a:gd name="connsiteY78" fmla="*/ 19813 h 662520"/>
              <a:gd name="connsiteX79" fmla="*/ 631056 w 1360843"/>
              <a:gd name="connsiteY79" fmla="*/ 9159 h 662520"/>
              <a:gd name="connsiteX80" fmla="*/ 681278 w 1360843"/>
              <a:gd name="connsiteY80" fmla="*/ 2378 h 662520"/>
              <a:gd name="connsiteX81" fmla="*/ 735025 w 1360843"/>
              <a:gd name="connsiteY81" fmla="*/ 0 h 662520"/>
              <a:gd name="connsiteX82" fmla="*/ 790395 w 1360843"/>
              <a:gd name="connsiteY82" fmla="*/ 3158 h 662520"/>
              <a:gd name="connsiteX83" fmla="*/ 838689 w 1360843"/>
              <a:gd name="connsiteY83" fmla="*/ 12853 h 662520"/>
              <a:gd name="connsiteX84" fmla="*/ 879380 w 1360843"/>
              <a:gd name="connsiteY84" fmla="*/ 29412 h 662520"/>
              <a:gd name="connsiteX85" fmla="*/ 911943 w 1360843"/>
              <a:gd name="connsiteY85" fmla="*/ 53163 h 662520"/>
              <a:gd name="connsiteX86" fmla="*/ 935853 w 1360843"/>
              <a:gd name="connsiteY86" fmla="*/ 84435 h 662520"/>
              <a:gd name="connsiteX87" fmla="*/ 950584 w 1360843"/>
              <a:gd name="connsiteY87" fmla="*/ 123555 h 662520"/>
              <a:gd name="connsiteX88" fmla="*/ 955611 w 1360843"/>
              <a:gd name="connsiteY88" fmla="*/ 170853 h 662520"/>
              <a:gd name="connsiteX89" fmla="*/ 949453 w 1360843"/>
              <a:gd name="connsiteY89" fmla="*/ 219568 h 662520"/>
              <a:gd name="connsiteX90" fmla="*/ 931581 w 1360843"/>
              <a:gd name="connsiteY90" fmla="*/ 258234 h 662520"/>
              <a:gd name="connsiteX91" fmla="*/ 902895 w 1360843"/>
              <a:gd name="connsiteY91" fmla="*/ 287843 h 662520"/>
              <a:gd name="connsiteX92" fmla="*/ 864296 w 1360843"/>
              <a:gd name="connsiteY92" fmla="*/ 309388 h 662520"/>
              <a:gd name="connsiteX93" fmla="*/ 816686 w 1360843"/>
              <a:gd name="connsiteY93" fmla="*/ 323862 h 662520"/>
              <a:gd name="connsiteX94" fmla="*/ 816686 w 1360843"/>
              <a:gd name="connsiteY94" fmla="*/ 327609 h 662520"/>
              <a:gd name="connsiteX95" fmla="*/ 870681 w 1360843"/>
              <a:gd name="connsiteY95" fmla="*/ 340566 h 662520"/>
              <a:gd name="connsiteX96" fmla="*/ 912283 w 1360843"/>
              <a:gd name="connsiteY96" fmla="*/ 362534 h 662520"/>
              <a:gd name="connsiteX97" fmla="*/ 941719 w 1360843"/>
              <a:gd name="connsiteY97" fmla="*/ 393513 h 662520"/>
              <a:gd name="connsiteX98" fmla="*/ 959215 w 1360843"/>
              <a:gd name="connsiteY98" fmla="*/ 433502 h 662520"/>
              <a:gd name="connsiteX99" fmla="*/ 964996 w 1360843"/>
              <a:gd name="connsiteY99" fmla="*/ 482498 h 662520"/>
              <a:gd name="connsiteX100" fmla="*/ 959936 w 1360843"/>
              <a:gd name="connsiteY100" fmla="*/ 527743 h 662520"/>
              <a:gd name="connsiteX101" fmla="*/ 944659 w 1360843"/>
              <a:gd name="connsiteY101" fmla="*/ 567021 h 662520"/>
              <a:gd name="connsiteX102" fmla="*/ 920122 w 1360843"/>
              <a:gd name="connsiteY102" fmla="*/ 600232 h 662520"/>
              <a:gd name="connsiteX103" fmla="*/ 887285 w 1360843"/>
              <a:gd name="connsiteY103" fmla="*/ 627278 h 662520"/>
              <a:gd name="connsiteX104" fmla="*/ 847106 w 1360843"/>
              <a:gd name="connsiteY104" fmla="*/ 648061 h 662520"/>
              <a:gd name="connsiteX105" fmla="*/ 800544 w 1360843"/>
              <a:gd name="connsiteY105" fmla="*/ 662482 h 662520"/>
              <a:gd name="connsiteX106" fmla="*/ 1360843 w 1360843"/>
              <a:gd name="connsiteY106" fmla="*/ 662495 h 662520"/>
              <a:gd name="connsiteX0" fmla="*/ 193357 w 1360843"/>
              <a:gd name="connsiteY0" fmla="*/ 578256 h 662520"/>
              <a:gd name="connsiteX1" fmla="*/ 348834 w 1360843"/>
              <a:gd name="connsiteY1" fmla="*/ 415691 h 662520"/>
              <a:gd name="connsiteX2" fmla="*/ 325357 w 1360843"/>
              <a:gd name="connsiteY2" fmla="*/ 385098 h 662520"/>
              <a:gd name="connsiteX3" fmla="*/ 289466 w 1360843"/>
              <a:gd name="connsiteY3" fmla="*/ 406117 h 662520"/>
              <a:gd name="connsiteX4" fmla="*/ 247767 w 1360843"/>
              <a:gd name="connsiteY4" fmla="*/ 419568 h 662520"/>
              <a:gd name="connsiteX5" fmla="*/ 200875 w 1360843"/>
              <a:gd name="connsiteY5" fmla="*/ 424306 h 662520"/>
              <a:gd name="connsiteX6" fmla="*/ 153099 w 1360843"/>
              <a:gd name="connsiteY6" fmla="*/ 420031 h 662520"/>
              <a:gd name="connsiteX7" fmla="*/ 110150 w 1360843"/>
              <a:gd name="connsiteY7" fmla="*/ 407348 h 662520"/>
              <a:gd name="connsiteX8" fmla="*/ 72948 w 1360843"/>
              <a:gd name="connsiteY8" fmla="*/ 386472 h 662520"/>
              <a:gd name="connsiteX9" fmla="*/ 42412 w 1360843"/>
              <a:gd name="connsiteY9" fmla="*/ 357614 h 662520"/>
              <a:gd name="connsiteX10" fmla="*/ 19463 w 1360843"/>
              <a:gd name="connsiteY10" fmla="*/ 320990 h 662520"/>
              <a:gd name="connsiteX11" fmla="*/ 5019 w 1360843"/>
              <a:gd name="connsiteY11" fmla="*/ 276814 h 662520"/>
              <a:gd name="connsiteX12" fmla="*/ 0 w 1360843"/>
              <a:gd name="connsiteY12" fmla="*/ 225297 h 662520"/>
              <a:gd name="connsiteX13" fmla="*/ 4447 w 1360843"/>
              <a:gd name="connsiteY13" fmla="*/ 178425 h 662520"/>
              <a:gd name="connsiteX14" fmla="*/ 17453 w 1360843"/>
              <a:gd name="connsiteY14" fmla="*/ 135445 h 662520"/>
              <a:gd name="connsiteX15" fmla="*/ 38511 w 1360843"/>
              <a:gd name="connsiteY15" fmla="*/ 97085 h 662520"/>
              <a:gd name="connsiteX16" fmla="*/ 67116 w 1360843"/>
              <a:gd name="connsiteY16" fmla="*/ 64071 h 662520"/>
              <a:gd name="connsiteX17" fmla="*/ 102760 w 1360843"/>
              <a:gd name="connsiteY17" fmla="*/ 37129 h 662520"/>
              <a:gd name="connsiteX18" fmla="*/ 144939 w 1360843"/>
              <a:gd name="connsiteY18" fmla="*/ 16986 h 662520"/>
              <a:gd name="connsiteX19" fmla="*/ 193146 w 1360843"/>
              <a:gd name="connsiteY19" fmla="*/ 4367 h 662520"/>
              <a:gd name="connsiteX20" fmla="*/ 246875 w 1360843"/>
              <a:gd name="connsiteY20" fmla="*/ 0 h 662520"/>
              <a:gd name="connsiteX21" fmla="*/ 290625 w 1360843"/>
              <a:gd name="connsiteY21" fmla="*/ 2882 h 662520"/>
              <a:gd name="connsiteX22" fmla="*/ 331492 w 1360843"/>
              <a:gd name="connsiteY22" fmla="*/ 11678 h 662520"/>
              <a:gd name="connsiteX23" fmla="*/ 369070 w 1360843"/>
              <a:gd name="connsiteY23" fmla="*/ 26614 h 662520"/>
              <a:gd name="connsiteX24" fmla="*/ 402953 w 1360843"/>
              <a:gd name="connsiteY24" fmla="*/ 47914 h 662520"/>
              <a:gd name="connsiteX25" fmla="*/ 432736 w 1360843"/>
              <a:gd name="connsiteY25" fmla="*/ 75804 h 662520"/>
              <a:gd name="connsiteX26" fmla="*/ 458013 w 1360843"/>
              <a:gd name="connsiteY26" fmla="*/ 110509 h 662520"/>
              <a:gd name="connsiteX27" fmla="*/ 478379 w 1360843"/>
              <a:gd name="connsiteY27" fmla="*/ 152255 h 662520"/>
              <a:gd name="connsiteX28" fmla="*/ 493429 w 1360843"/>
              <a:gd name="connsiteY28" fmla="*/ 201265 h 662520"/>
              <a:gd name="connsiteX29" fmla="*/ 502756 w 1360843"/>
              <a:gd name="connsiteY29" fmla="*/ 257766 h 662520"/>
              <a:gd name="connsiteX30" fmla="*/ 505955 w 1360843"/>
              <a:gd name="connsiteY30" fmla="*/ 321983 h 662520"/>
              <a:gd name="connsiteX31" fmla="*/ 503406 w 1360843"/>
              <a:gd name="connsiteY31" fmla="*/ 376707 h 662520"/>
              <a:gd name="connsiteX32" fmla="*/ 495858 w 1360843"/>
              <a:gd name="connsiteY32" fmla="*/ 427041 h 662520"/>
              <a:gd name="connsiteX33" fmla="*/ 483456 w 1360843"/>
              <a:gd name="connsiteY33" fmla="*/ 472909 h 662520"/>
              <a:gd name="connsiteX34" fmla="*/ 466346 w 1360843"/>
              <a:gd name="connsiteY34" fmla="*/ 514232 h 662520"/>
              <a:gd name="connsiteX35" fmla="*/ 444674 w 1360843"/>
              <a:gd name="connsiteY35" fmla="*/ 550937 h 662520"/>
              <a:gd name="connsiteX36" fmla="*/ 418587 w 1360843"/>
              <a:gd name="connsiteY36" fmla="*/ 582945 h 662520"/>
              <a:gd name="connsiteX37" fmla="*/ 388229 w 1360843"/>
              <a:gd name="connsiteY37" fmla="*/ 610181 h 662520"/>
              <a:gd name="connsiteX38" fmla="*/ 353748 w 1360843"/>
              <a:gd name="connsiteY38" fmla="*/ 632569 h 662520"/>
              <a:gd name="connsiteX39" fmla="*/ 315289 w 1360843"/>
              <a:gd name="connsiteY39" fmla="*/ 650033 h 662520"/>
              <a:gd name="connsiteX40" fmla="*/ 272999 w 1360843"/>
              <a:gd name="connsiteY40" fmla="*/ 662495 h 662520"/>
              <a:gd name="connsiteX41" fmla="*/ 592162 w 1360843"/>
              <a:gd name="connsiteY41" fmla="*/ 662520 h 662520"/>
              <a:gd name="connsiteX42" fmla="*/ 571167 w 1360843"/>
              <a:gd name="connsiteY42" fmla="*/ 658030 h 662520"/>
              <a:gd name="connsiteX43" fmla="*/ 551373 w 1360843"/>
              <a:gd name="connsiteY43" fmla="*/ 652783 h 662520"/>
              <a:gd name="connsiteX44" fmla="*/ 532537 w 1360843"/>
              <a:gd name="connsiteY44" fmla="*/ 646826 h 662520"/>
              <a:gd name="connsiteX45" fmla="*/ 514413 w 1360843"/>
              <a:gd name="connsiteY45" fmla="*/ 640206 h 662520"/>
              <a:gd name="connsiteX46" fmla="*/ 514413 w 1360843"/>
              <a:gd name="connsiteY46" fmla="*/ 516293 h 662520"/>
              <a:gd name="connsiteX47" fmla="*/ 596087 w 1360843"/>
              <a:gd name="connsiteY47" fmla="*/ 516293 h 662520"/>
              <a:gd name="connsiteX48" fmla="*/ 612203 w 1360843"/>
              <a:gd name="connsiteY48" fmla="*/ 539439 h 662520"/>
              <a:gd name="connsiteX49" fmla="*/ 635627 w 1360843"/>
              <a:gd name="connsiteY49" fmla="*/ 559242 h 662520"/>
              <a:gd name="connsiteX50" fmla="*/ 666972 w 1360843"/>
              <a:gd name="connsiteY50" fmla="*/ 573062 h 662520"/>
              <a:gd name="connsiteX51" fmla="*/ 706856 w 1360843"/>
              <a:gd name="connsiteY51" fmla="*/ 578256 h 662520"/>
              <a:gd name="connsiteX52" fmla="*/ 749359 w 1360843"/>
              <a:gd name="connsiteY52" fmla="*/ 571758 h 662520"/>
              <a:gd name="connsiteX53" fmla="*/ 784298 w 1360843"/>
              <a:gd name="connsiteY53" fmla="*/ 552322 h 662520"/>
              <a:gd name="connsiteX54" fmla="*/ 807972 w 1360843"/>
              <a:gd name="connsiteY54" fmla="*/ 520038 h 662520"/>
              <a:gd name="connsiteX55" fmla="*/ 816686 w 1360843"/>
              <a:gd name="connsiteY55" fmla="*/ 474992 h 662520"/>
              <a:gd name="connsiteX56" fmla="*/ 809424 w 1360843"/>
              <a:gd name="connsiteY56" fmla="*/ 430240 h 662520"/>
              <a:gd name="connsiteX57" fmla="*/ 787466 w 1360843"/>
              <a:gd name="connsiteY57" fmla="*/ 398602 h 662520"/>
              <a:gd name="connsiteX58" fmla="*/ 750549 w 1360843"/>
              <a:gd name="connsiteY58" fmla="*/ 379812 h 662520"/>
              <a:gd name="connsiteX59" fmla="*/ 698411 w 1360843"/>
              <a:gd name="connsiteY59" fmla="*/ 373608 h 662520"/>
              <a:gd name="connsiteX60" fmla="*/ 649592 w 1360843"/>
              <a:gd name="connsiteY60" fmla="*/ 373608 h 662520"/>
              <a:gd name="connsiteX61" fmla="*/ 649592 w 1360843"/>
              <a:gd name="connsiteY61" fmla="*/ 286308 h 662520"/>
              <a:gd name="connsiteX62" fmla="*/ 690892 w 1360843"/>
              <a:gd name="connsiteY62" fmla="*/ 286308 h 662520"/>
              <a:gd name="connsiteX63" fmla="*/ 744563 w 1360843"/>
              <a:gd name="connsiteY63" fmla="*/ 280133 h 662520"/>
              <a:gd name="connsiteX64" fmla="*/ 783007 w 1360843"/>
              <a:gd name="connsiteY64" fmla="*/ 261550 h 662520"/>
              <a:gd name="connsiteX65" fmla="*/ 806137 w 1360843"/>
              <a:gd name="connsiteY65" fmla="*/ 230469 h 662520"/>
              <a:gd name="connsiteX66" fmla="*/ 813866 w 1360843"/>
              <a:gd name="connsiteY66" fmla="*/ 186804 h 662520"/>
              <a:gd name="connsiteX67" fmla="*/ 808513 w 1360843"/>
              <a:gd name="connsiteY67" fmla="*/ 149115 h 662520"/>
              <a:gd name="connsiteX68" fmla="*/ 792160 w 1360843"/>
              <a:gd name="connsiteY68" fmla="*/ 121104 h 662520"/>
              <a:gd name="connsiteX69" fmla="*/ 764365 w 1360843"/>
              <a:gd name="connsiteY69" fmla="*/ 103651 h 662520"/>
              <a:gd name="connsiteX70" fmla="*/ 724687 w 1360843"/>
              <a:gd name="connsiteY70" fmla="*/ 97637 h 662520"/>
              <a:gd name="connsiteX71" fmla="*/ 687243 w 1360843"/>
              <a:gd name="connsiteY71" fmla="*/ 102374 h 662520"/>
              <a:gd name="connsiteX72" fmla="*/ 657456 w 1360843"/>
              <a:gd name="connsiteY72" fmla="*/ 115117 h 662520"/>
              <a:gd name="connsiteX73" fmla="*/ 634533 w 1360843"/>
              <a:gd name="connsiteY73" fmla="*/ 133668 h 662520"/>
              <a:gd name="connsiteX74" fmla="*/ 617677 w 1360843"/>
              <a:gd name="connsiteY74" fmla="*/ 155828 h 662520"/>
              <a:gd name="connsiteX75" fmla="*/ 539775 w 1360843"/>
              <a:gd name="connsiteY75" fmla="*/ 155828 h 662520"/>
              <a:gd name="connsiteX76" fmla="*/ 539775 w 1360843"/>
              <a:gd name="connsiteY76" fmla="*/ 33807 h 662520"/>
              <a:gd name="connsiteX77" fmla="*/ 584006 w 1360843"/>
              <a:gd name="connsiteY77" fmla="*/ 19813 h 662520"/>
              <a:gd name="connsiteX78" fmla="*/ 631056 w 1360843"/>
              <a:gd name="connsiteY78" fmla="*/ 9159 h 662520"/>
              <a:gd name="connsiteX79" fmla="*/ 681278 w 1360843"/>
              <a:gd name="connsiteY79" fmla="*/ 2378 h 662520"/>
              <a:gd name="connsiteX80" fmla="*/ 735025 w 1360843"/>
              <a:gd name="connsiteY80" fmla="*/ 0 h 662520"/>
              <a:gd name="connsiteX81" fmla="*/ 790395 w 1360843"/>
              <a:gd name="connsiteY81" fmla="*/ 3158 h 662520"/>
              <a:gd name="connsiteX82" fmla="*/ 838689 w 1360843"/>
              <a:gd name="connsiteY82" fmla="*/ 12853 h 662520"/>
              <a:gd name="connsiteX83" fmla="*/ 879380 w 1360843"/>
              <a:gd name="connsiteY83" fmla="*/ 29412 h 662520"/>
              <a:gd name="connsiteX84" fmla="*/ 911943 w 1360843"/>
              <a:gd name="connsiteY84" fmla="*/ 53163 h 662520"/>
              <a:gd name="connsiteX85" fmla="*/ 935853 w 1360843"/>
              <a:gd name="connsiteY85" fmla="*/ 84435 h 662520"/>
              <a:gd name="connsiteX86" fmla="*/ 950584 w 1360843"/>
              <a:gd name="connsiteY86" fmla="*/ 123555 h 662520"/>
              <a:gd name="connsiteX87" fmla="*/ 955611 w 1360843"/>
              <a:gd name="connsiteY87" fmla="*/ 170853 h 662520"/>
              <a:gd name="connsiteX88" fmla="*/ 949453 w 1360843"/>
              <a:gd name="connsiteY88" fmla="*/ 219568 h 662520"/>
              <a:gd name="connsiteX89" fmla="*/ 931581 w 1360843"/>
              <a:gd name="connsiteY89" fmla="*/ 258234 h 662520"/>
              <a:gd name="connsiteX90" fmla="*/ 902895 w 1360843"/>
              <a:gd name="connsiteY90" fmla="*/ 287843 h 662520"/>
              <a:gd name="connsiteX91" fmla="*/ 864296 w 1360843"/>
              <a:gd name="connsiteY91" fmla="*/ 309388 h 662520"/>
              <a:gd name="connsiteX92" fmla="*/ 816686 w 1360843"/>
              <a:gd name="connsiteY92" fmla="*/ 323862 h 662520"/>
              <a:gd name="connsiteX93" fmla="*/ 816686 w 1360843"/>
              <a:gd name="connsiteY93" fmla="*/ 327609 h 662520"/>
              <a:gd name="connsiteX94" fmla="*/ 870681 w 1360843"/>
              <a:gd name="connsiteY94" fmla="*/ 340566 h 662520"/>
              <a:gd name="connsiteX95" fmla="*/ 912283 w 1360843"/>
              <a:gd name="connsiteY95" fmla="*/ 362534 h 662520"/>
              <a:gd name="connsiteX96" fmla="*/ 941719 w 1360843"/>
              <a:gd name="connsiteY96" fmla="*/ 393513 h 662520"/>
              <a:gd name="connsiteX97" fmla="*/ 959215 w 1360843"/>
              <a:gd name="connsiteY97" fmla="*/ 433502 h 662520"/>
              <a:gd name="connsiteX98" fmla="*/ 964996 w 1360843"/>
              <a:gd name="connsiteY98" fmla="*/ 482498 h 662520"/>
              <a:gd name="connsiteX99" fmla="*/ 959936 w 1360843"/>
              <a:gd name="connsiteY99" fmla="*/ 527743 h 662520"/>
              <a:gd name="connsiteX100" fmla="*/ 944659 w 1360843"/>
              <a:gd name="connsiteY100" fmla="*/ 567021 h 662520"/>
              <a:gd name="connsiteX101" fmla="*/ 920122 w 1360843"/>
              <a:gd name="connsiteY101" fmla="*/ 600232 h 662520"/>
              <a:gd name="connsiteX102" fmla="*/ 887285 w 1360843"/>
              <a:gd name="connsiteY102" fmla="*/ 627278 h 662520"/>
              <a:gd name="connsiteX103" fmla="*/ 847106 w 1360843"/>
              <a:gd name="connsiteY103" fmla="*/ 648061 h 662520"/>
              <a:gd name="connsiteX104" fmla="*/ 800544 w 1360843"/>
              <a:gd name="connsiteY104" fmla="*/ 662482 h 662520"/>
              <a:gd name="connsiteX105" fmla="*/ 1360843 w 1360843"/>
              <a:gd name="connsiteY105" fmla="*/ 662495 h 662520"/>
              <a:gd name="connsiteX0" fmla="*/ 348834 w 1360843"/>
              <a:gd name="connsiteY0" fmla="*/ 415691 h 662520"/>
              <a:gd name="connsiteX1" fmla="*/ 325357 w 1360843"/>
              <a:gd name="connsiteY1" fmla="*/ 385098 h 662520"/>
              <a:gd name="connsiteX2" fmla="*/ 289466 w 1360843"/>
              <a:gd name="connsiteY2" fmla="*/ 406117 h 662520"/>
              <a:gd name="connsiteX3" fmla="*/ 247767 w 1360843"/>
              <a:gd name="connsiteY3" fmla="*/ 419568 h 662520"/>
              <a:gd name="connsiteX4" fmla="*/ 200875 w 1360843"/>
              <a:gd name="connsiteY4" fmla="*/ 424306 h 662520"/>
              <a:gd name="connsiteX5" fmla="*/ 153099 w 1360843"/>
              <a:gd name="connsiteY5" fmla="*/ 420031 h 662520"/>
              <a:gd name="connsiteX6" fmla="*/ 110150 w 1360843"/>
              <a:gd name="connsiteY6" fmla="*/ 407348 h 662520"/>
              <a:gd name="connsiteX7" fmla="*/ 72948 w 1360843"/>
              <a:gd name="connsiteY7" fmla="*/ 386472 h 662520"/>
              <a:gd name="connsiteX8" fmla="*/ 42412 w 1360843"/>
              <a:gd name="connsiteY8" fmla="*/ 357614 h 662520"/>
              <a:gd name="connsiteX9" fmla="*/ 19463 w 1360843"/>
              <a:gd name="connsiteY9" fmla="*/ 320990 h 662520"/>
              <a:gd name="connsiteX10" fmla="*/ 5019 w 1360843"/>
              <a:gd name="connsiteY10" fmla="*/ 276814 h 662520"/>
              <a:gd name="connsiteX11" fmla="*/ 0 w 1360843"/>
              <a:gd name="connsiteY11" fmla="*/ 225297 h 662520"/>
              <a:gd name="connsiteX12" fmla="*/ 4447 w 1360843"/>
              <a:gd name="connsiteY12" fmla="*/ 178425 h 662520"/>
              <a:gd name="connsiteX13" fmla="*/ 17453 w 1360843"/>
              <a:gd name="connsiteY13" fmla="*/ 135445 h 662520"/>
              <a:gd name="connsiteX14" fmla="*/ 38511 w 1360843"/>
              <a:gd name="connsiteY14" fmla="*/ 97085 h 662520"/>
              <a:gd name="connsiteX15" fmla="*/ 67116 w 1360843"/>
              <a:gd name="connsiteY15" fmla="*/ 64071 h 662520"/>
              <a:gd name="connsiteX16" fmla="*/ 102760 w 1360843"/>
              <a:gd name="connsiteY16" fmla="*/ 37129 h 662520"/>
              <a:gd name="connsiteX17" fmla="*/ 144939 w 1360843"/>
              <a:gd name="connsiteY17" fmla="*/ 16986 h 662520"/>
              <a:gd name="connsiteX18" fmla="*/ 193146 w 1360843"/>
              <a:gd name="connsiteY18" fmla="*/ 4367 h 662520"/>
              <a:gd name="connsiteX19" fmla="*/ 246875 w 1360843"/>
              <a:gd name="connsiteY19" fmla="*/ 0 h 662520"/>
              <a:gd name="connsiteX20" fmla="*/ 290625 w 1360843"/>
              <a:gd name="connsiteY20" fmla="*/ 2882 h 662520"/>
              <a:gd name="connsiteX21" fmla="*/ 331492 w 1360843"/>
              <a:gd name="connsiteY21" fmla="*/ 11678 h 662520"/>
              <a:gd name="connsiteX22" fmla="*/ 369070 w 1360843"/>
              <a:gd name="connsiteY22" fmla="*/ 26614 h 662520"/>
              <a:gd name="connsiteX23" fmla="*/ 402953 w 1360843"/>
              <a:gd name="connsiteY23" fmla="*/ 47914 h 662520"/>
              <a:gd name="connsiteX24" fmla="*/ 432736 w 1360843"/>
              <a:gd name="connsiteY24" fmla="*/ 75804 h 662520"/>
              <a:gd name="connsiteX25" fmla="*/ 458013 w 1360843"/>
              <a:gd name="connsiteY25" fmla="*/ 110509 h 662520"/>
              <a:gd name="connsiteX26" fmla="*/ 478379 w 1360843"/>
              <a:gd name="connsiteY26" fmla="*/ 152255 h 662520"/>
              <a:gd name="connsiteX27" fmla="*/ 493429 w 1360843"/>
              <a:gd name="connsiteY27" fmla="*/ 201265 h 662520"/>
              <a:gd name="connsiteX28" fmla="*/ 502756 w 1360843"/>
              <a:gd name="connsiteY28" fmla="*/ 257766 h 662520"/>
              <a:gd name="connsiteX29" fmla="*/ 505955 w 1360843"/>
              <a:gd name="connsiteY29" fmla="*/ 321983 h 662520"/>
              <a:gd name="connsiteX30" fmla="*/ 503406 w 1360843"/>
              <a:gd name="connsiteY30" fmla="*/ 376707 h 662520"/>
              <a:gd name="connsiteX31" fmla="*/ 495858 w 1360843"/>
              <a:gd name="connsiteY31" fmla="*/ 427041 h 662520"/>
              <a:gd name="connsiteX32" fmla="*/ 483456 w 1360843"/>
              <a:gd name="connsiteY32" fmla="*/ 472909 h 662520"/>
              <a:gd name="connsiteX33" fmla="*/ 466346 w 1360843"/>
              <a:gd name="connsiteY33" fmla="*/ 514232 h 662520"/>
              <a:gd name="connsiteX34" fmla="*/ 444674 w 1360843"/>
              <a:gd name="connsiteY34" fmla="*/ 550937 h 662520"/>
              <a:gd name="connsiteX35" fmla="*/ 418587 w 1360843"/>
              <a:gd name="connsiteY35" fmla="*/ 582945 h 662520"/>
              <a:gd name="connsiteX36" fmla="*/ 388229 w 1360843"/>
              <a:gd name="connsiteY36" fmla="*/ 610181 h 662520"/>
              <a:gd name="connsiteX37" fmla="*/ 353748 w 1360843"/>
              <a:gd name="connsiteY37" fmla="*/ 632569 h 662520"/>
              <a:gd name="connsiteX38" fmla="*/ 315289 w 1360843"/>
              <a:gd name="connsiteY38" fmla="*/ 650033 h 662520"/>
              <a:gd name="connsiteX39" fmla="*/ 272999 w 1360843"/>
              <a:gd name="connsiteY39" fmla="*/ 662495 h 662520"/>
              <a:gd name="connsiteX40" fmla="*/ 592162 w 1360843"/>
              <a:gd name="connsiteY40" fmla="*/ 662520 h 662520"/>
              <a:gd name="connsiteX41" fmla="*/ 571167 w 1360843"/>
              <a:gd name="connsiteY41" fmla="*/ 658030 h 662520"/>
              <a:gd name="connsiteX42" fmla="*/ 551373 w 1360843"/>
              <a:gd name="connsiteY42" fmla="*/ 652783 h 662520"/>
              <a:gd name="connsiteX43" fmla="*/ 532537 w 1360843"/>
              <a:gd name="connsiteY43" fmla="*/ 646826 h 662520"/>
              <a:gd name="connsiteX44" fmla="*/ 514413 w 1360843"/>
              <a:gd name="connsiteY44" fmla="*/ 640206 h 662520"/>
              <a:gd name="connsiteX45" fmla="*/ 514413 w 1360843"/>
              <a:gd name="connsiteY45" fmla="*/ 516293 h 662520"/>
              <a:gd name="connsiteX46" fmla="*/ 596087 w 1360843"/>
              <a:gd name="connsiteY46" fmla="*/ 516293 h 662520"/>
              <a:gd name="connsiteX47" fmla="*/ 612203 w 1360843"/>
              <a:gd name="connsiteY47" fmla="*/ 539439 h 662520"/>
              <a:gd name="connsiteX48" fmla="*/ 635627 w 1360843"/>
              <a:gd name="connsiteY48" fmla="*/ 559242 h 662520"/>
              <a:gd name="connsiteX49" fmla="*/ 666972 w 1360843"/>
              <a:gd name="connsiteY49" fmla="*/ 573062 h 662520"/>
              <a:gd name="connsiteX50" fmla="*/ 706856 w 1360843"/>
              <a:gd name="connsiteY50" fmla="*/ 578256 h 662520"/>
              <a:gd name="connsiteX51" fmla="*/ 749359 w 1360843"/>
              <a:gd name="connsiteY51" fmla="*/ 571758 h 662520"/>
              <a:gd name="connsiteX52" fmla="*/ 784298 w 1360843"/>
              <a:gd name="connsiteY52" fmla="*/ 552322 h 662520"/>
              <a:gd name="connsiteX53" fmla="*/ 807972 w 1360843"/>
              <a:gd name="connsiteY53" fmla="*/ 520038 h 662520"/>
              <a:gd name="connsiteX54" fmla="*/ 816686 w 1360843"/>
              <a:gd name="connsiteY54" fmla="*/ 474992 h 662520"/>
              <a:gd name="connsiteX55" fmla="*/ 809424 w 1360843"/>
              <a:gd name="connsiteY55" fmla="*/ 430240 h 662520"/>
              <a:gd name="connsiteX56" fmla="*/ 787466 w 1360843"/>
              <a:gd name="connsiteY56" fmla="*/ 398602 h 662520"/>
              <a:gd name="connsiteX57" fmla="*/ 750549 w 1360843"/>
              <a:gd name="connsiteY57" fmla="*/ 379812 h 662520"/>
              <a:gd name="connsiteX58" fmla="*/ 698411 w 1360843"/>
              <a:gd name="connsiteY58" fmla="*/ 373608 h 662520"/>
              <a:gd name="connsiteX59" fmla="*/ 649592 w 1360843"/>
              <a:gd name="connsiteY59" fmla="*/ 373608 h 662520"/>
              <a:gd name="connsiteX60" fmla="*/ 649592 w 1360843"/>
              <a:gd name="connsiteY60" fmla="*/ 286308 h 662520"/>
              <a:gd name="connsiteX61" fmla="*/ 690892 w 1360843"/>
              <a:gd name="connsiteY61" fmla="*/ 286308 h 662520"/>
              <a:gd name="connsiteX62" fmla="*/ 744563 w 1360843"/>
              <a:gd name="connsiteY62" fmla="*/ 280133 h 662520"/>
              <a:gd name="connsiteX63" fmla="*/ 783007 w 1360843"/>
              <a:gd name="connsiteY63" fmla="*/ 261550 h 662520"/>
              <a:gd name="connsiteX64" fmla="*/ 806137 w 1360843"/>
              <a:gd name="connsiteY64" fmla="*/ 230469 h 662520"/>
              <a:gd name="connsiteX65" fmla="*/ 813866 w 1360843"/>
              <a:gd name="connsiteY65" fmla="*/ 186804 h 662520"/>
              <a:gd name="connsiteX66" fmla="*/ 808513 w 1360843"/>
              <a:gd name="connsiteY66" fmla="*/ 149115 h 662520"/>
              <a:gd name="connsiteX67" fmla="*/ 792160 w 1360843"/>
              <a:gd name="connsiteY67" fmla="*/ 121104 h 662520"/>
              <a:gd name="connsiteX68" fmla="*/ 764365 w 1360843"/>
              <a:gd name="connsiteY68" fmla="*/ 103651 h 662520"/>
              <a:gd name="connsiteX69" fmla="*/ 724687 w 1360843"/>
              <a:gd name="connsiteY69" fmla="*/ 97637 h 662520"/>
              <a:gd name="connsiteX70" fmla="*/ 687243 w 1360843"/>
              <a:gd name="connsiteY70" fmla="*/ 102374 h 662520"/>
              <a:gd name="connsiteX71" fmla="*/ 657456 w 1360843"/>
              <a:gd name="connsiteY71" fmla="*/ 115117 h 662520"/>
              <a:gd name="connsiteX72" fmla="*/ 634533 w 1360843"/>
              <a:gd name="connsiteY72" fmla="*/ 133668 h 662520"/>
              <a:gd name="connsiteX73" fmla="*/ 617677 w 1360843"/>
              <a:gd name="connsiteY73" fmla="*/ 155828 h 662520"/>
              <a:gd name="connsiteX74" fmla="*/ 539775 w 1360843"/>
              <a:gd name="connsiteY74" fmla="*/ 155828 h 662520"/>
              <a:gd name="connsiteX75" fmla="*/ 539775 w 1360843"/>
              <a:gd name="connsiteY75" fmla="*/ 33807 h 662520"/>
              <a:gd name="connsiteX76" fmla="*/ 584006 w 1360843"/>
              <a:gd name="connsiteY76" fmla="*/ 19813 h 662520"/>
              <a:gd name="connsiteX77" fmla="*/ 631056 w 1360843"/>
              <a:gd name="connsiteY77" fmla="*/ 9159 h 662520"/>
              <a:gd name="connsiteX78" fmla="*/ 681278 w 1360843"/>
              <a:gd name="connsiteY78" fmla="*/ 2378 h 662520"/>
              <a:gd name="connsiteX79" fmla="*/ 735025 w 1360843"/>
              <a:gd name="connsiteY79" fmla="*/ 0 h 662520"/>
              <a:gd name="connsiteX80" fmla="*/ 790395 w 1360843"/>
              <a:gd name="connsiteY80" fmla="*/ 3158 h 662520"/>
              <a:gd name="connsiteX81" fmla="*/ 838689 w 1360843"/>
              <a:gd name="connsiteY81" fmla="*/ 12853 h 662520"/>
              <a:gd name="connsiteX82" fmla="*/ 879380 w 1360843"/>
              <a:gd name="connsiteY82" fmla="*/ 29412 h 662520"/>
              <a:gd name="connsiteX83" fmla="*/ 911943 w 1360843"/>
              <a:gd name="connsiteY83" fmla="*/ 53163 h 662520"/>
              <a:gd name="connsiteX84" fmla="*/ 935853 w 1360843"/>
              <a:gd name="connsiteY84" fmla="*/ 84435 h 662520"/>
              <a:gd name="connsiteX85" fmla="*/ 950584 w 1360843"/>
              <a:gd name="connsiteY85" fmla="*/ 123555 h 662520"/>
              <a:gd name="connsiteX86" fmla="*/ 955611 w 1360843"/>
              <a:gd name="connsiteY86" fmla="*/ 170853 h 662520"/>
              <a:gd name="connsiteX87" fmla="*/ 949453 w 1360843"/>
              <a:gd name="connsiteY87" fmla="*/ 219568 h 662520"/>
              <a:gd name="connsiteX88" fmla="*/ 931581 w 1360843"/>
              <a:gd name="connsiteY88" fmla="*/ 258234 h 662520"/>
              <a:gd name="connsiteX89" fmla="*/ 902895 w 1360843"/>
              <a:gd name="connsiteY89" fmla="*/ 287843 h 662520"/>
              <a:gd name="connsiteX90" fmla="*/ 864296 w 1360843"/>
              <a:gd name="connsiteY90" fmla="*/ 309388 h 662520"/>
              <a:gd name="connsiteX91" fmla="*/ 816686 w 1360843"/>
              <a:gd name="connsiteY91" fmla="*/ 323862 h 662520"/>
              <a:gd name="connsiteX92" fmla="*/ 816686 w 1360843"/>
              <a:gd name="connsiteY92" fmla="*/ 327609 h 662520"/>
              <a:gd name="connsiteX93" fmla="*/ 870681 w 1360843"/>
              <a:gd name="connsiteY93" fmla="*/ 340566 h 662520"/>
              <a:gd name="connsiteX94" fmla="*/ 912283 w 1360843"/>
              <a:gd name="connsiteY94" fmla="*/ 362534 h 662520"/>
              <a:gd name="connsiteX95" fmla="*/ 941719 w 1360843"/>
              <a:gd name="connsiteY95" fmla="*/ 393513 h 662520"/>
              <a:gd name="connsiteX96" fmla="*/ 959215 w 1360843"/>
              <a:gd name="connsiteY96" fmla="*/ 433502 h 662520"/>
              <a:gd name="connsiteX97" fmla="*/ 964996 w 1360843"/>
              <a:gd name="connsiteY97" fmla="*/ 482498 h 662520"/>
              <a:gd name="connsiteX98" fmla="*/ 959936 w 1360843"/>
              <a:gd name="connsiteY98" fmla="*/ 527743 h 662520"/>
              <a:gd name="connsiteX99" fmla="*/ 944659 w 1360843"/>
              <a:gd name="connsiteY99" fmla="*/ 567021 h 662520"/>
              <a:gd name="connsiteX100" fmla="*/ 920122 w 1360843"/>
              <a:gd name="connsiteY100" fmla="*/ 600232 h 662520"/>
              <a:gd name="connsiteX101" fmla="*/ 887285 w 1360843"/>
              <a:gd name="connsiteY101" fmla="*/ 627278 h 662520"/>
              <a:gd name="connsiteX102" fmla="*/ 847106 w 1360843"/>
              <a:gd name="connsiteY102" fmla="*/ 648061 h 662520"/>
              <a:gd name="connsiteX103" fmla="*/ 800544 w 1360843"/>
              <a:gd name="connsiteY103" fmla="*/ 662482 h 662520"/>
              <a:gd name="connsiteX104" fmla="*/ 1360843 w 1360843"/>
              <a:gd name="connsiteY104" fmla="*/ 662495 h 662520"/>
              <a:gd name="connsiteX0" fmla="*/ 325357 w 1360843"/>
              <a:gd name="connsiteY0" fmla="*/ 385098 h 662520"/>
              <a:gd name="connsiteX1" fmla="*/ 289466 w 1360843"/>
              <a:gd name="connsiteY1" fmla="*/ 406117 h 662520"/>
              <a:gd name="connsiteX2" fmla="*/ 247767 w 1360843"/>
              <a:gd name="connsiteY2" fmla="*/ 419568 h 662520"/>
              <a:gd name="connsiteX3" fmla="*/ 200875 w 1360843"/>
              <a:gd name="connsiteY3" fmla="*/ 424306 h 662520"/>
              <a:gd name="connsiteX4" fmla="*/ 153099 w 1360843"/>
              <a:gd name="connsiteY4" fmla="*/ 420031 h 662520"/>
              <a:gd name="connsiteX5" fmla="*/ 110150 w 1360843"/>
              <a:gd name="connsiteY5" fmla="*/ 407348 h 662520"/>
              <a:gd name="connsiteX6" fmla="*/ 72948 w 1360843"/>
              <a:gd name="connsiteY6" fmla="*/ 386472 h 662520"/>
              <a:gd name="connsiteX7" fmla="*/ 42412 w 1360843"/>
              <a:gd name="connsiteY7" fmla="*/ 357614 h 662520"/>
              <a:gd name="connsiteX8" fmla="*/ 19463 w 1360843"/>
              <a:gd name="connsiteY8" fmla="*/ 320990 h 662520"/>
              <a:gd name="connsiteX9" fmla="*/ 5019 w 1360843"/>
              <a:gd name="connsiteY9" fmla="*/ 276814 h 662520"/>
              <a:gd name="connsiteX10" fmla="*/ 0 w 1360843"/>
              <a:gd name="connsiteY10" fmla="*/ 225297 h 662520"/>
              <a:gd name="connsiteX11" fmla="*/ 4447 w 1360843"/>
              <a:gd name="connsiteY11" fmla="*/ 178425 h 662520"/>
              <a:gd name="connsiteX12" fmla="*/ 17453 w 1360843"/>
              <a:gd name="connsiteY12" fmla="*/ 135445 h 662520"/>
              <a:gd name="connsiteX13" fmla="*/ 38511 w 1360843"/>
              <a:gd name="connsiteY13" fmla="*/ 97085 h 662520"/>
              <a:gd name="connsiteX14" fmla="*/ 67116 w 1360843"/>
              <a:gd name="connsiteY14" fmla="*/ 64071 h 662520"/>
              <a:gd name="connsiteX15" fmla="*/ 102760 w 1360843"/>
              <a:gd name="connsiteY15" fmla="*/ 37129 h 662520"/>
              <a:gd name="connsiteX16" fmla="*/ 144939 w 1360843"/>
              <a:gd name="connsiteY16" fmla="*/ 16986 h 662520"/>
              <a:gd name="connsiteX17" fmla="*/ 193146 w 1360843"/>
              <a:gd name="connsiteY17" fmla="*/ 4367 h 662520"/>
              <a:gd name="connsiteX18" fmla="*/ 246875 w 1360843"/>
              <a:gd name="connsiteY18" fmla="*/ 0 h 662520"/>
              <a:gd name="connsiteX19" fmla="*/ 290625 w 1360843"/>
              <a:gd name="connsiteY19" fmla="*/ 2882 h 662520"/>
              <a:gd name="connsiteX20" fmla="*/ 331492 w 1360843"/>
              <a:gd name="connsiteY20" fmla="*/ 11678 h 662520"/>
              <a:gd name="connsiteX21" fmla="*/ 369070 w 1360843"/>
              <a:gd name="connsiteY21" fmla="*/ 26614 h 662520"/>
              <a:gd name="connsiteX22" fmla="*/ 402953 w 1360843"/>
              <a:gd name="connsiteY22" fmla="*/ 47914 h 662520"/>
              <a:gd name="connsiteX23" fmla="*/ 432736 w 1360843"/>
              <a:gd name="connsiteY23" fmla="*/ 75804 h 662520"/>
              <a:gd name="connsiteX24" fmla="*/ 458013 w 1360843"/>
              <a:gd name="connsiteY24" fmla="*/ 110509 h 662520"/>
              <a:gd name="connsiteX25" fmla="*/ 478379 w 1360843"/>
              <a:gd name="connsiteY25" fmla="*/ 152255 h 662520"/>
              <a:gd name="connsiteX26" fmla="*/ 493429 w 1360843"/>
              <a:gd name="connsiteY26" fmla="*/ 201265 h 662520"/>
              <a:gd name="connsiteX27" fmla="*/ 502756 w 1360843"/>
              <a:gd name="connsiteY27" fmla="*/ 257766 h 662520"/>
              <a:gd name="connsiteX28" fmla="*/ 505955 w 1360843"/>
              <a:gd name="connsiteY28" fmla="*/ 321983 h 662520"/>
              <a:gd name="connsiteX29" fmla="*/ 503406 w 1360843"/>
              <a:gd name="connsiteY29" fmla="*/ 376707 h 662520"/>
              <a:gd name="connsiteX30" fmla="*/ 495858 w 1360843"/>
              <a:gd name="connsiteY30" fmla="*/ 427041 h 662520"/>
              <a:gd name="connsiteX31" fmla="*/ 483456 w 1360843"/>
              <a:gd name="connsiteY31" fmla="*/ 472909 h 662520"/>
              <a:gd name="connsiteX32" fmla="*/ 466346 w 1360843"/>
              <a:gd name="connsiteY32" fmla="*/ 514232 h 662520"/>
              <a:gd name="connsiteX33" fmla="*/ 444674 w 1360843"/>
              <a:gd name="connsiteY33" fmla="*/ 550937 h 662520"/>
              <a:gd name="connsiteX34" fmla="*/ 418587 w 1360843"/>
              <a:gd name="connsiteY34" fmla="*/ 582945 h 662520"/>
              <a:gd name="connsiteX35" fmla="*/ 388229 w 1360843"/>
              <a:gd name="connsiteY35" fmla="*/ 610181 h 662520"/>
              <a:gd name="connsiteX36" fmla="*/ 353748 w 1360843"/>
              <a:gd name="connsiteY36" fmla="*/ 632569 h 662520"/>
              <a:gd name="connsiteX37" fmla="*/ 315289 w 1360843"/>
              <a:gd name="connsiteY37" fmla="*/ 650033 h 662520"/>
              <a:gd name="connsiteX38" fmla="*/ 272999 w 1360843"/>
              <a:gd name="connsiteY38" fmla="*/ 662495 h 662520"/>
              <a:gd name="connsiteX39" fmla="*/ 592162 w 1360843"/>
              <a:gd name="connsiteY39" fmla="*/ 662520 h 662520"/>
              <a:gd name="connsiteX40" fmla="*/ 571167 w 1360843"/>
              <a:gd name="connsiteY40" fmla="*/ 658030 h 662520"/>
              <a:gd name="connsiteX41" fmla="*/ 551373 w 1360843"/>
              <a:gd name="connsiteY41" fmla="*/ 652783 h 662520"/>
              <a:gd name="connsiteX42" fmla="*/ 532537 w 1360843"/>
              <a:gd name="connsiteY42" fmla="*/ 646826 h 662520"/>
              <a:gd name="connsiteX43" fmla="*/ 514413 w 1360843"/>
              <a:gd name="connsiteY43" fmla="*/ 640206 h 662520"/>
              <a:gd name="connsiteX44" fmla="*/ 514413 w 1360843"/>
              <a:gd name="connsiteY44" fmla="*/ 516293 h 662520"/>
              <a:gd name="connsiteX45" fmla="*/ 596087 w 1360843"/>
              <a:gd name="connsiteY45" fmla="*/ 516293 h 662520"/>
              <a:gd name="connsiteX46" fmla="*/ 612203 w 1360843"/>
              <a:gd name="connsiteY46" fmla="*/ 539439 h 662520"/>
              <a:gd name="connsiteX47" fmla="*/ 635627 w 1360843"/>
              <a:gd name="connsiteY47" fmla="*/ 559242 h 662520"/>
              <a:gd name="connsiteX48" fmla="*/ 666972 w 1360843"/>
              <a:gd name="connsiteY48" fmla="*/ 573062 h 662520"/>
              <a:gd name="connsiteX49" fmla="*/ 706856 w 1360843"/>
              <a:gd name="connsiteY49" fmla="*/ 578256 h 662520"/>
              <a:gd name="connsiteX50" fmla="*/ 749359 w 1360843"/>
              <a:gd name="connsiteY50" fmla="*/ 571758 h 662520"/>
              <a:gd name="connsiteX51" fmla="*/ 784298 w 1360843"/>
              <a:gd name="connsiteY51" fmla="*/ 552322 h 662520"/>
              <a:gd name="connsiteX52" fmla="*/ 807972 w 1360843"/>
              <a:gd name="connsiteY52" fmla="*/ 520038 h 662520"/>
              <a:gd name="connsiteX53" fmla="*/ 816686 w 1360843"/>
              <a:gd name="connsiteY53" fmla="*/ 474992 h 662520"/>
              <a:gd name="connsiteX54" fmla="*/ 809424 w 1360843"/>
              <a:gd name="connsiteY54" fmla="*/ 430240 h 662520"/>
              <a:gd name="connsiteX55" fmla="*/ 787466 w 1360843"/>
              <a:gd name="connsiteY55" fmla="*/ 398602 h 662520"/>
              <a:gd name="connsiteX56" fmla="*/ 750549 w 1360843"/>
              <a:gd name="connsiteY56" fmla="*/ 379812 h 662520"/>
              <a:gd name="connsiteX57" fmla="*/ 698411 w 1360843"/>
              <a:gd name="connsiteY57" fmla="*/ 373608 h 662520"/>
              <a:gd name="connsiteX58" fmla="*/ 649592 w 1360843"/>
              <a:gd name="connsiteY58" fmla="*/ 373608 h 662520"/>
              <a:gd name="connsiteX59" fmla="*/ 649592 w 1360843"/>
              <a:gd name="connsiteY59" fmla="*/ 286308 h 662520"/>
              <a:gd name="connsiteX60" fmla="*/ 690892 w 1360843"/>
              <a:gd name="connsiteY60" fmla="*/ 286308 h 662520"/>
              <a:gd name="connsiteX61" fmla="*/ 744563 w 1360843"/>
              <a:gd name="connsiteY61" fmla="*/ 280133 h 662520"/>
              <a:gd name="connsiteX62" fmla="*/ 783007 w 1360843"/>
              <a:gd name="connsiteY62" fmla="*/ 261550 h 662520"/>
              <a:gd name="connsiteX63" fmla="*/ 806137 w 1360843"/>
              <a:gd name="connsiteY63" fmla="*/ 230469 h 662520"/>
              <a:gd name="connsiteX64" fmla="*/ 813866 w 1360843"/>
              <a:gd name="connsiteY64" fmla="*/ 186804 h 662520"/>
              <a:gd name="connsiteX65" fmla="*/ 808513 w 1360843"/>
              <a:gd name="connsiteY65" fmla="*/ 149115 h 662520"/>
              <a:gd name="connsiteX66" fmla="*/ 792160 w 1360843"/>
              <a:gd name="connsiteY66" fmla="*/ 121104 h 662520"/>
              <a:gd name="connsiteX67" fmla="*/ 764365 w 1360843"/>
              <a:gd name="connsiteY67" fmla="*/ 103651 h 662520"/>
              <a:gd name="connsiteX68" fmla="*/ 724687 w 1360843"/>
              <a:gd name="connsiteY68" fmla="*/ 97637 h 662520"/>
              <a:gd name="connsiteX69" fmla="*/ 687243 w 1360843"/>
              <a:gd name="connsiteY69" fmla="*/ 102374 h 662520"/>
              <a:gd name="connsiteX70" fmla="*/ 657456 w 1360843"/>
              <a:gd name="connsiteY70" fmla="*/ 115117 h 662520"/>
              <a:gd name="connsiteX71" fmla="*/ 634533 w 1360843"/>
              <a:gd name="connsiteY71" fmla="*/ 133668 h 662520"/>
              <a:gd name="connsiteX72" fmla="*/ 617677 w 1360843"/>
              <a:gd name="connsiteY72" fmla="*/ 155828 h 662520"/>
              <a:gd name="connsiteX73" fmla="*/ 539775 w 1360843"/>
              <a:gd name="connsiteY73" fmla="*/ 155828 h 662520"/>
              <a:gd name="connsiteX74" fmla="*/ 539775 w 1360843"/>
              <a:gd name="connsiteY74" fmla="*/ 33807 h 662520"/>
              <a:gd name="connsiteX75" fmla="*/ 584006 w 1360843"/>
              <a:gd name="connsiteY75" fmla="*/ 19813 h 662520"/>
              <a:gd name="connsiteX76" fmla="*/ 631056 w 1360843"/>
              <a:gd name="connsiteY76" fmla="*/ 9159 h 662520"/>
              <a:gd name="connsiteX77" fmla="*/ 681278 w 1360843"/>
              <a:gd name="connsiteY77" fmla="*/ 2378 h 662520"/>
              <a:gd name="connsiteX78" fmla="*/ 735025 w 1360843"/>
              <a:gd name="connsiteY78" fmla="*/ 0 h 662520"/>
              <a:gd name="connsiteX79" fmla="*/ 790395 w 1360843"/>
              <a:gd name="connsiteY79" fmla="*/ 3158 h 662520"/>
              <a:gd name="connsiteX80" fmla="*/ 838689 w 1360843"/>
              <a:gd name="connsiteY80" fmla="*/ 12853 h 662520"/>
              <a:gd name="connsiteX81" fmla="*/ 879380 w 1360843"/>
              <a:gd name="connsiteY81" fmla="*/ 29412 h 662520"/>
              <a:gd name="connsiteX82" fmla="*/ 911943 w 1360843"/>
              <a:gd name="connsiteY82" fmla="*/ 53163 h 662520"/>
              <a:gd name="connsiteX83" fmla="*/ 935853 w 1360843"/>
              <a:gd name="connsiteY83" fmla="*/ 84435 h 662520"/>
              <a:gd name="connsiteX84" fmla="*/ 950584 w 1360843"/>
              <a:gd name="connsiteY84" fmla="*/ 123555 h 662520"/>
              <a:gd name="connsiteX85" fmla="*/ 955611 w 1360843"/>
              <a:gd name="connsiteY85" fmla="*/ 170853 h 662520"/>
              <a:gd name="connsiteX86" fmla="*/ 949453 w 1360843"/>
              <a:gd name="connsiteY86" fmla="*/ 219568 h 662520"/>
              <a:gd name="connsiteX87" fmla="*/ 931581 w 1360843"/>
              <a:gd name="connsiteY87" fmla="*/ 258234 h 662520"/>
              <a:gd name="connsiteX88" fmla="*/ 902895 w 1360843"/>
              <a:gd name="connsiteY88" fmla="*/ 287843 h 662520"/>
              <a:gd name="connsiteX89" fmla="*/ 864296 w 1360843"/>
              <a:gd name="connsiteY89" fmla="*/ 309388 h 662520"/>
              <a:gd name="connsiteX90" fmla="*/ 816686 w 1360843"/>
              <a:gd name="connsiteY90" fmla="*/ 323862 h 662520"/>
              <a:gd name="connsiteX91" fmla="*/ 816686 w 1360843"/>
              <a:gd name="connsiteY91" fmla="*/ 327609 h 662520"/>
              <a:gd name="connsiteX92" fmla="*/ 870681 w 1360843"/>
              <a:gd name="connsiteY92" fmla="*/ 340566 h 662520"/>
              <a:gd name="connsiteX93" fmla="*/ 912283 w 1360843"/>
              <a:gd name="connsiteY93" fmla="*/ 362534 h 662520"/>
              <a:gd name="connsiteX94" fmla="*/ 941719 w 1360843"/>
              <a:gd name="connsiteY94" fmla="*/ 393513 h 662520"/>
              <a:gd name="connsiteX95" fmla="*/ 959215 w 1360843"/>
              <a:gd name="connsiteY95" fmla="*/ 433502 h 662520"/>
              <a:gd name="connsiteX96" fmla="*/ 964996 w 1360843"/>
              <a:gd name="connsiteY96" fmla="*/ 482498 h 662520"/>
              <a:gd name="connsiteX97" fmla="*/ 959936 w 1360843"/>
              <a:gd name="connsiteY97" fmla="*/ 527743 h 662520"/>
              <a:gd name="connsiteX98" fmla="*/ 944659 w 1360843"/>
              <a:gd name="connsiteY98" fmla="*/ 567021 h 662520"/>
              <a:gd name="connsiteX99" fmla="*/ 920122 w 1360843"/>
              <a:gd name="connsiteY99" fmla="*/ 600232 h 662520"/>
              <a:gd name="connsiteX100" fmla="*/ 887285 w 1360843"/>
              <a:gd name="connsiteY100" fmla="*/ 627278 h 662520"/>
              <a:gd name="connsiteX101" fmla="*/ 847106 w 1360843"/>
              <a:gd name="connsiteY101" fmla="*/ 648061 h 662520"/>
              <a:gd name="connsiteX102" fmla="*/ 800544 w 1360843"/>
              <a:gd name="connsiteY102" fmla="*/ 662482 h 662520"/>
              <a:gd name="connsiteX103" fmla="*/ 1360843 w 1360843"/>
              <a:gd name="connsiteY103" fmla="*/ 662495 h 662520"/>
              <a:gd name="connsiteX0" fmla="*/ 289466 w 1360843"/>
              <a:gd name="connsiteY0" fmla="*/ 406117 h 662520"/>
              <a:gd name="connsiteX1" fmla="*/ 247767 w 1360843"/>
              <a:gd name="connsiteY1" fmla="*/ 419568 h 662520"/>
              <a:gd name="connsiteX2" fmla="*/ 200875 w 1360843"/>
              <a:gd name="connsiteY2" fmla="*/ 424306 h 662520"/>
              <a:gd name="connsiteX3" fmla="*/ 153099 w 1360843"/>
              <a:gd name="connsiteY3" fmla="*/ 420031 h 662520"/>
              <a:gd name="connsiteX4" fmla="*/ 110150 w 1360843"/>
              <a:gd name="connsiteY4" fmla="*/ 407348 h 662520"/>
              <a:gd name="connsiteX5" fmla="*/ 72948 w 1360843"/>
              <a:gd name="connsiteY5" fmla="*/ 386472 h 662520"/>
              <a:gd name="connsiteX6" fmla="*/ 42412 w 1360843"/>
              <a:gd name="connsiteY6" fmla="*/ 357614 h 662520"/>
              <a:gd name="connsiteX7" fmla="*/ 19463 w 1360843"/>
              <a:gd name="connsiteY7" fmla="*/ 320990 h 662520"/>
              <a:gd name="connsiteX8" fmla="*/ 5019 w 1360843"/>
              <a:gd name="connsiteY8" fmla="*/ 276814 h 662520"/>
              <a:gd name="connsiteX9" fmla="*/ 0 w 1360843"/>
              <a:gd name="connsiteY9" fmla="*/ 225297 h 662520"/>
              <a:gd name="connsiteX10" fmla="*/ 4447 w 1360843"/>
              <a:gd name="connsiteY10" fmla="*/ 178425 h 662520"/>
              <a:gd name="connsiteX11" fmla="*/ 17453 w 1360843"/>
              <a:gd name="connsiteY11" fmla="*/ 135445 h 662520"/>
              <a:gd name="connsiteX12" fmla="*/ 38511 w 1360843"/>
              <a:gd name="connsiteY12" fmla="*/ 97085 h 662520"/>
              <a:gd name="connsiteX13" fmla="*/ 67116 w 1360843"/>
              <a:gd name="connsiteY13" fmla="*/ 64071 h 662520"/>
              <a:gd name="connsiteX14" fmla="*/ 102760 w 1360843"/>
              <a:gd name="connsiteY14" fmla="*/ 37129 h 662520"/>
              <a:gd name="connsiteX15" fmla="*/ 144939 w 1360843"/>
              <a:gd name="connsiteY15" fmla="*/ 16986 h 662520"/>
              <a:gd name="connsiteX16" fmla="*/ 193146 w 1360843"/>
              <a:gd name="connsiteY16" fmla="*/ 4367 h 662520"/>
              <a:gd name="connsiteX17" fmla="*/ 246875 w 1360843"/>
              <a:gd name="connsiteY17" fmla="*/ 0 h 662520"/>
              <a:gd name="connsiteX18" fmla="*/ 290625 w 1360843"/>
              <a:gd name="connsiteY18" fmla="*/ 2882 h 662520"/>
              <a:gd name="connsiteX19" fmla="*/ 331492 w 1360843"/>
              <a:gd name="connsiteY19" fmla="*/ 11678 h 662520"/>
              <a:gd name="connsiteX20" fmla="*/ 369070 w 1360843"/>
              <a:gd name="connsiteY20" fmla="*/ 26614 h 662520"/>
              <a:gd name="connsiteX21" fmla="*/ 402953 w 1360843"/>
              <a:gd name="connsiteY21" fmla="*/ 47914 h 662520"/>
              <a:gd name="connsiteX22" fmla="*/ 432736 w 1360843"/>
              <a:gd name="connsiteY22" fmla="*/ 75804 h 662520"/>
              <a:gd name="connsiteX23" fmla="*/ 458013 w 1360843"/>
              <a:gd name="connsiteY23" fmla="*/ 110509 h 662520"/>
              <a:gd name="connsiteX24" fmla="*/ 478379 w 1360843"/>
              <a:gd name="connsiteY24" fmla="*/ 152255 h 662520"/>
              <a:gd name="connsiteX25" fmla="*/ 493429 w 1360843"/>
              <a:gd name="connsiteY25" fmla="*/ 201265 h 662520"/>
              <a:gd name="connsiteX26" fmla="*/ 502756 w 1360843"/>
              <a:gd name="connsiteY26" fmla="*/ 257766 h 662520"/>
              <a:gd name="connsiteX27" fmla="*/ 505955 w 1360843"/>
              <a:gd name="connsiteY27" fmla="*/ 321983 h 662520"/>
              <a:gd name="connsiteX28" fmla="*/ 503406 w 1360843"/>
              <a:gd name="connsiteY28" fmla="*/ 376707 h 662520"/>
              <a:gd name="connsiteX29" fmla="*/ 495858 w 1360843"/>
              <a:gd name="connsiteY29" fmla="*/ 427041 h 662520"/>
              <a:gd name="connsiteX30" fmla="*/ 483456 w 1360843"/>
              <a:gd name="connsiteY30" fmla="*/ 472909 h 662520"/>
              <a:gd name="connsiteX31" fmla="*/ 466346 w 1360843"/>
              <a:gd name="connsiteY31" fmla="*/ 514232 h 662520"/>
              <a:gd name="connsiteX32" fmla="*/ 444674 w 1360843"/>
              <a:gd name="connsiteY32" fmla="*/ 550937 h 662520"/>
              <a:gd name="connsiteX33" fmla="*/ 418587 w 1360843"/>
              <a:gd name="connsiteY33" fmla="*/ 582945 h 662520"/>
              <a:gd name="connsiteX34" fmla="*/ 388229 w 1360843"/>
              <a:gd name="connsiteY34" fmla="*/ 610181 h 662520"/>
              <a:gd name="connsiteX35" fmla="*/ 353748 w 1360843"/>
              <a:gd name="connsiteY35" fmla="*/ 632569 h 662520"/>
              <a:gd name="connsiteX36" fmla="*/ 315289 w 1360843"/>
              <a:gd name="connsiteY36" fmla="*/ 650033 h 662520"/>
              <a:gd name="connsiteX37" fmla="*/ 272999 w 1360843"/>
              <a:gd name="connsiteY37" fmla="*/ 662495 h 662520"/>
              <a:gd name="connsiteX38" fmla="*/ 592162 w 1360843"/>
              <a:gd name="connsiteY38" fmla="*/ 662520 h 662520"/>
              <a:gd name="connsiteX39" fmla="*/ 571167 w 1360843"/>
              <a:gd name="connsiteY39" fmla="*/ 658030 h 662520"/>
              <a:gd name="connsiteX40" fmla="*/ 551373 w 1360843"/>
              <a:gd name="connsiteY40" fmla="*/ 652783 h 662520"/>
              <a:gd name="connsiteX41" fmla="*/ 532537 w 1360843"/>
              <a:gd name="connsiteY41" fmla="*/ 646826 h 662520"/>
              <a:gd name="connsiteX42" fmla="*/ 514413 w 1360843"/>
              <a:gd name="connsiteY42" fmla="*/ 640206 h 662520"/>
              <a:gd name="connsiteX43" fmla="*/ 514413 w 1360843"/>
              <a:gd name="connsiteY43" fmla="*/ 516293 h 662520"/>
              <a:gd name="connsiteX44" fmla="*/ 596087 w 1360843"/>
              <a:gd name="connsiteY44" fmla="*/ 516293 h 662520"/>
              <a:gd name="connsiteX45" fmla="*/ 612203 w 1360843"/>
              <a:gd name="connsiteY45" fmla="*/ 539439 h 662520"/>
              <a:gd name="connsiteX46" fmla="*/ 635627 w 1360843"/>
              <a:gd name="connsiteY46" fmla="*/ 559242 h 662520"/>
              <a:gd name="connsiteX47" fmla="*/ 666972 w 1360843"/>
              <a:gd name="connsiteY47" fmla="*/ 573062 h 662520"/>
              <a:gd name="connsiteX48" fmla="*/ 706856 w 1360843"/>
              <a:gd name="connsiteY48" fmla="*/ 578256 h 662520"/>
              <a:gd name="connsiteX49" fmla="*/ 749359 w 1360843"/>
              <a:gd name="connsiteY49" fmla="*/ 571758 h 662520"/>
              <a:gd name="connsiteX50" fmla="*/ 784298 w 1360843"/>
              <a:gd name="connsiteY50" fmla="*/ 552322 h 662520"/>
              <a:gd name="connsiteX51" fmla="*/ 807972 w 1360843"/>
              <a:gd name="connsiteY51" fmla="*/ 520038 h 662520"/>
              <a:gd name="connsiteX52" fmla="*/ 816686 w 1360843"/>
              <a:gd name="connsiteY52" fmla="*/ 474992 h 662520"/>
              <a:gd name="connsiteX53" fmla="*/ 809424 w 1360843"/>
              <a:gd name="connsiteY53" fmla="*/ 430240 h 662520"/>
              <a:gd name="connsiteX54" fmla="*/ 787466 w 1360843"/>
              <a:gd name="connsiteY54" fmla="*/ 398602 h 662520"/>
              <a:gd name="connsiteX55" fmla="*/ 750549 w 1360843"/>
              <a:gd name="connsiteY55" fmla="*/ 379812 h 662520"/>
              <a:gd name="connsiteX56" fmla="*/ 698411 w 1360843"/>
              <a:gd name="connsiteY56" fmla="*/ 373608 h 662520"/>
              <a:gd name="connsiteX57" fmla="*/ 649592 w 1360843"/>
              <a:gd name="connsiteY57" fmla="*/ 373608 h 662520"/>
              <a:gd name="connsiteX58" fmla="*/ 649592 w 1360843"/>
              <a:gd name="connsiteY58" fmla="*/ 286308 h 662520"/>
              <a:gd name="connsiteX59" fmla="*/ 690892 w 1360843"/>
              <a:gd name="connsiteY59" fmla="*/ 286308 h 662520"/>
              <a:gd name="connsiteX60" fmla="*/ 744563 w 1360843"/>
              <a:gd name="connsiteY60" fmla="*/ 280133 h 662520"/>
              <a:gd name="connsiteX61" fmla="*/ 783007 w 1360843"/>
              <a:gd name="connsiteY61" fmla="*/ 261550 h 662520"/>
              <a:gd name="connsiteX62" fmla="*/ 806137 w 1360843"/>
              <a:gd name="connsiteY62" fmla="*/ 230469 h 662520"/>
              <a:gd name="connsiteX63" fmla="*/ 813866 w 1360843"/>
              <a:gd name="connsiteY63" fmla="*/ 186804 h 662520"/>
              <a:gd name="connsiteX64" fmla="*/ 808513 w 1360843"/>
              <a:gd name="connsiteY64" fmla="*/ 149115 h 662520"/>
              <a:gd name="connsiteX65" fmla="*/ 792160 w 1360843"/>
              <a:gd name="connsiteY65" fmla="*/ 121104 h 662520"/>
              <a:gd name="connsiteX66" fmla="*/ 764365 w 1360843"/>
              <a:gd name="connsiteY66" fmla="*/ 103651 h 662520"/>
              <a:gd name="connsiteX67" fmla="*/ 724687 w 1360843"/>
              <a:gd name="connsiteY67" fmla="*/ 97637 h 662520"/>
              <a:gd name="connsiteX68" fmla="*/ 687243 w 1360843"/>
              <a:gd name="connsiteY68" fmla="*/ 102374 h 662520"/>
              <a:gd name="connsiteX69" fmla="*/ 657456 w 1360843"/>
              <a:gd name="connsiteY69" fmla="*/ 115117 h 662520"/>
              <a:gd name="connsiteX70" fmla="*/ 634533 w 1360843"/>
              <a:gd name="connsiteY70" fmla="*/ 133668 h 662520"/>
              <a:gd name="connsiteX71" fmla="*/ 617677 w 1360843"/>
              <a:gd name="connsiteY71" fmla="*/ 155828 h 662520"/>
              <a:gd name="connsiteX72" fmla="*/ 539775 w 1360843"/>
              <a:gd name="connsiteY72" fmla="*/ 155828 h 662520"/>
              <a:gd name="connsiteX73" fmla="*/ 539775 w 1360843"/>
              <a:gd name="connsiteY73" fmla="*/ 33807 h 662520"/>
              <a:gd name="connsiteX74" fmla="*/ 584006 w 1360843"/>
              <a:gd name="connsiteY74" fmla="*/ 19813 h 662520"/>
              <a:gd name="connsiteX75" fmla="*/ 631056 w 1360843"/>
              <a:gd name="connsiteY75" fmla="*/ 9159 h 662520"/>
              <a:gd name="connsiteX76" fmla="*/ 681278 w 1360843"/>
              <a:gd name="connsiteY76" fmla="*/ 2378 h 662520"/>
              <a:gd name="connsiteX77" fmla="*/ 735025 w 1360843"/>
              <a:gd name="connsiteY77" fmla="*/ 0 h 662520"/>
              <a:gd name="connsiteX78" fmla="*/ 790395 w 1360843"/>
              <a:gd name="connsiteY78" fmla="*/ 3158 h 662520"/>
              <a:gd name="connsiteX79" fmla="*/ 838689 w 1360843"/>
              <a:gd name="connsiteY79" fmla="*/ 12853 h 662520"/>
              <a:gd name="connsiteX80" fmla="*/ 879380 w 1360843"/>
              <a:gd name="connsiteY80" fmla="*/ 29412 h 662520"/>
              <a:gd name="connsiteX81" fmla="*/ 911943 w 1360843"/>
              <a:gd name="connsiteY81" fmla="*/ 53163 h 662520"/>
              <a:gd name="connsiteX82" fmla="*/ 935853 w 1360843"/>
              <a:gd name="connsiteY82" fmla="*/ 84435 h 662520"/>
              <a:gd name="connsiteX83" fmla="*/ 950584 w 1360843"/>
              <a:gd name="connsiteY83" fmla="*/ 123555 h 662520"/>
              <a:gd name="connsiteX84" fmla="*/ 955611 w 1360843"/>
              <a:gd name="connsiteY84" fmla="*/ 170853 h 662520"/>
              <a:gd name="connsiteX85" fmla="*/ 949453 w 1360843"/>
              <a:gd name="connsiteY85" fmla="*/ 219568 h 662520"/>
              <a:gd name="connsiteX86" fmla="*/ 931581 w 1360843"/>
              <a:gd name="connsiteY86" fmla="*/ 258234 h 662520"/>
              <a:gd name="connsiteX87" fmla="*/ 902895 w 1360843"/>
              <a:gd name="connsiteY87" fmla="*/ 287843 h 662520"/>
              <a:gd name="connsiteX88" fmla="*/ 864296 w 1360843"/>
              <a:gd name="connsiteY88" fmla="*/ 309388 h 662520"/>
              <a:gd name="connsiteX89" fmla="*/ 816686 w 1360843"/>
              <a:gd name="connsiteY89" fmla="*/ 323862 h 662520"/>
              <a:gd name="connsiteX90" fmla="*/ 816686 w 1360843"/>
              <a:gd name="connsiteY90" fmla="*/ 327609 h 662520"/>
              <a:gd name="connsiteX91" fmla="*/ 870681 w 1360843"/>
              <a:gd name="connsiteY91" fmla="*/ 340566 h 662520"/>
              <a:gd name="connsiteX92" fmla="*/ 912283 w 1360843"/>
              <a:gd name="connsiteY92" fmla="*/ 362534 h 662520"/>
              <a:gd name="connsiteX93" fmla="*/ 941719 w 1360843"/>
              <a:gd name="connsiteY93" fmla="*/ 393513 h 662520"/>
              <a:gd name="connsiteX94" fmla="*/ 959215 w 1360843"/>
              <a:gd name="connsiteY94" fmla="*/ 433502 h 662520"/>
              <a:gd name="connsiteX95" fmla="*/ 964996 w 1360843"/>
              <a:gd name="connsiteY95" fmla="*/ 482498 h 662520"/>
              <a:gd name="connsiteX96" fmla="*/ 959936 w 1360843"/>
              <a:gd name="connsiteY96" fmla="*/ 527743 h 662520"/>
              <a:gd name="connsiteX97" fmla="*/ 944659 w 1360843"/>
              <a:gd name="connsiteY97" fmla="*/ 567021 h 662520"/>
              <a:gd name="connsiteX98" fmla="*/ 920122 w 1360843"/>
              <a:gd name="connsiteY98" fmla="*/ 600232 h 662520"/>
              <a:gd name="connsiteX99" fmla="*/ 887285 w 1360843"/>
              <a:gd name="connsiteY99" fmla="*/ 627278 h 662520"/>
              <a:gd name="connsiteX100" fmla="*/ 847106 w 1360843"/>
              <a:gd name="connsiteY100" fmla="*/ 648061 h 662520"/>
              <a:gd name="connsiteX101" fmla="*/ 800544 w 1360843"/>
              <a:gd name="connsiteY101" fmla="*/ 662482 h 662520"/>
              <a:gd name="connsiteX102" fmla="*/ 1360843 w 1360843"/>
              <a:gd name="connsiteY102" fmla="*/ 662495 h 662520"/>
              <a:gd name="connsiteX0" fmla="*/ 247767 w 1360843"/>
              <a:gd name="connsiteY0" fmla="*/ 419568 h 662520"/>
              <a:gd name="connsiteX1" fmla="*/ 200875 w 1360843"/>
              <a:gd name="connsiteY1" fmla="*/ 424306 h 662520"/>
              <a:gd name="connsiteX2" fmla="*/ 153099 w 1360843"/>
              <a:gd name="connsiteY2" fmla="*/ 420031 h 662520"/>
              <a:gd name="connsiteX3" fmla="*/ 110150 w 1360843"/>
              <a:gd name="connsiteY3" fmla="*/ 407348 h 662520"/>
              <a:gd name="connsiteX4" fmla="*/ 72948 w 1360843"/>
              <a:gd name="connsiteY4" fmla="*/ 386472 h 662520"/>
              <a:gd name="connsiteX5" fmla="*/ 42412 w 1360843"/>
              <a:gd name="connsiteY5" fmla="*/ 357614 h 662520"/>
              <a:gd name="connsiteX6" fmla="*/ 19463 w 1360843"/>
              <a:gd name="connsiteY6" fmla="*/ 320990 h 662520"/>
              <a:gd name="connsiteX7" fmla="*/ 5019 w 1360843"/>
              <a:gd name="connsiteY7" fmla="*/ 276814 h 662520"/>
              <a:gd name="connsiteX8" fmla="*/ 0 w 1360843"/>
              <a:gd name="connsiteY8" fmla="*/ 225297 h 662520"/>
              <a:gd name="connsiteX9" fmla="*/ 4447 w 1360843"/>
              <a:gd name="connsiteY9" fmla="*/ 178425 h 662520"/>
              <a:gd name="connsiteX10" fmla="*/ 17453 w 1360843"/>
              <a:gd name="connsiteY10" fmla="*/ 135445 h 662520"/>
              <a:gd name="connsiteX11" fmla="*/ 38511 w 1360843"/>
              <a:gd name="connsiteY11" fmla="*/ 97085 h 662520"/>
              <a:gd name="connsiteX12" fmla="*/ 67116 w 1360843"/>
              <a:gd name="connsiteY12" fmla="*/ 64071 h 662520"/>
              <a:gd name="connsiteX13" fmla="*/ 102760 w 1360843"/>
              <a:gd name="connsiteY13" fmla="*/ 37129 h 662520"/>
              <a:gd name="connsiteX14" fmla="*/ 144939 w 1360843"/>
              <a:gd name="connsiteY14" fmla="*/ 16986 h 662520"/>
              <a:gd name="connsiteX15" fmla="*/ 193146 w 1360843"/>
              <a:gd name="connsiteY15" fmla="*/ 4367 h 662520"/>
              <a:gd name="connsiteX16" fmla="*/ 246875 w 1360843"/>
              <a:gd name="connsiteY16" fmla="*/ 0 h 662520"/>
              <a:gd name="connsiteX17" fmla="*/ 290625 w 1360843"/>
              <a:gd name="connsiteY17" fmla="*/ 2882 h 662520"/>
              <a:gd name="connsiteX18" fmla="*/ 331492 w 1360843"/>
              <a:gd name="connsiteY18" fmla="*/ 11678 h 662520"/>
              <a:gd name="connsiteX19" fmla="*/ 369070 w 1360843"/>
              <a:gd name="connsiteY19" fmla="*/ 26614 h 662520"/>
              <a:gd name="connsiteX20" fmla="*/ 402953 w 1360843"/>
              <a:gd name="connsiteY20" fmla="*/ 47914 h 662520"/>
              <a:gd name="connsiteX21" fmla="*/ 432736 w 1360843"/>
              <a:gd name="connsiteY21" fmla="*/ 75804 h 662520"/>
              <a:gd name="connsiteX22" fmla="*/ 458013 w 1360843"/>
              <a:gd name="connsiteY22" fmla="*/ 110509 h 662520"/>
              <a:gd name="connsiteX23" fmla="*/ 478379 w 1360843"/>
              <a:gd name="connsiteY23" fmla="*/ 152255 h 662520"/>
              <a:gd name="connsiteX24" fmla="*/ 493429 w 1360843"/>
              <a:gd name="connsiteY24" fmla="*/ 201265 h 662520"/>
              <a:gd name="connsiteX25" fmla="*/ 502756 w 1360843"/>
              <a:gd name="connsiteY25" fmla="*/ 257766 h 662520"/>
              <a:gd name="connsiteX26" fmla="*/ 505955 w 1360843"/>
              <a:gd name="connsiteY26" fmla="*/ 321983 h 662520"/>
              <a:gd name="connsiteX27" fmla="*/ 503406 w 1360843"/>
              <a:gd name="connsiteY27" fmla="*/ 376707 h 662520"/>
              <a:gd name="connsiteX28" fmla="*/ 495858 w 1360843"/>
              <a:gd name="connsiteY28" fmla="*/ 427041 h 662520"/>
              <a:gd name="connsiteX29" fmla="*/ 483456 w 1360843"/>
              <a:gd name="connsiteY29" fmla="*/ 472909 h 662520"/>
              <a:gd name="connsiteX30" fmla="*/ 466346 w 1360843"/>
              <a:gd name="connsiteY30" fmla="*/ 514232 h 662520"/>
              <a:gd name="connsiteX31" fmla="*/ 444674 w 1360843"/>
              <a:gd name="connsiteY31" fmla="*/ 550937 h 662520"/>
              <a:gd name="connsiteX32" fmla="*/ 418587 w 1360843"/>
              <a:gd name="connsiteY32" fmla="*/ 582945 h 662520"/>
              <a:gd name="connsiteX33" fmla="*/ 388229 w 1360843"/>
              <a:gd name="connsiteY33" fmla="*/ 610181 h 662520"/>
              <a:gd name="connsiteX34" fmla="*/ 353748 w 1360843"/>
              <a:gd name="connsiteY34" fmla="*/ 632569 h 662520"/>
              <a:gd name="connsiteX35" fmla="*/ 315289 w 1360843"/>
              <a:gd name="connsiteY35" fmla="*/ 650033 h 662520"/>
              <a:gd name="connsiteX36" fmla="*/ 272999 w 1360843"/>
              <a:gd name="connsiteY36" fmla="*/ 662495 h 662520"/>
              <a:gd name="connsiteX37" fmla="*/ 592162 w 1360843"/>
              <a:gd name="connsiteY37" fmla="*/ 662520 h 662520"/>
              <a:gd name="connsiteX38" fmla="*/ 571167 w 1360843"/>
              <a:gd name="connsiteY38" fmla="*/ 658030 h 662520"/>
              <a:gd name="connsiteX39" fmla="*/ 551373 w 1360843"/>
              <a:gd name="connsiteY39" fmla="*/ 652783 h 662520"/>
              <a:gd name="connsiteX40" fmla="*/ 532537 w 1360843"/>
              <a:gd name="connsiteY40" fmla="*/ 646826 h 662520"/>
              <a:gd name="connsiteX41" fmla="*/ 514413 w 1360843"/>
              <a:gd name="connsiteY41" fmla="*/ 640206 h 662520"/>
              <a:gd name="connsiteX42" fmla="*/ 514413 w 1360843"/>
              <a:gd name="connsiteY42" fmla="*/ 516293 h 662520"/>
              <a:gd name="connsiteX43" fmla="*/ 596087 w 1360843"/>
              <a:gd name="connsiteY43" fmla="*/ 516293 h 662520"/>
              <a:gd name="connsiteX44" fmla="*/ 612203 w 1360843"/>
              <a:gd name="connsiteY44" fmla="*/ 539439 h 662520"/>
              <a:gd name="connsiteX45" fmla="*/ 635627 w 1360843"/>
              <a:gd name="connsiteY45" fmla="*/ 559242 h 662520"/>
              <a:gd name="connsiteX46" fmla="*/ 666972 w 1360843"/>
              <a:gd name="connsiteY46" fmla="*/ 573062 h 662520"/>
              <a:gd name="connsiteX47" fmla="*/ 706856 w 1360843"/>
              <a:gd name="connsiteY47" fmla="*/ 578256 h 662520"/>
              <a:gd name="connsiteX48" fmla="*/ 749359 w 1360843"/>
              <a:gd name="connsiteY48" fmla="*/ 571758 h 662520"/>
              <a:gd name="connsiteX49" fmla="*/ 784298 w 1360843"/>
              <a:gd name="connsiteY49" fmla="*/ 552322 h 662520"/>
              <a:gd name="connsiteX50" fmla="*/ 807972 w 1360843"/>
              <a:gd name="connsiteY50" fmla="*/ 520038 h 662520"/>
              <a:gd name="connsiteX51" fmla="*/ 816686 w 1360843"/>
              <a:gd name="connsiteY51" fmla="*/ 474992 h 662520"/>
              <a:gd name="connsiteX52" fmla="*/ 809424 w 1360843"/>
              <a:gd name="connsiteY52" fmla="*/ 430240 h 662520"/>
              <a:gd name="connsiteX53" fmla="*/ 787466 w 1360843"/>
              <a:gd name="connsiteY53" fmla="*/ 398602 h 662520"/>
              <a:gd name="connsiteX54" fmla="*/ 750549 w 1360843"/>
              <a:gd name="connsiteY54" fmla="*/ 379812 h 662520"/>
              <a:gd name="connsiteX55" fmla="*/ 698411 w 1360843"/>
              <a:gd name="connsiteY55" fmla="*/ 373608 h 662520"/>
              <a:gd name="connsiteX56" fmla="*/ 649592 w 1360843"/>
              <a:gd name="connsiteY56" fmla="*/ 373608 h 662520"/>
              <a:gd name="connsiteX57" fmla="*/ 649592 w 1360843"/>
              <a:gd name="connsiteY57" fmla="*/ 286308 h 662520"/>
              <a:gd name="connsiteX58" fmla="*/ 690892 w 1360843"/>
              <a:gd name="connsiteY58" fmla="*/ 286308 h 662520"/>
              <a:gd name="connsiteX59" fmla="*/ 744563 w 1360843"/>
              <a:gd name="connsiteY59" fmla="*/ 280133 h 662520"/>
              <a:gd name="connsiteX60" fmla="*/ 783007 w 1360843"/>
              <a:gd name="connsiteY60" fmla="*/ 261550 h 662520"/>
              <a:gd name="connsiteX61" fmla="*/ 806137 w 1360843"/>
              <a:gd name="connsiteY61" fmla="*/ 230469 h 662520"/>
              <a:gd name="connsiteX62" fmla="*/ 813866 w 1360843"/>
              <a:gd name="connsiteY62" fmla="*/ 186804 h 662520"/>
              <a:gd name="connsiteX63" fmla="*/ 808513 w 1360843"/>
              <a:gd name="connsiteY63" fmla="*/ 149115 h 662520"/>
              <a:gd name="connsiteX64" fmla="*/ 792160 w 1360843"/>
              <a:gd name="connsiteY64" fmla="*/ 121104 h 662520"/>
              <a:gd name="connsiteX65" fmla="*/ 764365 w 1360843"/>
              <a:gd name="connsiteY65" fmla="*/ 103651 h 662520"/>
              <a:gd name="connsiteX66" fmla="*/ 724687 w 1360843"/>
              <a:gd name="connsiteY66" fmla="*/ 97637 h 662520"/>
              <a:gd name="connsiteX67" fmla="*/ 687243 w 1360843"/>
              <a:gd name="connsiteY67" fmla="*/ 102374 h 662520"/>
              <a:gd name="connsiteX68" fmla="*/ 657456 w 1360843"/>
              <a:gd name="connsiteY68" fmla="*/ 115117 h 662520"/>
              <a:gd name="connsiteX69" fmla="*/ 634533 w 1360843"/>
              <a:gd name="connsiteY69" fmla="*/ 133668 h 662520"/>
              <a:gd name="connsiteX70" fmla="*/ 617677 w 1360843"/>
              <a:gd name="connsiteY70" fmla="*/ 155828 h 662520"/>
              <a:gd name="connsiteX71" fmla="*/ 539775 w 1360843"/>
              <a:gd name="connsiteY71" fmla="*/ 155828 h 662520"/>
              <a:gd name="connsiteX72" fmla="*/ 539775 w 1360843"/>
              <a:gd name="connsiteY72" fmla="*/ 33807 h 662520"/>
              <a:gd name="connsiteX73" fmla="*/ 584006 w 1360843"/>
              <a:gd name="connsiteY73" fmla="*/ 19813 h 662520"/>
              <a:gd name="connsiteX74" fmla="*/ 631056 w 1360843"/>
              <a:gd name="connsiteY74" fmla="*/ 9159 h 662520"/>
              <a:gd name="connsiteX75" fmla="*/ 681278 w 1360843"/>
              <a:gd name="connsiteY75" fmla="*/ 2378 h 662520"/>
              <a:gd name="connsiteX76" fmla="*/ 735025 w 1360843"/>
              <a:gd name="connsiteY76" fmla="*/ 0 h 662520"/>
              <a:gd name="connsiteX77" fmla="*/ 790395 w 1360843"/>
              <a:gd name="connsiteY77" fmla="*/ 3158 h 662520"/>
              <a:gd name="connsiteX78" fmla="*/ 838689 w 1360843"/>
              <a:gd name="connsiteY78" fmla="*/ 12853 h 662520"/>
              <a:gd name="connsiteX79" fmla="*/ 879380 w 1360843"/>
              <a:gd name="connsiteY79" fmla="*/ 29412 h 662520"/>
              <a:gd name="connsiteX80" fmla="*/ 911943 w 1360843"/>
              <a:gd name="connsiteY80" fmla="*/ 53163 h 662520"/>
              <a:gd name="connsiteX81" fmla="*/ 935853 w 1360843"/>
              <a:gd name="connsiteY81" fmla="*/ 84435 h 662520"/>
              <a:gd name="connsiteX82" fmla="*/ 950584 w 1360843"/>
              <a:gd name="connsiteY82" fmla="*/ 123555 h 662520"/>
              <a:gd name="connsiteX83" fmla="*/ 955611 w 1360843"/>
              <a:gd name="connsiteY83" fmla="*/ 170853 h 662520"/>
              <a:gd name="connsiteX84" fmla="*/ 949453 w 1360843"/>
              <a:gd name="connsiteY84" fmla="*/ 219568 h 662520"/>
              <a:gd name="connsiteX85" fmla="*/ 931581 w 1360843"/>
              <a:gd name="connsiteY85" fmla="*/ 258234 h 662520"/>
              <a:gd name="connsiteX86" fmla="*/ 902895 w 1360843"/>
              <a:gd name="connsiteY86" fmla="*/ 287843 h 662520"/>
              <a:gd name="connsiteX87" fmla="*/ 864296 w 1360843"/>
              <a:gd name="connsiteY87" fmla="*/ 309388 h 662520"/>
              <a:gd name="connsiteX88" fmla="*/ 816686 w 1360843"/>
              <a:gd name="connsiteY88" fmla="*/ 323862 h 662520"/>
              <a:gd name="connsiteX89" fmla="*/ 816686 w 1360843"/>
              <a:gd name="connsiteY89" fmla="*/ 327609 h 662520"/>
              <a:gd name="connsiteX90" fmla="*/ 870681 w 1360843"/>
              <a:gd name="connsiteY90" fmla="*/ 340566 h 662520"/>
              <a:gd name="connsiteX91" fmla="*/ 912283 w 1360843"/>
              <a:gd name="connsiteY91" fmla="*/ 362534 h 662520"/>
              <a:gd name="connsiteX92" fmla="*/ 941719 w 1360843"/>
              <a:gd name="connsiteY92" fmla="*/ 393513 h 662520"/>
              <a:gd name="connsiteX93" fmla="*/ 959215 w 1360843"/>
              <a:gd name="connsiteY93" fmla="*/ 433502 h 662520"/>
              <a:gd name="connsiteX94" fmla="*/ 964996 w 1360843"/>
              <a:gd name="connsiteY94" fmla="*/ 482498 h 662520"/>
              <a:gd name="connsiteX95" fmla="*/ 959936 w 1360843"/>
              <a:gd name="connsiteY95" fmla="*/ 527743 h 662520"/>
              <a:gd name="connsiteX96" fmla="*/ 944659 w 1360843"/>
              <a:gd name="connsiteY96" fmla="*/ 567021 h 662520"/>
              <a:gd name="connsiteX97" fmla="*/ 920122 w 1360843"/>
              <a:gd name="connsiteY97" fmla="*/ 600232 h 662520"/>
              <a:gd name="connsiteX98" fmla="*/ 887285 w 1360843"/>
              <a:gd name="connsiteY98" fmla="*/ 627278 h 662520"/>
              <a:gd name="connsiteX99" fmla="*/ 847106 w 1360843"/>
              <a:gd name="connsiteY99" fmla="*/ 648061 h 662520"/>
              <a:gd name="connsiteX100" fmla="*/ 800544 w 1360843"/>
              <a:gd name="connsiteY100" fmla="*/ 662482 h 662520"/>
              <a:gd name="connsiteX101" fmla="*/ 1360843 w 1360843"/>
              <a:gd name="connsiteY101" fmla="*/ 662495 h 662520"/>
              <a:gd name="connsiteX0" fmla="*/ 247767 w 1360843"/>
              <a:gd name="connsiteY0" fmla="*/ 419568 h 662520"/>
              <a:gd name="connsiteX1" fmla="*/ 200875 w 1360843"/>
              <a:gd name="connsiteY1" fmla="*/ 424306 h 662520"/>
              <a:gd name="connsiteX2" fmla="*/ 153099 w 1360843"/>
              <a:gd name="connsiteY2" fmla="*/ 420031 h 662520"/>
              <a:gd name="connsiteX3" fmla="*/ 110150 w 1360843"/>
              <a:gd name="connsiteY3" fmla="*/ 407348 h 662520"/>
              <a:gd name="connsiteX4" fmla="*/ 72948 w 1360843"/>
              <a:gd name="connsiteY4" fmla="*/ 386472 h 662520"/>
              <a:gd name="connsiteX5" fmla="*/ 42412 w 1360843"/>
              <a:gd name="connsiteY5" fmla="*/ 357614 h 662520"/>
              <a:gd name="connsiteX6" fmla="*/ 19463 w 1360843"/>
              <a:gd name="connsiteY6" fmla="*/ 320990 h 662520"/>
              <a:gd name="connsiteX7" fmla="*/ 5019 w 1360843"/>
              <a:gd name="connsiteY7" fmla="*/ 276814 h 662520"/>
              <a:gd name="connsiteX8" fmla="*/ 0 w 1360843"/>
              <a:gd name="connsiteY8" fmla="*/ 225297 h 662520"/>
              <a:gd name="connsiteX9" fmla="*/ 4447 w 1360843"/>
              <a:gd name="connsiteY9" fmla="*/ 178425 h 662520"/>
              <a:gd name="connsiteX10" fmla="*/ 17453 w 1360843"/>
              <a:gd name="connsiteY10" fmla="*/ 135445 h 662520"/>
              <a:gd name="connsiteX11" fmla="*/ 38511 w 1360843"/>
              <a:gd name="connsiteY11" fmla="*/ 97085 h 662520"/>
              <a:gd name="connsiteX12" fmla="*/ 67116 w 1360843"/>
              <a:gd name="connsiteY12" fmla="*/ 64071 h 662520"/>
              <a:gd name="connsiteX13" fmla="*/ 102760 w 1360843"/>
              <a:gd name="connsiteY13" fmla="*/ 37129 h 662520"/>
              <a:gd name="connsiteX14" fmla="*/ 144939 w 1360843"/>
              <a:gd name="connsiteY14" fmla="*/ 16986 h 662520"/>
              <a:gd name="connsiteX15" fmla="*/ 193146 w 1360843"/>
              <a:gd name="connsiteY15" fmla="*/ 4367 h 662520"/>
              <a:gd name="connsiteX16" fmla="*/ 290625 w 1360843"/>
              <a:gd name="connsiteY16" fmla="*/ 2882 h 662520"/>
              <a:gd name="connsiteX17" fmla="*/ 331492 w 1360843"/>
              <a:gd name="connsiteY17" fmla="*/ 11678 h 662520"/>
              <a:gd name="connsiteX18" fmla="*/ 369070 w 1360843"/>
              <a:gd name="connsiteY18" fmla="*/ 26614 h 662520"/>
              <a:gd name="connsiteX19" fmla="*/ 402953 w 1360843"/>
              <a:gd name="connsiteY19" fmla="*/ 47914 h 662520"/>
              <a:gd name="connsiteX20" fmla="*/ 432736 w 1360843"/>
              <a:gd name="connsiteY20" fmla="*/ 75804 h 662520"/>
              <a:gd name="connsiteX21" fmla="*/ 458013 w 1360843"/>
              <a:gd name="connsiteY21" fmla="*/ 110509 h 662520"/>
              <a:gd name="connsiteX22" fmla="*/ 478379 w 1360843"/>
              <a:gd name="connsiteY22" fmla="*/ 152255 h 662520"/>
              <a:gd name="connsiteX23" fmla="*/ 493429 w 1360843"/>
              <a:gd name="connsiteY23" fmla="*/ 201265 h 662520"/>
              <a:gd name="connsiteX24" fmla="*/ 502756 w 1360843"/>
              <a:gd name="connsiteY24" fmla="*/ 257766 h 662520"/>
              <a:gd name="connsiteX25" fmla="*/ 505955 w 1360843"/>
              <a:gd name="connsiteY25" fmla="*/ 321983 h 662520"/>
              <a:gd name="connsiteX26" fmla="*/ 503406 w 1360843"/>
              <a:gd name="connsiteY26" fmla="*/ 376707 h 662520"/>
              <a:gd name="connsiteX27" fmla="*/ 495858 w 1360843"/>
              <a:gd name="connsiteY27" fmla="*/ 427041 h 662520"/>
              <a:gd name="connsiteX28" fmla="*/ 483456 w 1360843"/>
              <a:gd name="connsiteY28" fmla="*/ 472909 h 662520"/>
              <a:gd name="connsiteX29" fmla="*/ 466346 w 1360843"/>
              <a:gd name="connsiteY29" fmla="*/ 514232 h 662520"/>
              <a:gd name="connsiteX30" fmla="*/ 444674 w 1360843"/>
              <a:gd name="connsiteY30" fmla="*/ 550937 h 662520"/>
              <a:gd name="connsiteX31" fmla="*/ 418587 w 1360843"/>
              <a:gd name="connsiteY31" fmla="*/ 582945 h 662520"/>
              <a:gd name="connsiteX32" fmla="*/ 388229 w 1360843"/>
              <a:gd name="connsiteY32" fmla="*/ 610181 h 662520"/>
              <a:gd name="connsiteX33" fmla="*/ 353748 w 1360843"/>
              <a:gd name="connsiteY33" fmla="*/ 632569 h 662520"/>
              <a:gd name="connsiteX34" fmla="*/ 315289 w 1360843"/>
              <a:gd name="connsiteY34" fmla="*/ 650033 h 662520"/>
              <a:gd name="connsiteX35" fmla="*/ 272999 w 1360843"/>
              <a:gd name="connsiteY35" fmla="*/ 662495 h 662520"/>
              <a:gd name="connsiteX36" fmla="*/ 592162 w 1360843"/>
              <a:gd name="connsiteY36" fmla="*/ 662520 h 662520"/>
              <a:gd name="connsiteX37" fmla="*/ 571167 w 1360843"/>
              <a:gd name="connsiteY37" fmla="*/ 658030 h 662520"/>
              <a:gd name="connsiteX38" fmla="*/ 551373 w 1360843"/>
              <a:gd name="connsiteY38" fmla="*/ 652783 h 662520"/>
              <a:gd name="connsiteX39" fmla="*/ 532537 w 1360843"/>
              <a:gd name="connsiteY39" fmla="*/ 646826 h 662520"/>
              <a:gd name="connsiteX40" fmla="*/ 514413 w 1360843"/>
              <a:gd name="connsiteY40" fmla="*/ 640206 h 662520"/>
              <a:gd name="connsiteX41" fmla="*/ 514413 w 1360843"/>
              <a:gd name="connsiteY41" fmla="*/ 516293 h 662520"/>
              <a:gd name="connsiteX42" fmla="*/ 596087 w 1360843"/>
              <a:gd name="connsiteY42" fmla="*/ 516293 h 662520"/>
              <a:gd name="connsiteX43" fmla="*/ 612203 w 1360843"/>
              <a:gd name="connsiteY43" fmla="*/ 539439 h 662520"/>
              <a:gd name="connsiteX44" fmla="*/ 635627 w 1360843"/>
              <a:gd name="connsiteY44" fmla="*/ 559242 h 662520"/>
              <a:gd name="connsiteX45" fmla="*/ 666972 w 1360843"/>
              <a:gd name="connsiteY45" fmla="*/ 573062 h 662520"/>
              <a:gd name="connsiteX46" fmla="*/ 706856 w 1360843"/>
              <a:gd name="connsiteY46" fmla="*/ 578256 h 662520"/>
              <a:gd name="connsiteX47" fmla="*/ 749359 w 1360843"/>
              <a:gd name="connsiteY47" fmla="*/ 571758 h 662520"/>
              <a:gd name="connsiteX48" fmla="*/ 784298 w 1360843"/>
              <a:gd name="connsiteY48" fmla="*/ 552322 h 662520"/>
              <a:gd name="connsiteX49" fmla="*/ 807972 w 1360843"/>
              <a:gd name="connsiteY49" fmla="*/ 520038 h 662520"/>
              <a:gd name="connsiteX50" fmla="*/ 816686 w 1360843"/>
              <a:gd name="connsiteY50" fmla="*/ 474992 h 662520"/>
              <a:gd name="connsiteX51" fmla="*/ 809424 w 1360843"/>
              <a:gd name="connsiteY51" fmla="*/ 430240 h 662520"/>
              <a:gd name="connsiteX52" fmla="*/ 787466 w 1360843"/>
              <a:gd name="connsiteY52" fmla="*/ 398602 h 662520"/>
              <a:gd name="connsiteX53" fmla="*/ 750549 w 1360843"/>
              <a:gd name="connsiteY53" fmla="*/ 379812 h 662520"/>
              <a:gd name="connsiteX54" fmla="*/ 698411 w 1360843"/>
              <a:gd name="connsiteY54" fmla="*/ 373608 h 662520"/>
              <a:gd name="connsiteX55" fmla="*/ 649592 w 1360843"/>
              <a:gd name="connsiteY55" fmla="*/ 373608 h 662520"/>
              <a:gd name="connsiteX56" fmla="*/ 649592 w 1360843"/>
              <a:gd name="connsiteY56" fmla="*/ 286308 h 662520"/>
              <a:gd name="connsiteX57" fmla="*/ 690892 w 1360843"/>
              <a:gd name="connsiteY57" fmla="*/ 286308 h 662520"/>
              <a:gd name="connsiteX58" fmla="*/ 744563 w 1360843"/>
              <a:gd name="connsiteY58" fmla="*/ 280133 h 662520"/>
              <a:gd name="connsiteX59" fmla="*/ 783007 w 1360843"/>
              <a:gd name="connsiteY59" fmla="*/ 261550 h 662520"/>
              <a:gd name="connsiteX60" fmla="*/ 806137 w 1360843"/>
              <a:gd name="connsiteY60" fmla="*/ 230469 h 662520"/>
              <a:gd name="connsiteX61" fmla="*/ 813866 w 1360843"/>
              <a:gd name="connsiteY61" fmla="*/ 186804 h 662520"/>
              <a:gd name="connsiteX62" fmla="*/ 808513 w 1360843"/>
              <a:gd name="connsiteY62" fmla="*/ 149115 h 662520"/>
              <a:gd name="connsiteX63" fmla="*/ 792160 w 1360843"/>
              <a:gd name="connsiteY63" fmla="*/ 121104 h 662520"/>
              <a:gd name="connsiteX64" fmla="*/ 764365 w 1360843"/>
              <a:gd name="connsiteY64" fmla="*/ 103651 h 662520"/>
              <a:gd name="connsiteX65" fmla="*/ 724687 w 1360843"/>
              <a:gd name="connsiteY65" fmla="*/ 97637 h 662520"/>
              <a:gd name="connsiteX66" fmla="*/ 687243 w 1360843"/>
              <a:gd name="connsiteY66" fmla="*/ 102374 h 662520"/>
              <a:gd name="connsiteX67" fmla="*/ 657456 w 1360843"/>
              <a:gd name="connsiteY67" fmla="*/ 115117 h 662520"/>
              <a:gd name="connsiteX68" fmla="*/ 634533 w 1360843"/>
              <a:gd name="connsiteY68" fmla="*/ 133668 h 662520"/>
              <a:gd name="connsiteX69" fmla="*/ 617677 w 1360843"/>
              <a:gd name="connsiteY69" fmla="*/ 155828 h 662520"/>
              <a:gd name="connsiteX70" fmla="*/ 539775 w 1360843"/>
              <a:gd name="connsiteY70" fmla="*/ 155828 h 662520"/>
              <a:gd name="connsiteX71" fmla="*/ 539775 w 1360843"/>
              <a:gd name="connsiteY71" fmla="*/ 33807 h 662520"/>
              <a:gd name="connsiteX72" fmla="*/ 584006 w 1360843"/>
              <a:gd name="connsiteY72" fmla="*/ 19813 h 662520"/>
              <a:gd name="connsiteX73" fmla="*/ 631056 w 1360843"/>
              <a:gd name="connsiteY73" fmla="*/ 9159 h 662520"/>
              <a:gd name="connsiteX74" fmla="*/ 681278 w 1360843"/>
              <a:gd name="connsiteY74" fmla="*/ 2378 h 662520"/>
              <a:gd name="connsiteX75" fmla="*/ 735025 w 1360843"/>
              <a:gd name="connsiteY75" fmla="*/ 0 h 662520"/>
              <a:gd name="connsiteX76" fmla="*/ 790395 w 1360843"/>
              <a:gd name="connsiteY76" fmla="*/ 3158 h 662520"/>
              <a:gd name="connsiteX77" fmla="*/ 838689 w 1360843"/>
              <a:gd name="connsiteY77" fmla="*/ 12853 h 662520"/>
              <a:gd name="connsiteX78" fmla="*/ 879380 w 1360843"/>
              <a:gd name="connsiteY78" fmla="*/ 29412 h 662520"/>
              <a:gd name="connsiteX79" fmla="*/ 911943 w 1360843"/>
              <a:gd name="connsiteY79" fmla="*/ 53163 h 662520"/>
              <a:gd name="connsiteX80" fmla="*/ 935853 w 1360843"/>
              <a:gd name="connsiteY80" fmla="*/ 84435 h 662520"/>
              <a:gd name="connsiteX81" fmla="*/ 950584 w 1360843"/>
              <a:gd name="connsiteY81" fmla="*/ 123555 h 662520"/>
              <a:gd name="connsiteX82" fmla="*/ 955611 w 1360843"/>
              <a:gd name="connsiteY82" fmla="*/ 170853 h 662520"/>
              <a:gd name="connsiteX83" fmla="*/ 949453 w 1360843"/>
              <a:gd name="connsiteY83" fmla="*/ 219568 h 662520"/>
              <a:gd name="connsiteX84" fmla="*/ 931581 w 1360843"/>
              <a:gd name="connsiteY84" fmla="*/ 258234 h 662520"/>
              <a:gd name="connsiteX85" fmla="*/ 902895 w 1360843"/>
              <a:gd name="connsiteY85" fmla="*/ 287843 h 662520"/>
              <a:gd name="connsiteX86" fmla="*/ 864296 w 1360843"/>
              <a:gd name="connsiteY86" fmla="*/ 309388 h 662520"/>
              <a:gd name="connsiteX87" fmla="*/ 816686 w 1360843"/>
              <a:gd name="connsiteY87" fmla="*/ 323862 h 662520"/>
              <a:gd name="connsiteX88" fmla="*/ 816686 w 1360843"/>
              <a:gd name="connsiteY88" fmla="*/ 327609 h 662520"/>
              <a:gd name="connsiteX89" fmla="*/ 870681 w 1360843"/>
              <a:gd name="connsiteY89" fmla="*/ 340566 h 662520"/>
              <a:gd name="connsiteX90" fmla="*/ 912283 w 1360843"/>
              <a:gd name="connsiteY90" fmla="*/ 362534 h 662520"/>
              <a:gd name="connsiteX91" fmla="*/ 941719 w 1360843"/>
              <a:gd name="connsiteY91" fmla="*/ 393513 h 662520"/>
              <a:gd name="connsiteX92" fmla="*/ 959215 w 1360843"/>
              <a:gd name="connsiteY92" fmla="*/ 433502 h 662520"/>
              <a:gd name="connsiteX93" fmla="*/ 964996 w 1360843"/>
              <a:gd name="connsiteY93" fmla="*/ 482498 h 662520"/>
              <a:gd name="connsiteX94" fmla="*/ 959936 w 1360843"/>
              <a:gd name="connsiteY94" fmla="*/ 527743 h 662520"/>
              <a:gd name="connsiteX95" fmla="*/ 944659 w 1360843"/>
              <a:gd name="connsiteY95" fmla="*/ 567021 h 662520"/>
              <a:gd name="connsiteX96" fmla="*/ 920122 w 1360843"/>
              <a:gd name="connsiteY96" fmla="*/ 600232 h 662520"/>
              <a:gd name="connsiteX97" fmla="*/ 887285 w 1360843"/>
              <a:gd name="connsiteY97" fmla="*/ 627278 h 662520"/>
              <a:gd name="connsiteX98" fmla="*/ 847106 w 1360843"/>
              <a:gd name="connsiteY98" fmla="*/ 648061 h 662520"/>
              <a:gd name="connsiteX99" fmla="*/ 800544 w 1360843"/>
              <a:gd name="connsiteY99" fmla="*/ 662482 h 662520"/>
              <a:gd name="connsiteX100" fmla="*/ 1360843 w 1360843"/>
              <a:gd name="connsiteY100" fmla="*/ 662495 h 662520"/>
              <a:gd name="connsiteX0" fmla="*/ 247767 w 1360843"/>
              <a:gd name="connsiteY0" fmla="*/ 419568 h 662520"/>
              <a:gd name="connsiteX1" fmla="*/ 200875 w 1360843"/>
              <a:gd name="connsiteY1" fmla="*/ 424306 h 662520"/>
              <a:gd name="connsiteX2" fmla="*/ 153099 w 1360843"/>
              <a:gd name="connsiteY2" fmla="*/ 420031 h 662520"/>
              <a:gd name="connsiteX3" fmla="*/ 110150 w 1360843"/>
              <a:gd name="connsiteY3" fmla="*/ 407348 h 662520"/>
              <a:gd name="connsiteX4" fmla="*/ 72948 w 1360843"/>
              <a:gd name="connsiteY4" fmla="*/ 386472 h 662520"/>
              <a:gd name="connsiteX5" fmla="*/ 42412 w 1360843"/>
              <a:gd name="connsiteY5" fmla="*/ 357614 h 662520"/>
              <a:gd name="connsiteX6" fmla="*/ 19463 w 1360843"/>
              <a:gd name="connsiteY6" fmla="*/ 320990 h 662520"/>
              <a:gd name="connsiteX7" fmla="*/ 5019 w 1360843"/>
              <a:gd name="connsiteY7" fmla="*/ 276814 h 662520"/>
              <a:gd name="connsiteX8" fmla="*/ 0 w 1360843"/>
              <a:gd name="connsiteY8" fmla="*/ 225297 h 662520"/>
              <a:gd name="connsiteX9" fmla="*/ 4447 w 1360843"/>
              <a:gd name="connsiteY9" fmla="*/ 178425 h 662520"/>
              <a:gd name="connsiteX10" fmla="*/ 17453 w 1360843"/>
              <a:gd name="connsiteY10" fmla="*/ 135445 h 662520"/>
              <a:gd name="connsiteX11" fmla="*/ 38511 w 1360843"/>
              <a:gd name="connsiteY11" fmla="*/ 97085 h 662520"/>
              <a:gd name="connsiteX12" fmla="*/ 67116 w 1360843"/>
              <a:gd name="connsiteY12" fmla="*/ 64071 h 662520"/>
              <a:gd name="connsiteX13" fmla="*/ 102760 w 1360843"/>
              <a:gd name="connsiteY13" fmla="*/ 37129 h 662520"/>
              <a:gd name="connsiteX14" fmla="*/ 144939 w 1360843"/>
              <a:gd name="connsiteY14" fmla="*/ 16986 h 662520"/>
              <a:gd name="connsiteX15" fmla="*/ 290625 w 1360843"/>
              <a:gd name="connsiteY15" fmla="*/ 2882 h 662520"/>
              <a:gd name="connsiteX16" fmla="*/ 331492 w 1360843"/>
              <a:gd name="connsiteY16" fmla="*/ 11678 h 662520"/>
              <a:gd name="connsiteX17" fmla="*/ 369070 w 1360843"/>
              <a:gd name="connsiteY17" fmla="*/ 26614 h 662520"/>
              <a:gd name="connsiteX18" fmla="*/ 402953 w 1360843"/>
              <a:gd name="connsiteY18" fmla="*/ 47914 h 662520"/>
              <a:gd name="connsiteX19" fmla="*/ 432736 w 1360843"/>
              <a:gd name="connsiteY19" fmla="*/ 75804 h 662520"/>
              <a:gd name="connsiteX20" fmla="*/ 458013 w 1360843"/>
              <a:gd name="connsiteY20" fmla="*/ 110509 h 662520"/>
              <a:gd name="connsiteX21" fmla="*/ 478379 w 1360843"/>
              <a:gd name="connsiteY21" fmla="*/ 152255 h 662520"/>
              <a:gd name="connsiteX22" fmla="*/ 493429 w 1360843"/>
              <a:gd name="connsiteY22" fmla="*/ 201265 h 662520"/>
              <a:gd name="connsiteX23" fmla="*/ 502756 w 1360843"/>
              <a:gd name="connsiteY23" fmla="*/ 257766 h 662520"/>
              <a:gd name="connsiteX24" fmla="*/ 505955 w 1360843"/>
              <a:gd name="connsiteY24" fmla="*/ 321983 h 662520"/>
              <a:gd name="connsiteX25" fmla="*/ 503406 w 1360843"/>
              <a:gd name="connsiteY25" fmla="*/ 376707 h 662520"/>
              <a:gd name="connsiteX26" fmla="*/ 495858 w 1360843"/>
              <a:gd name="connsiteY26" fmla="*/ 427041 h 662520"/>
              <a:gd name="connsiteX27" fmla="*/ 483456 w 1360843"/>
              <a:gd name="connsiteY27" fmla="*/ 472909 h 662520"/>
              <a:gd name="connsiteX28" fmla="*/ 466346 w 1360843"/>
              <a:gd name="connsiteY28" fmla="*/ 514232 h 662520"/>
              <a:gd name="connsiteX29" fmla="*/ 444674 w 1360843"/>
              <a:gd name="connsiteY29" fmla="*/ 550937 h 662520"/>
              <a:gd name="connsiteX30" fmla="*/ 418587 w 1360843"/>
              <a:gd name="connsiteY30" fmla="*/ 582945 h 662520"/>
              <a:gd name="connsiteX31" fmla="*/ 388229 w 1360843"/>
              <a:gd name="connsiteY31" fmla="*/ 610181 h 662520"/>
              <a:gd name="connsiteX32" fmla="*/ 353748 w 1360843"/>
              <a:gd name="connsiteY32" fmla="*/ 632569 h 662520"/>
              <a:gd name="connsiteX33" fmla="*/ 315289 w 1360843"/>
              <a:gd name="connsiteY33" fmla="*/ 650033 h 662520"/>
              <a:gd name="connsiteX34" fmla="*/ 272999 w 1360843"/>
              <a:gd name="connsiteY34" fmla="*/ 662495 h 662520"/>
              <a:gd name="connsiteX35" fmla="*/ 592162 w 1360843"/>
              <a:gd name="connsiteY35" fmla="*/ 662520 h 662520"/>
              <a:gd name="connsiteX36" fmla="*/ 571167 w 1360843"/>
              <a:gd name="connsiteY36" fmla="*/ 658030 h 662520"/>
              <a:gd name="connsiteX37" fmla="*/ 551373 w 1360843"/>
              <a:gd name="connsiteY37" fmla="*/ 652783 h 662520"/>
              <a:gd name="connsiteX38" fmla="*/ 532537 w 1360843"/>
              <a:gd name="connsiteY38" fmla="*/ 646826 h 662520"/>
              <a:gd name="connsiteX39" fmla="*/ 514413 w 1360843"/>
              <a:gd name="connsiteY39" fmla="*/ 640206 h 662520"/>
              <a:gd name="connsiteX40" fmla="*/ 514413 w 1360843"/>
              <a:gd name="connsiteY40" fmla="*/ 516293 h 662520"/>
              <a:gd name="connsiteX41" fmla="*/ 596087 w 1360843"/>
              <a:gd name="connsiteY41" fmla="*/ 516293 h 662520"/>
              <a:gd name="connsiteX42" fmla="*/ 612203 w 1360843"/>
              <a:gd name="connsiteY42" fmla="*/ 539439 h 662520"/>
              <a:gd name="connsiteX43" fmla="*/ 635627 w 1360843"/>
              <a:gd name="connsiteY43" fmla="*/ 559242 h 662520"/>
              <a:gd name="connsiteX44" fmla="*/ 666972 w 1360843"/>
              <a:gd name="connsiteY44" fmla="*/ 573062 h 662520"/>
              <a:gd name="connsiteX45" fmla="*/ 706856 w 1360843"/>
              <a:gd name="connsiteY45" fmla="*/ 578256 h 662520"/>
              <a:gd name="connsiteX46" fmla="*/ 749359 w 1360843"/>
              <a:gd name="connsiteY46" fmla="*/ 571758 h 662520"/>
              <a:gd name="connsiteX47" fmla="*/ 784298 w 1360843"/>
              <a:gd name="connsiteY47" fmla="*/ 552322 h 662520"/>
              <a:gd name="connsiteX48" fmla="*/ 807972 w 1360843"/>
              <a:gd name="connsiteY48" fmla="*/ 520038 h 662520"/>
              <a:gd name="connsiteX49" fmla="*/ 816686 w 1360843"/>
              <a:gd name="connsiteY49" fmla="*/ 474992 h 662520"/>
              <a:gd name="connsiteX50" fmla="*/ 809424 w 1360843"/>
              <a:gd name="connsiteY50" fmla="*/ 430240 h 662520"/>
              <a:gd name="connsiteX51" fmla="*/ 787466 w 1360843"/>
              <a:gd name="connsiteY51" fmla="*/ 398602 h 662520"/>
              <a:gd name="connsiteX52" fmla="*/ 750549 w 1360843"/>
              <a:gd name="connsiteY52" fmla="*/ 379812 h 662520"/>
              <a:gd name="connsiteX53" fmla="*/ 698411 w 1360843"/>
              <a:gd name="connsiteY53" fmla="*/ 373608 h 662520"/>
              <a:gd name="connsiteX54" fmla="*/ 649592 w 1360843"/>
              <a:gd name="connsiteY54" fmla="*/ 373608 h 662520"/>
              <a:gd name="connsiteX55" fmla="*/ 649592 w 1360843"/>
              <a:gd name="connsiteY55" fmla="*/ 286308 h 662520"/>
              <a:gd name="connsiteX56" fmla="*/ 690892 w 1360843"/>
              <a:gd name="connsiteY56" fmla="*/ 286308 h 662520"/>
              <a:gd name="connsiteX57" fmla="*/ 744563 w 1360843"/>
              <a:gd name="connsiteY57" fmla="*/ 280133 h 662520"/>
              <a:gd name="connsiteX58" fmla="*/ 783007 w 1360843"/>
              <a:gd name="connsiteY58" fmla="*/ 261550 h 662520"/>
              <a:gd name="connsiteX59" fmla="*/ 806137 w 1360843"/>
              <a:gd name="connsiteY59" fmla="*/ 230469 h 662520"/>
              <a:gd name="connsiteX60" fmla="*/ 813866 w 1360843"/>
              <a:gd name="connsiteY60" fmla="*/ 186804 h 662520"/>
              <a:gd name="connsiteX61" fmla="*/ 808513 w 1360843"/>
              <a:gd name="connsiteY61" fmla="*/ 149115 h 662520"/>
              <a:gd name="connsiteX62" fmla="*/ 792160 w 1360843"/>
              <a:gd name="connsiteY62" fmla="*/ 121104 h 662520"/>
              <a:gd name="connsiteX63" fmla="*/ 764365 w 1360843"/>
              <a:gd name="connsiteY63" fmla="*/ 103651 h 662520"/>
              <a:gd name="connsiteX64" fmla="*/ 724687 w 1360843"/>
              <a:gd name="connsiteY64" fmla="*/ 97637 h 662520"/>
              <a:gd name="connsiteX65" fmla="*/ 687243 w 1360843"/>
              <a:gd name="connsiteY65" fmla="*/ 102374 h 662520"/>
              <a:gd name="connsiteX66" fmla="*/ 657456 w 1360843"/>
              <a:gd name="connsiteY66" fmla="*/ 115117 h 662520"/>
              <a:gd name="connsiteX67" fmla="*/ 634533 w 1360843"/>
              <a:gd name="connsiteY67" fmla="*/ 133668 h 662520"/>
              <a:gd name="connsiteX68" fmla="*/ 617677 w 1360843"/>
              <a:gd name="connsiteY68" fmla="*/ 155828 h 662520"/>
              <a:gd name="connsiteX69" fmla="*/ 539775 w 1360843"/>
              <a:gd name="connsiteY69" fmla="*/ 155828 h 662520"/>
              <a:gd name="connsiteX70" fmla="*/ 539775 w 1360843"/>
              <a:gd name="connsiteY70" fmla="*/ 33807 h 662520"/>
              <a:gd name="connsiteX71" fmla="*/ 584006 w 1360843"/>
              <a:gd name="connsiteY71" fmla="*/ 19813 h 662520"/>
              <a:gd name="connsiteX72" fmla="*/ 631056 w 1360843"/>
              <a:gd name="connsiteY72" fmla="*/ 9159 h 662520"/>
              <a:gd name="connsiteX73" fmla="*/ 681278 w 1360843"/>
              <a:gd name="connsiteY73" fmla="*/ 2378 h 662520"/>
              <a:gd name="connsiteX74" fmla="*/ 735025 w 1360843"/>
              <a:gd name="connsiteY74" fmla="*/ 0 h 662520"/>
              <a:gd name="connsiteX75" fmla="*/ 790395 w 1360843"/>
              <a:gd name="connsiteY75" fmla="*/ 3158 h 662520"/>
              <a:gd name="connsiteX76" fmla="*/ 838689 w 1360843"/>
              <a:gd name="connsiteY76" fmla="*/ 12853 h 662520"/>
              <a:gd name="connsiteX77" fmla="*/ 879380 w 1360843"/>
              <a:gd name="connsiteY77" fmla="*/ 29412 h 662520"/>
              <a:gd name="connsiteX78" fmla="*/ 911943 w 1360843"/>
              <a:gd name="connsiteY78" fmla="*/ 53163 h 662520"/>
              <a:gd name="connsiteX79" fmla="*/ 935853 w 1360843"/>
              <a:gd name="connsiteY79" fmla="*/ 84435 h 662520"/>
              <a:gd name="connsiteX80" fmla="*/ 950584 w 1360843"/>
              <a:gd name="connsiteY80" fmla="*/ 123555 h 662520"/>
              <a:gd name="connsiteX81" fmla="*/ 955611 w 1360843"/>
              <a:gd name="connsiteY81" fmla="*/ 170853 h 662520"/>
              <a:gd name="connsiteX82" fmla="*/ 949453 w 1360843"/>
              <a:gd name="connsiteY82" fmla="*/ 219568 h 662520"/>
              <a:gd name="connsiteX83" fmla="*/ 931581 w 1360843"/>
              <a:gd name="connsiteY83" fmla="*/ 258234 h 662520"/>
              <a:gd name="connsiteX84" fmla="*/ 902895 w 1360843"/>
              <a:gd name="connsiteY84" fmla="*/ 287843 h 662520"/>
              <a:gd name="connsiteX85" fmla="*/ 864296 w 1360843"/>
              <a:gd name="connsiteY85" fmla="*/ 309388 h 662520"/>
              <a:gd name="connsiteX86" fmla="*/ 816686 w 1360843"/>
              <a:gd name="connsiteY86" fmla="*/ 323862 h 662520"/>
              <a:gd name="connsiteX87" fmla="*/ 816686 w 1360843"/>
              <a:gd name="connsiteY87" fmla="*/ 327609 h 662520"/>
              <a:gd name="connsiteX88" fmla="*/ 870681 w 1360843"/>
              <a:gd name="connsiteY88" fmla="*/ 340566 h 662520"/>
              <a:gd name="connsiteX89" fmla="*/ 912283 w 1360843"/>
              <a:gd name="connsiteY89" fmla="*/ 362534 h 662520"/>
              <a:gd name="connsiteX90" fmla="*/ 941719 w 1360843"/>
              <a:gd name="connsiteY90" fmla="*/ 393513 h 662520"/>
              <a:gd name="connsiteX91" fmla="*/ 959215 w 1360843"/>
              <a:gd name="connsiteY91" fmla="*/ 433502 h 662520"/>
              <a:gd name="connsiteX92" fmla="*/ 964996 w 1360843"/>
              <a:gd name="connsiteY92" fmla="*/ 482498 h 662520"/>
              <a:gd name="connsiteX93" fmla="*/ 959936 w 1360843"/>
              <a:gd name="connsiteY93" fmla="*/ 527743 h 662520"/>
              <a:gd name="connsiteX94" fmla="*/ 944659 w 1360843"/>
              <a:gd name="connsiteY94" fmla="*/ 567021 h 662520"/>
              <a:gd name="connsiteX95" fmla="*/ 920122 w 1360843"/>
              <a:gd name="connsiteY95" fmla="*/ 600232 h 662520"/>
              <a:gd name="connsiteX96" fmla="*/ 887285 w 1360843"/>
              <a:gd name="connsiteY96" fmla="*/ 627278 h 662520"/>
              <a:gd name="connsiteX97" fmla="*/ 847106 w 1360843"/>
              <a:gd name="connsiteY97" fmla="*/ 648061 h 662520"/>
              <a:gd name="connsiteX98" fmla="*/ 800544 w 1360843"/>
              <a:gd name="connsiteY98" fmla="*/ 662482 h 662520"/>
              <a:gd name="connsiteX99" fmla="*/ 1360843 w 1360843"/>
              <a:gd name="connsiteY99" fmla="*/ 662495 h 662520"/>
              <a:gd name="connsiteX0" fmla="*/ 247767 w 1360843"/>
              <a:gd name="connsiteY0" fmla="*/ 419568 h 662520"/>
              <a:gd name="connsiteX1" fmla="*/ 200875 w 1360843"/>
              <a:gd name="connsiteY1" fmla="*/ 424306 h 662520"/>
              <a:gd name="connsiteX2" fmla="*/ 153099 w 1360843"/>
              <a:gd name="connsiteY2" fmla="*/ 420031 h 662520"/>
              <a:gd name="connsiteX3" fmla="*/ 110150 w 1360843"/>
              <a:gd name="connsiteY3" fmla="*/ 407348 h 662520"/>
              <a:gd name="connsiteX4" fmla="*/ 72948 w 1360843"/>
              <a:gd name="connsiteY4" fmla="*/ 386472 h 662520"/>
              <a:gd name="connsiteX5" fmla="*/ 42412 w 1360843"/>
              <a:gd name="connsiteY5" fmla="*/ 357614 h 662520"/>
              <a:gd name="connsiteX6" fmla="*/ 19463 w 1360843"/>
              <a:gd name="connsiteY6" fmla="*/ 320990 h 662520"/>
              <a:gd name="connsiteX7" fmla="*/ 5019 w 1360843"/>
              <a:gd name="connsiteY7" fmla="*/ 276814 h 662520"/>
              <a:gd name="connsiteX8" fmla="*/ 0 w 1360843"/>
              <a:gd name="connsiteY8" fmla="*/ 225297 h 662520"/>
              <a:gd name="connsiteX9" fmla="*/ 4447 w 1360843"/>
              <a:gd name="connsiteY9" fmla="*/ 178425 h 662520"/>
              <a:gd name="connsiteX10" fmla="*/ 17453 w 1360843"/>
              <a:gd name="connsiteY10" fmla="*/ 135445 h 662520"/>
              <a:gd name="connsiteX11" fmla="*/ 38511 w 1360843"/>
              <a:gd name="connsiteY11" fmla="*/ 97085 h 662520"/>
              <a:gd name="connsiteX12" fmla="*/ 67116 w 1360843"/>
              <a:gd name="connsiteY12" fmla="*/ 64071 h 662520"/>
              <a:gd name="connsiteX13" fmla="*/ 102760 w 1360843"/>
              <a:gd name="connsiteY13" fmla="*/ 37129 h 662520"/>
              <a:gd name="connsiteX14" fmla="*/ 290625 w 1360843"/>
              <a:gd name="connsiteY14" fmla="*/ 2882 h 662520"/>
              <a:gd name="connsiteX15" fmla="*/ 331492 w 1360843"/>
              <a:gd name="connsiteY15" fmla="*/ 11678 h 662520"/>
              <a:gd name="connsiteX16" fmla="*/ 369070 w 1360843"/>
              <a:gd name="connsiteY16" fmla="*/ 26614 h 662520"/>
              <a:gd name="connsiteX17" fmla="*/ 402953 w 1360843"/>
              <a:gd name="connsiteY17" fmla="*/ 47914 h 662520"/>
              <a:gd name="connsiteX18" fmla="*/ 432736 w 1360843"/>
              <a:gd name="connsiteY18" fmla="*/ 75804 h 662520"/>
              <a:gd name="connsiteX19" fmla="*/ 458013 w 1360843"/>
              <a:gd name="connsiteY19" fmla="*/ 110509 h 662520"/>
              <a:gd name="connsiteX20" fmla="*/ 478379 w 1360843"/>
              <a:gd name="connsiteY20" fmla="*/ 152255 h 662520"/>
              <a:gd name="connsiteX21" fmla="*/ 493429 w 1360843"/>
              <a:gd name="connsiteY21" fmla="*/ 201265 h 662520"/>
              <a:gd name="connsiteX22" fmla="*/ 502756 w 1360843"/>
              <a:gd name="connsiteY22" fmla="*/ 257766 h 662520"/>
              <a:gd name="connsiteX23" fmla="*/ 505955 w 1360843"/>
              <a:gd name="connsiteY23" fmla="*/ 321983 h 662520"/>
              <a:gd name="connsiteX24" fmla="*/ 503406 w 1360843"/>
              <a:gd name="connsiteY24" fmla="*/ 376707 h 662520"/>
              <a:gd name="connsiteX25" fmla="*/ 495858 w 1360843"/>
              <a:gd name="connsiteY25" fmla="*/ 427041 h 662520"/>
              <a:gd name="connsiteX26" fmla="*/ 483456 w 1360843"/>
              <a:gd name="connsiteY26" fmla="*/ 472909 h 662520"/>
              <a:gd name="connsiteX27" fmla="*/ 466346 w 1360843"/>
              <a:gd name="connsiteY27" fmla="*/ 514232 h 662520"/>
              <a:gd name="connsiteX28" fmla="*/ 444674 w 1360843"/>
              <a:gd name="connsiteY28" fmla="*/ 550937 h 662520"/>
              <a:gd name="connsiteX29" fmla="*/ 418587 w 1360843"/>
              <a:gd name="connsiteY29" fmla="*/ 582945 h 662520"/>
              <a:gd name="connsiteX30" fmla="*/ 388229 w 1360843"/>
              <a:gd name="connsiteY30" fmla="*/ 610181 h 662520"/>
              <a:gd name="connsiteX31" fmla="*/ 353748 w 1360843"/>
              <a:gd name="connsiteY31" fmla="*/ 632569 h 662520"/>
              <a:gd name="connsiteX32" fmla="*/ 315289 w 1360843"/>
              <a:gd name="connsiteY32" fmla="*/ 650033 h 662520"/>
              <a:gd name="connsiteX33" fmla="*/ 272999 w 1360843"/>
              <a:gd name="connsiteY33" fmla="*/ 662495 h 662520"/>
              <a:gd name="connsiteX34" fmla="*/ 592162 w 1360843"/>
              <a:gd name="connsiteY34" fmla="*/ 662520 h 662520"/>
              <a:gd name="connsiteX35" fmla="*/ 571167 w 1360843"/>
              <a:gd name="connsiteY35" fmla="*/ 658030 h 662520"/>
              <a:gd name="connsiteX36" fmla="*/ 551373 w 1360843"/>
              <a:gd name="connsiteY36" fmla="*/ 652783 h 662520"/>
              <a:gd name="connsiteX37" fmla="*/ 532537 w 1360843"/>
              <a:gd name="connsiteY37" fmla="*/ 646826 h 662520"/>
              <a:gd name="connsiteX38" fmla="*/ 514413 w 1360843"/>
              <a:gd name="connsiteY38" fmla="*/ 640206 h 662520"/>
              <a:gd name="connsiteX39" fmla="*/ 514413 w 1360843"/>
              <a:gd name="connsiteY39" fmla="*/ 516293 h 662520"/>
              <a:gd name="connsiteX40" fmla="*/ 596087 w 1360843"/>
              <a:gd name="connsiteY40" fmla="*/ 516293 h 662520"/>
              <a:gd name="connsiteX41" fmla="*/ 612203 w 1360843"/>
              <a:gd name="connsiteY41" fmla="*/ 539439 h 662520"/>
              <a:gd name="connsiteX42" fmla="*/ 635627 w 1360843"/>
              <a:gd name="connsiteY42" fmla="*/ 559242 h 662520"/>
              <a:gd name="connsiteX43" fmla="*/ 666972 w 1360843"/>
              <a:gd name="connsiteY43" fmla="*/ 573062 h 662520"/>
              <a:gd name="connsiteX44" fmla="*/ 706856 w 1360843"/>
              <a:gd name="connsiteY44" fmla="*/ 578256 h 662520"/>
              <a:gd name="connsiteX45" fmla="*/ 749359 w 1360843"/>
              <a:gd name="connsiteY45" fmla="*/ 571758 h 662520"/>
              <a:gd name="connsiteX46" fmla="*/ 784298 w 1360843"/>
              <a:gd name="connsiteY46" fmla="*/ 552322 h 662520"/>
              <a:gd name="connsiteX47" fmla="*/ 807972 w 1360843"/>
              <a:gd name="connsiteY47" fmla="*/ 520038 h 662520"/>
              <a:gd name="connsiteX48" fmla="*/ 816686 w 1360843"/>
              <a:gd name="connsiteY48" fmla="*/ 474992 h 662520"/>
              <a:gd name="connsiteX49" fmla="*/ 809424 w 1360843"/>
              <a:gd name="connsiteY49" fmla="*/ 430240 h 662520"/>
              <a:gd name="connsiteX50" fmla="*/ 787466 w 1360843"/>
              <a:gd name="connsiteY50" fmla="*/ 398602 h 662520"/>
              <a:gd name="connsiteX51" fmla="*/ 750549 w 1360843"/>
              <a:gd name="connsiteY51" fmla="*/ 379812 h 662520"/>
              <a:gd name="connsiteX52" fmla="*/ 698411 w 1360843"/>
              <a:gd name="connsiteY52" fmla="*/ 373608 h 662520"/>
              <a:gd name="connsiteX53" fmla="*/ 649592 w 1360843"/>
              <a:gd name="connsiteY53" fmla="*/ 373608 h 662520"/>
              <a:gd name="connsiteX54" fmla="*/ 649592 w 1360843"/>
              <a:gd name="connsiteY54" fmla="*/ 286308 h 662520"/>
              <a:gd name="connsiteX55" fmla="*/ 690892 w 1360843"/>
              <a:gd name="connsiteY55" fmla="*/ 286308 h 662520"/>
              <a:gd name="connsiteX56" fmla="*/ 744563 w 1360843"/>
              <a:gd name="connsiteY56" fmla="*/ 280133 h 662520"/>
              <a:gd name="connsiteX57" fmla="*/ 783007 w 1360843"/>
              <a:gd name="connsiteY57" fmla="*/ 261550 h 662520"/>
              <a:gd name="connsiteX58" fmla="*/ 806137 w 1360843"/>
              <a:gd name="connsiteY58" fmla="*/ 230469 h 662520"/>
              <a:gd name="connsiteX59" fmla="*/ 813866 w 1360843"/>
              <a:gd name="connsiteY59" fmla="*/ 186804 h 662520"/>
              <a:gd name="connsiteX60" fmla="*/ 808513 w 1360843"/>
              <a:gd name="connsiteY60" fmla="*/ 149115 h 662520"/>
              <a:gd name="connsiteX61" fmla="*/ 792160 w 1360843"/>
              <a:gd name="connsiteY61" fmla="*/ 121104 h 662520"/>
              <a:gd name="connsiteX62" fmla="*/ 764365 w 1360843"/>
              <a:gd name="connsiteY62" fmla="*/ 103651 h 662520"/>
              <a:gd name="connsiteX63" fmla="*/ 724687 w 1360843"/>
              <a:gd name="connsiteY63" fmla="*/ 97637 h 662520"/>
              <a:gd name="connsiteX64" fmla="*/ 687243 w 1360843"/>
              <a:gd name="connsiteY64" fmla="*/ 102374 h 662520"/>
              <a:gd name="connsiteX65" fmla="*/ 657456 w 1360843"/>
              <a:gd name="connsiteY65" fmla="*/ 115117 h 662520"/>
              <a:gd name="connsiteX66" fmla="*/ 634533 w 1360843"/>
              <a:gd name="connsiteY66" fmla="*/ 133668 h 662520"/>
              <a:gd name="connsiteX67" fmla="*/ 617677 w 1360843"/>
              <a:gd name="connsiteY67" fmla="*/ 155828 h 662520"/>
              <a:gd name="connsiteX68" fmla="*/ 539775 w 1360843"/>
              <a:gd name="connsiteY68" fmla="*/ 155828 h 662520"/>
              <a:gd name="connsiteX69" fmla="*/ 539775 w 1360843"/>
              <a:gd name="connsiteY69" fmla="*/ 33807 h 662520"/>
              <a:gd name="connsiteX70" fmla="*/ 584006 w 1360843"/>
              <a:gd name="connsiteY70" fmla="*/ 19813 h 662520"/>
              <a:gd name="connsiteX71" fmla="*/ 631056 w 1360843"/>
              <a:gd name="connsiteY71" fmla="*/ 9159 h 662520"/>
              <a:gd name="connsiteX72" fmla="*/ 681278 w 1360843"/>
              <a:gd name="connsiteY72" fmla="*/ 2378 h 662520"/>
              <a:gd name="connsiteX73" fmla="*/ 735025 w 1360843"/>
              <a:gd name="connsiteY73" fmla="*/ 0 h 662520"/>
              <a:gd name="connsiteX74" fmla="*/ 790395 w 1360843"/>
              <a:gd name="connsiteY74" fmla="*/ 3158 h 662520"/>
              <a:gd name="connsiteX75" fmla="*/ 838689 w 1360843"/>
              <a:gd name="connsiteY75" fmla="*/ 12853 h 662520"/>
              <a:gd name="connsiteX76" fmla="*/ 879380 w 1360843"/>
              <a:gd name="connsiteY76" fmla="*/ 29412 h 662520"/>
              <a:gd name="connsiteX77" fmla="*/ 911943 w 1360843"/>
              <a:gd name="connsiteY77" fmla="*/ 53163 h 662520"/>
              <a:gd name="connsiteX78" fmla="*/ 935853 w 1360843"/>
              <a:gd name="connsiteY78" fmla="*/ 84435 h 662520"/>
              <a:gd name="connsiteX79" fmla="*/ 950584 w 1360843"/>
              <a:gd name="connsiteY79" fmla="*/ 123555 h 662520"/>
              <a:gd name="connsiteX80" fmla="*/ 955611 w 1360843"/>
              <a:gd name="connsiteY80" fmla="*/ 170853 h 662520"/>
              <a:gd name="connsiteX81" fmla="*/ 949453 w 1360843"/>
              <a:gd name="connsiteY81" fmla="*/ 219568 h 662520"/>
              <a:gd name="connsiteX82" fmla="*/ 931581 w 1360843"/>
              <a:gd name="connsiteY82" fmla="*/ 258234 h 662520"/>
              <a:gd name="connsiteX83" fmla="*/ 902895 w 1360843"/>
              <a:gd name="connsiteY83" fmla="*/ 287843 h 662520"/>
              <a:gd name="connsiteX84" fmla="*/ 864296 w 1360843"/>
              <a:gd name="connsiteY84" fmla="*/ 309388 h 662520"/>
              <a:gd name="connsiteX85" fmla="*/ 816686 w 1360843"/>
              <a:gd name="connsiteY85" fmla="*/ 323862 h 662520"/>
              <a:gd name="connsiteX86" fmla="*/ 816686 w 1360843"/>
              <a:gd name="connsiteY86" fmla="*/ 327609 h 662520"/>
              <a:gd name="connsiteX87" fmla="*/ 870681 w 1360843"/>
              <a:gd name="connsiteY87" fmla="*/ 340566 h 662520"/>
              <a:gd name="connsiteX88" fmla="*/ 912283 w 1360843"/>
              <a:gd name="connsiteY88" fmla="*/ 362534 h 662520"/>
              <a:gd name="connsiteX89" fmla="*/ 941719 w 1360843"/>
              <a:gd name="connsiteY89" fmla="*/ 393513 h 662520"/>
              <a:gd name="connsiteX90" fmla="*/ 959215 w 1360843"/>
              <a:gd name="connsiteY90" fmla="*/ 433502 h 662520"/>
              <a:gd name="connsiteX91" fmla="*/ 964996 w 1360843"/>
              <a:gd name="connsiteY91" fmla="*/ 482498 h 662520"/>
              <a:gd name="connsiteX92" fmla="*/ 959936 w 1360843"/>
              <a:gd name="connsiteY92" fmla="*/ 527743 h 662520"/>
              <a:gd name="connsiteX93" fmla="*/ 944659 w 1360843"/>
              <a:gd name="connsiteY93" fmla="*/ 567021 h 662520"/>
              <a:gd name="connsiteX94" fmla="*/ 920122 w 1360843"/>
              <a:gd name="connsiteY94" fmla="*/ 600232 h 662520"/>
              <a:gd name="connsiteX95" fmla="*/ 887285 w 1360843"/>
              <a:gd name="connsiteY95" fmla="*/ 627278 h 662520"/>
              <a:gd name="connsiteX96" fmla="*/ 847106 w 1360843"/>
              <a:gd name="connsiteY96" fmla="*/ 648061 h 662520"/>
              <a:gd name="connsiteX97" fmla="*/ 800544 w 1360843"/>
              <a:gd name="connsiteY97" fmla="*/ 662482 h 662520"/>
              <a:gd name="connsiteX98" fmla="*/ 1360843 w 1360843"/>
              <a:gd name="connsiteY98" fmla="*/ 662495 h 662520"/>
              <a:gd name="connsiteX0" fmla="*/ 243320 w 1356396"/>
              <a:gd name="connsiteY0" fmla="*/ 419568 h 662520"/>
              <a:gd name="connsiteX1" fmla="*/ 196428 w 1356396"/>
              <a:gd name="connsiteY1" fmla="*/ 424306 h 662520"/>
              <a:gd name="connsiteX2" fmla="*/ 148652 w 1356396"/>
              <a:gd name="connsiteY2" fmla="*/ 420031 h 662520"/>
              <a:gd name="connsiteX3" fmla="*/ 105703 w 1356396"/>
              <a:gd name="connsiteY3" fmla="*/ 407348 h 662520"/>
              <a:gd name="connsiteX4" fmla="*/ 68501 w 1356396"/>
              <a:gd name="connsiteY4" fmla="*/ 386472 h 662520"/>
              <a:gd name="connsiteX5" fmla="*/ 37965 w 1356396"/>
              <a:gd name="connsiteY5" fmla="*/ 357614 h 662520"/>
              <a:gd name="connsiteX6" fmla="*/ 15016 w 1356396"/>
              <a:gd name="connsiteY6" fmla="*/ 320990 h 662520"/>
              <a:gd name="connsiteX7" fmla="*/ 572 w 1356396"/>
              <a:gd name="connsiteY7" fmla="*/ 276814 h 662520"/>
              <a:gd name="connsiteX8" fmla="*/ 0 w 1356396"/>
              <a:gd name="connsiteY8" fmla="*/ 178425 h 662520"/>
              <a:gd name="connsiteX9" fmla="*/ 13006 w 1356396"/>
              <a:gd name="connsiteY9" fmla="*/ 135445 h 662520"/>
              <a:gd name="connsiteX10" fmla="*/ 34064 w 1356396"/>
              <a:gd name="connsiteY10" fmla="*/ 97085 h 662520"/>
              <a:gd name="connsiteX11" fmla="*/ 62669 w 1356396"/>
              <a:gd name="connsiteY11" fmla="*/ 64071 h 662520"/>
              <a:gd name="connsiteX12" fmla="*/ 98313 w 1356396"/>
              <a:gd name="connsiteY12" fmla="*/ 37129 h 662520"/>
              <a:gd name="connsiteX13" fmla="*/ 286178 w 1356396"/>
              <a:gd name="connsiteY13" fmla="*/ 2882 h 662520"/>
              <a:gd name="connsiteX14" fmla="*/ 327045 w 1356396"/>
              <a:gd name="connsiteY14" fmla="*/ 11678 h 662520"/>
              <a:gd name="connsiteX15" fmla="*/ 364623 w 1356396"/>
              <a:gd name="connsiteY15" fmla="*/ 26614 h 662520"/>
              <a:gd name="connsiteX16" fmla="*/ 398506 w 1356396"/>
              <a:gd name="connsiteY16" fmla="*/ 47914 h 662520"/>
              <a:gd name="connsiteX17" fmla="*/ 428289 w 1356396"/>
              <a:gd name="connsiteY17" fmla="*/ 75804 h 662520"/>
              <a:gd name="connsiteX18" fmla="*/ 453566 w 1356396"/>
              <a:gd name="connsiteY18" fmla="*/ 110509 h 662520"/>
              <a:gd name="connsiteX19" fmla="*/ 473932 w 1356396"/>
              <a:gd name="connsiteY19" fmla="*/ 152255 h 662520"/>
              <a:gd name="connsiteX20" fmla="*/ 488982 w 1356396"/>
              <a:gd name="connsiteY20" fmla="*/ 201265 h 662520"/>
              <a:gd name="connsiteX21" fmla="*/ 498309 w 1356396"/>
              <a:gd name="connsiteY21" fmla="*/ 257766 h 662520"/>
              <a:gd name="connsiteX22" fmla="*/ 501508 w 1356396"/>
              <a:gd name="connsiteY22" fmla="*/ 321983 h 662520"/>
              <a:gd name="connsiteX23" fmla="*/ 498959 w 1356396"/>
              <a:gd name="connsiteY23" fmla="*/ 376707 h 662520"/>
              <a:gd name="connsiteX24" fmla="*/ 491411 w 1356396"/>
              <a:gd name="connsiteY24" fmla="*/ 427041 h 662520"/>
              <a:gd name="connsiteX25" fmla="*/ 479009 w 1356396"/>
              <a:gd name="connsiteY25" fmla="*/ 472909 h 662520"/>
              <a:gd name="connsiteX26" fmla="*/ 461899 w 1356396"/>
              <a:gd name="connsiteY26" fmla="*/ 514232 h 662520"/>
              <a:gd name="connsiteX27" fmla="*/ 440227 w 1356396"/>
              <a:gd name="connsiteY27" fmla="*/ 550937 h 662520"/>
              <a:gd name="connsiteX28" fmla="*/ 414140 w 1356396"/>
              <a:gd name="connsiteY28" fmla="*/ 582945 h 662520"/>
              <a:gd name="connsiteX29" fmla="*/ 383782 w 1356396"/>
              <a:gd name="connsiteY29" fmla="*/ 610181 h 662520"/>
              <a:gd name="connsiteX30" fmla="*/ 349301 w 1356396"/>
              <a:gd name="connsiteY30" fmla="*/ 632569 h 662520"/>
              <a:gd name="connsiteX31" fmla="*/ 310842 w 1356396"/>
              <a:gd name="connsiteY31" fmla="*/ 650033 h 662520"/>
              <a:gd name="connsiteX32" fmla="*/ 268552 w 1356396"/>
              <a:gd name="connsiteY32" fmla="*/ 662495 h 662520"/>
              <a:gd name="connsiteX33" fmla="*/ 587715 w 1356396"/>
              <a:gd name="connsiteY33" fmla="*/ 662520 h 662520"/>
              <a:gd name="connsiteX34" fmla="*/ 566720 w 1356396"/>
              <a:gd name="connsiteY34" fmla="*/ 658030 h 662520"/>
              <a:gd name="connsiteX35" fmla="*/ 546926 w 1356396"/>
              <a:gd name="connsiteY35" fmla="*/ 652783 h 662520"/>
              <a:gd name="connsiteX36" fmla="*/ 528090 w 1356396"/>
              <a:gd name="connsiteY36" fmla="*/ 646826 h 662520"/>
              <a:gd name="connsiteX37" fmla="*/ 509966 w 1356396"/>
              <a:gd name="connsiteY37" fmla="*/ 640206 h 662520"/>
              <a:gd name="connsiteX38" fmla="*/ 509966 w 1356396"/>
              <a:gd name="connsiteY38" fmla="*/ 516293 h 662520"/>
              <a:gd name="connsiteX39" fmla="*/ 591640 w 1356396"/>
              <a:gd name="connsiteY39" fmla="*/ 516293 h 662520"/>
              <a:gd name="connsiteX40" fmla="*/ 607756 w 1356396"/>
              <a:gd name="connsiteY40" fmla="*/ 539439 h 662520"/>
              <a:gd name="connsiteX41" fmla="*/ 631180 w 1356396"/>
              <a:gd name="connsiteY41" fmla="*/ 559242 h 662520"/>
              <a:gd name="connsiteX42" fmla="*/ 662525 w 1356396"/>
              <a:gd name="connsiteY42" fmla="*/ 573062 h 662520"/>
              <a:gd name="connsiteX43" fmla="*/ 702409 w 1356396"/>
              <a:gd name="connsiteY43" fmla="*/ 578256 h 662520"/>
              <a:gd name="connsiteX44" fmla="*/ 744912 w 1356396"/>
              <a:gd name="connsiteY44" fmla="*/ 571758 h 662520"/>
              <a:gd name="connsiteX45" fmla="*/ 779851 w 1356396"/>
              <a:gd name="connsiteY45" fmla="*/ 552322 h 662520"/>
              <a:gd name="connsiteX46" fmla="*/ 803525 w 1356396"/>
              <a:gd name="connsiteY46" fmla="*/ 520038 h 662520"/>
              <a:gd name="connsiteX47" fmla="*/ 812239 w 1356396"/>
              <a:gd name="connsiteY47" fmla="*/ 474992 h 662520"/>
              <a:gd name="connsiteX48" fmla="*/ 804977 w 1356396"/>
              <a:gd name="connsiteY48" fmla="*/ 430240 h 662520"/>
              <a:gd name="connsiteX49" fmla="*/ 783019 w 1356396"/>
              <a:gd name="connsiteY49" fmla="*/ 398602 h 662520"/>
              <a:gd name="connsiteX50" fmla="*/ 746102 w 1356396"/>
              <a:gd name="connsiteY50" fmla="*/ 379812 h 662520"/>
              <a:gd name="connsiteX51" fmla="*/ 693964 w 1356396"/>
              <a:gd name="connsiteY51" fmla="*/ 373608 h 662520"/>
              <a:gd name="connsiteX52" fmla="*/ 645145 w 1356396"/>
              <a:gd name="connsiteY52" fmla="*/ 373608 h 662520"/>
              <a:gd name="connsiteX53" fmla="*/ 645145 w 1356396"/>
              <a:gd name="connsiteY53" fmla="*/ 286308 h 662520"/>
              <a:gd name="connsiteX54" fmla="*/ 686445 w 1356396"/>
              <a:gd name="connsiteY54" fmla="*/ 286308 h 662520"/>
              <a:gd name="connsiteX55" fmla="*/ 740116 w 1356396"/>
              <a:gd name="connsiteY55" fmla="*/ 280133 h 662520"/>
              <a:gd name="connsiteX56" fmla="*/ 778560 w 1356396"/>
              <a:gd name="connsiteY56" fmla="*/ 261550 h 662520"/>
              <a:gd name="connsiteX57" fmla="*/ 801690 w 1356396"/>
              <a:gd name="connsiteY57" fmla="*/ 230469 h 662520"/>
              <a:gd name="connsiteX58" fmla="*/ 809419 w 1356396"/>
              <a:gd name="connsiteY58" fmla="*/ 186804 h 662520"/>
              <a:gd name="connsiteX59" fmla="*/ 804066 w 1356396"/>
              <a:gd name="connsiteY59" fmla="*/ 149115 h 662520"/>
              <a:gd name="connsiteX60" fmla="*/ 787713 w 1356396"/>
              <a:gd name="connsiteY60" fmla="*/ 121104 h 662520"/>
              <a:gd name="connsiteX61" fmla="*/ 759918 w 1356396"/>
              <a:gd name="connsiteY61" fmla="*/ 103651 h 662520"/>
              <a:gd name="connsiteX62" fmla="*/ 720240 w 1356396"/>
              <a:gd name="connsiteY62" fmla="*/ 97637 h 662520"/>
              <a:gd name="connsiteX63" fmla="*/ 682796 w 1356396"/>
              <a:gd name="connsiteY63" fmla="*/ 102374 h 662520"/>
              <a:gd name="connsiteX64" fmla="*/ 653009 w 1356396"/>
              <a:gd name="connsiteY64" fmla="*/ 115117 h 662520"/>
              <a:gd name="connsiteX65" fmla="*/ 630086 w 1356396"/>
              <a:gd name="connsiteY65" fmla="*/ 133668 h 662520"/>
              <a:gd name="connsiteX66" fmla="*/ 613230 w 1356396"/>
              <a:gd name="connsiteY66" fmla="*/ 155828 h 662520"/>
              <a:gd name="connsiteX67" fmla="*/ 535328 w 1356396"/>
              <a:gd name="connsiteY67" fmla="*/ 155828 h 662520"/>
              <a:gd name="connsiteX68" fmla="*/ 535328 w 1356396"/>
              <a:gd name="connsiteY68" fmla="*/ 33807 h 662520"/>
              <a:gd name="connsiteX69" fmla="*/ 579559 w 1356396"/>
              <a:gd name="connsiteY69" fmla="*/ 19813 h 662520"/>
              <a:gd name="connsiteX70" fmla="*/ 626609 w 1356396"/>
              <a:gd name="connsiteY70" fmla="*/ 9159 h 662520"/>
              <a:gd name="connsiteX71" fmla="*/ 676831 w 1356396"/>
              <a:gd name="connsiteY71" fmla="*/ 2378 h 662520"/>
              <a:gd name="connsiteX72" fmla="*/ 730578 w 1356396"/>
              <a:gd name="connsiteY72" fmla="*/ 0 h 662520"/>
              <a:gd name="connsiteX73" fmla="*/ 785948 w 1356396"/>
              <a:gd name="connsiteY73" fmla="*/ 3158 h 662520"/>
              <a:gd name="connsiteX74" fmla="*/ 834242 w 1356396"/>
              <a:gd name="connsiteY74" fmla="*/ 12853 h 662520"/>
              <a:gd name="connsiteX75" fmla="*/ 874933 w 1356396"/>
              <a:gd name="connsiteY75" fmla="*/ 29412 h 662520"/>
              <a:gd name="connsiteX76" fmla="*/ 907496 w 1356396"/>
              <a:gd name="connsiteY76" fmla="*/ 53163 h 662520"/>
              <a:gd name="connsiteX77" fmla="*/ 931406 w 1356396"/>
              <a:gd name="connsiteY77" fmla="*/ 84435 h 662520"/>
              <a:gd name="connsiteX78" fmla="*/ 946137 w 1356396"/>
              <a:gd name="connsiteY78" fmla="*/ 123555 h 662520"/>
              <a:gd name="connsiteX79" fmla="*/ 951164 w 1356396"/>
              <a:gd name="connsiteY79" fmla="*/ 170853 h 662520"/>
              <a:gd name="connsiteX80" fmla="*/ 945006 w 1356396"/>
              <a:gd name="connsiteY80" fmla="*/ 219568 h 662520"/>
              <a:gd name="connsiteX81" fmla="*/ 927134 w 1356396"/>
              <a:gd name="connsiteY81" fmla="*/ 258234 h 662520"/>
              <a:gd name="connsiteX82" fmla="*/ 898448 w 1356396"/>
              <a:gd name="connsiteY82" fmla="*/ 287843 h 662520"/>
              <a:gd name="connsiteX83" fmla="*/ 859849 w 1356396"/>
              <a:gd name="connsiteY83" fmla="*/ 309388 h 662520"/>
              <a:gd name="connsiteX84" fmla="*/ 812239 w 1356396"/>
              <a:gd name="connsiteY84" fmla="*/ 323862 h 662520"/>
              <a:gd name="connsiteX85" fmla="*/ 812239 w 1356396"/>
              <a:gd name="connsiteY85" fmla="*/ 327609 h 662520"/>
              <a:gd name="connsiteX86" fmla="*/ 866234 w 1356396"/>
              <a:gd name="connsiteY86" fmla="*/ 340566 h 662520"/>
              <a:gd name="connsiteX87" fmla="*/ 907836 w 1356396"/>
              <a:gd name="connsiteY87" fmla="*/ 362534 h 662520"/>
              <a:gd name="connsiteX88" fmla="*/ 937272 w 1356396"/>
              <a:gd name="connsiteY88" fmla="*/ 393513 h 662520"/>
              <a:gd name="connsiteX89" fmla="*/ 954768 w 1356396"/>
              <a:gd name="connsiteY89" fmla="*/ 433502 h 662520"/>
              <a:gd name="connsiteX90" fmla="*/ 960549 w 1356396"/>
              <a:gd name="connsiteY90" fmla="*/ 482498 h 662520"/>
              <a:gd name="connsiteX91" fmla="*/ 955489 w 1356396"/>
              <a:gd name="connsiteY91" fmla="*/ 527743 h 662520"/>
              <a:gd name="connsiteX92" fmla="*/ 940212 w 1356396"/>
              <a:gd name="connsiteY92" fmla="*/ 567021 h 662520"/>
              <a:gd name="connsiteX93" fmla="*/ 915675 w 1356396"/>
              <a:gd name="connsiteY93" fmla="*/ 600232 h 662520"/>
              <a:gd name="connsiteX94" fmla="*/ 882838 w 1356396"/>
              <a:gd name="connsiteY94" fmla="*/ 627278 h 662520"/>
              <a:gd name="connsiteX95" fmla="*/ 842659 w 1356396"/>
              <a:gd name="connsiteY95" fmla="*/ 648061 h 662520"/>
              <a:gd name="connsiteX96" fmla="*/ 796097 w 1356396"/>
              <a:gd name="connsiteY96" fmla="*/ 662482 h 662520"/>
              <a:gd name="connsiteX97" fmla="*/ 1356396 w 1356396"/>
              <a:gd name="connsiteY97" fmla="*/ 662495 h 662520"/>
              <a:gd name="connsiteX0" fmla="*/ 243320 w 1356396"/>
              <a:gd name="connsiteY0" fmla="*/ 419568 h 662520"/>
              <a:gd name="connsiteX1" fmla="*/ 196428 w 1356396"/>
              <a:gd name="connsiteY1" fmla="*/ 424306 h 662520"/>
              <a:gd name="connsiteX2" fmla="*/ 148652 w 1356396"/>
              <a:gd name="connsiteY2" fmla="*/ 420031 h 662520"/>
              <a:gd name="connsiteX3" fmla="*/ 105703 w 1356396"/>
              <a:gd name="connsiteY3" fmla="*/ 407348 h 662520"/>
              <a:gd name="connsiteX4" fmla="*/ 37965 w 1356396"/>
              <a:gd name="connsiteY4" fmla="*/ 357614 h 662520"/>
              <a:gd name="connsiteX5" fmla="*/ 15016 w 1356396"/>
              <a:gd name="connsiteY5" fmla="*/ 320990 h 662520"/>
              <a:gd name="connsiteX6" fmla="*/ 572 w 1356396"/>
              <a:gd name="connsiteY6" fmla="*/ 276814 h 662520"/>
              <a:gd name="connsiteX7" fmla="*/ 0 w 1356396"/>
              <a:gd name="connsiteY7" fmla="*/ 178425 h 662520"/>
              <a:gd name="connsiteX8" fmla="*/ 13006 w 1356396"/>
              <a:gd name="connsiteY8" fmla="*/ 135445 h 662520"/>
              <a:gd name="connsiteX9" fmla="*/ 34064 w 1356396"/>
              <a:gd name="connsiteY9" fmla="*/ 97085 h 662520"/>
              <a:gd name="connsiteX10" fmla="*/ 62669 w 1356396"/>
              <a:gd name="connsiteY10" fmla="*/ 64071 h 662520"/>
              <a:gd name="connsiteX11" fmla="*/ 98313 w 1356396"/>
              <a:gd name="connsiteY11" fmla="*/ 37129 h 662520"/>
              <a:gd name="connsiteX12" fmla="*/ 286178 w 1356396"/>
              <a:gd name="connsiteY12" fmla="*/ 2882 h 662520"/>
              <a:gd name="connsiteX13" fmla="*/ 327045 w 1356396"/>
              <a:gd name="connsiteY13" fmla="*/ 11678 h 662520"/>
              <a:gd name="connsiteX14" fmla="*/ 364623 w 1356396"/>
              <a:gd name="connsiteY14" fmla="*/ 26614 h 662520"/>
              <a:gd name="connsiteX15" fmla="*/ 398506 w 1356396"/>
              <a:gd name="connsiteY15" fmla="*/ 47914 h 662520"/>
              <a:gd name="connsiteX16" fmla="*/ 428289 w 1356396"/>
              <a:gd name="connsiteY16" fmla="*/ 75804 h 662520"/>
              <a:gd name="connsiteX17" fmla="*/ 453566 w 1356396"/>
              <a:gd name="connsiteY17" fmla="*/ 110509 h 662520"/>
              <a:gd name="connsiteX18" fmla="*/ 473932 w 1356396"/>
              <a:gd name="connsiteY18" fmla="*/ 152255 h 662520"/>
              <a:gd name="connsiteX19" fmla="*/ 488982 w 1356396"/>
              <a:gd name="connsiteY19" fmla="*/ 201265 h 662520"/>
              <a:gd name="connsiteX20" fmla="*/ 498309 w 1356396"/>
              <a:gd name="connsiteY20" fmla="*/ 257766 h 662520"/>
              <a:gd name="connsiteX21" fmla="*/ 501508 w 1356396"/>
              <a:gd name="connsiteY21" fmla="*/ 321983 h 662520"/>
              <a:gd name="connsiteX22" fmla="*/ 498959 w 1356396"/>
              <a:gd name="connsiteY22" fmla="*/ 376707 h 662520"/>
              <a:gd name="connsiteX23" fmla="*/ 491411 w 1356396"/>
              <a:gd name="connsiteY23" fmla="*/ 427041 h 662520"/>
              <a:gd name="connsiteX24" fmla="*/ 479009 w 1356396"/>
              <a:gd name="connsiteY24" fmla="*/ 472909 h 662520"/>
              <a:gd name="connsiteX25" fmla="*/ 461899 w 1356396"/>
              <a:gd name="connsiteY25" fmla="*/ 514232 h 662520"/>
              <a:gd name="connsiteX26" fmla="*/ 440227 w 1356396"/>
              <a:gd name="connsiteY26" fmla="*/ 550937 h 662520"/>
              <a:gd name="connsiteX27" fmla="*/ 414140 w 1356396"/>
              <a:gd name="connsiteY27" fmla="*/ 582945 h 662520"/>
              <a:gd name="connsiteX28" fmla="*/ 383782 w 1356396"/>
              <a:gd name="connsiteY28" fmla="*/ 610181 h 662520"/>
              <a:gd name="connsiteX29" fmla="*/ 349301 w 1356396"/>
              <a:gd name="connsiteY29" fmla="*/ 632569 h 662520"/>
              <a:gd name="connsiteX30" fmla="*/ 310842 w 1356396"/>
              <a:gd name="connsiteY30" fmla="*/ 650033 h 662520"/>
              <a:gd name="connsiteX31" fmla="*/ 268552 w 1356396"/>
              <a:gd name="connsiteY31" fmla="*/ 662495 h 662520"/>
              <a:gd name="connsiteX32" fmla="*/ 587715 w 1356396"/>
              <a:gd name="connsiteY32" fmla="*/ 662520 h 662520"/>
              <a:gd name="connsiteX33" fmla="*/ 566720 w 1356396"/>
              <a:gd name="connsiteY33" fmla="*/ 658030 h 662520"/>
              <a:gd name="connsiteX34" fmla="*/ 546926 w 1356396"/>
              <a:gd name="connsiteY34" fmla="*/ 652783 h 662520"/>
              <a:gd name="connsiteX35" fmla="*/ 528090 w 1356396"/>
              <a:gd name="connsiteY35" fmla="*/ 646826 h 662520"/>
              <a:gd name="connsiteX36" fmla="*/ 509966 w 1356396"/>
              <a:gd name="connsiteY36" fmla="*/ 640206 h 662520"/>
              <a:gd name="connsiteX37" fmla="*/ 509966 w 1356396"/>
              <a:gd name="connsiteY37" fmla="*/ 516293 h 662520"/>
              <a:gd name="connsiteX38" fmla="*/ 591640 w 1356396"/>
              <a:gd name="connsiteY38" fmla="*/ 516293 h 662520"/>
              <a:gd name="connsiteX39" fmla="*/ 607756 w 1356396"/>
              <a:gd name="connsiteY39" fmla="*/ 539439 h 662520"/>
              <a:gd name="connsiteX40" fmla="*/ 631180 w 1356396"/>
              <a:gd name="connsiteY40" fmla="*/ 559242 h 662520"/>
              <a:gd name="connsiteX41" fmla="*/ 662525 w 1356396"/>
              <a:gd name="connsiteY41" fmla="*/ 573062 h 662520"/>
              <a:gd name="connsiteX42" fmla="*/ 702409 w 1356396"/>
              <a:gd name="connsiteY42" fmla="*/ 578256 h 662520"/>
              <a:gd name="connsiteX43" fmla="*/ 744912 w 1356396"/>
              <a:gd name="connsiteY43" fmla="*/ 571758 h 662520"/>
              <a:gd name="connsiteX44" fmla="*/ 779851 w 1356396"/>
              <a:gd name="connsiteY44" fmla="*/ 552322 h 662520"/>
              <a:gd name="connsiteX45" fmla="*/ 803525 w 1356396"/>
              <a:gd name="connsiteY45" fmla="*/ 520038 h 662520"/>
              <a:gd name="connsiteX46" fmla="*/ 812239 w 1356396"/>
              <a:gd name="connsiteY46" fmla="*/ 474992 h 662520"/>
              <a:gd name="connsiteX47" fmla="*/ 804977 w 1356396"/>
              <a:gd name="connsiteY47" fmla="*/ 430240 h 662520"/>
              <a:gd name="connsiteX48" fmla="*/ 783019 w 1356396"/>
              <a:gd name="connsiteY48" fmla="*/ 398602 h 662520"/>
              <a:gd name="connsiteX49" fmla="*/ 746102 w 1356396"/>
              <a:gd name="connsiteY49" fmla="*/ 379812 h 662520"/>
              <a:gd name="connsiteX50" fmla="*/ 693964 w 1356396"/>
              <a:gd name="connsiteY50" fmla="*/ 373608 h 662520"/>
              <a:gd name="connsiteX51" fmla="*/ 645145 w 1356396"/>
              <a:gd name="connsiteY51" fmla="*/ 373608 h 662520"/>
              <a:gd name="connsiteX52" fmla="*/ 645145 w 1356396"/>
              <a:gd name="connsiteY52" fmla="*/ 286308 h 662520"/>
              <a:gd name="connsiteX53" fmla="*/ 686445 w 1356396"/>
              <a:gd name="connsiteY53" fmla="*/ 286308 h 662520"/>
              <a:gd name="connsiteX54" fmla="*/ 740116 w 1356396"/>
              <a:gd name="connsiteY54" fmla="*/ 280133 h 662520"/>
              <a:gd name="connsiteX55" fmla="*/ 778560 w 1356396"/>
              <a:gd name="connsiteY55" fmla="*/ 261550 h 662520"/>
              <a:gd name="connsiteX56" fmla="*/ 801690 w 1356396"/>
              <a:gd name="connsiteY56" fmla="*/ 230469 h 662520"/>
              <a:gd name="connsiteX57" fmla="*/ 809419 w 1356396"/>
              <a:gd name="connsiteY57" fmla="*/ 186804 h 662520"/>
              <a:gd name="connsiteX58" fmla="*/ 804066 w 1356396"/>
              <a:gd name="connsiteY58" fmla="*/ 149115 h 662520"/>
              <a:gd name="connsiteX59" fmla="*/ 787713 w 1356396"/>
              <a:gd name="connsiteY59" fmla="*/ 121104 h 662520"/>
              <a:gd name="connsiteX60" fmla="*/ 759918 w 1356396"/>
              <a:gd name="connsiteY60" fmla="*/ 103651 h 662520"/>
              <a:gd name="connsiteX61" fmla="*/ 720240 w 1356396"/>
              <a:gd name="connsiteY61" fmla="*/ 97637 h 662520"/>
              <a:gd name="connsiteX62" fmla="*/ 682796 w 1356396"/>
              <a:gd name="connsiteY62" fmla="*/ 102374 h 662520"/>
              <a:gd name="connsiteX63" fmla="*/ 653009 w 1356396"/>
              <a:gd name="connsiteY63" fmla="*/ 115117 h 662520"/>
              <a:gd name="connsiteX64" fmla="*/ 630086 w 1356396"/>
              <a:gd name="connsiteY64" fmla="*/ 133668 h 662520"/>
              <a:gd name="connsiteX65" fmla="*/ 613230 w 1356396"/>
              <a:gd name="connsiteY65" fmla="*/ 155828 h 662520"/>
              <a:gd name="connsiteX66" fmla="*/ 535328 w 1356396"/>
              <a:gd name="connsiteY66" fmla="*/ 155828 h 662520"/>
              <a:gd name="connsiteX67" fmla="*/ 535328 w 1356396"/>
              <a:gd name="connsiteY67" fmla="*/ 33807 h 662520"/>
              <a:gd name="connsiteX68" fmla="*/ 579559 w 1356396"/>
              <a:gd name="connsiteY68" fmla="*/ 19813 h 662520"/>
              <a:gd name="connsiteX69" fmla="*/ 626609 w 1356396"/>
              <a:gd name="connsiteY69" fmla="*/ 9159 h 662520"/>
              <a:gd name="connsiteX70" fmla="*/ 676831 w 1356396"/>
              <a:gd name="connsiteY70" fmla="*/ 2378 h 662520"/>
              <a:gd name="connsiteX71" fmla="*/ 730578 w 1356396"/>
              <a:gd name="connsiteY71" fmla="*/ 0 h 662520"/>
              <a:gd name="connsiteX72" fmla="*/ 785948 w 1356396"/>
              <a:gd name="connsiteY72" fmla="*/ 3158 h 662520"/>
              <a:gd name="connsiteX73" fmla="*/ 834242 w 1356396"/>
              <a:gd name="connsiteY73" fmla="*/ 12853 h 662520"/>
              <a:gd name="connsiteX74" fmla="*/ 874933 w 1356396"/>
              <a:gd name="connsiteY74" fmla="*/ 29412 h 662520"/>
              <a:gd name="connsiteX75" fmla="*/ 907496 w 1356396"/>
              <a:gd name="connsiteY75" fmla="*/ 53163 h 662520"/>
              <a:gd name="connsiteX76" fmla="*/ 931406 w 1356396"/>
              <a:gd name="connsiteY76" fmla="*/ 84435 h 662520"/>
              <a:gd name="connsiteX77" fmla="*/ 946137 w 1356396"/>
              <a:gd name="connsiteY77" fmla="*/ 123555 h 662520"/>
              <a:gd name="connsiteX78" fmla="*/ 951164 w 1356396"/>
              <a:gd name="connsiteY78" fmla="*/ 170853 h 662520"/>
              <a:gd name="connsiteX79" fmla="*/ 945006 w 1356396"/>
              <a:gd name="connsiteY79" fmla="*/ 219568 h 662520"/>
              <a:gd name="connsiteX80" fmla="*/ 927134 w 1356396"/>
              <a:gd name="connsiteY80" fmla="*/ 258234 h 662520"/>
              <a:gd name="connsiteX81" fmla="*/ 898448 w 1356396"/>
              <a:gd name="connsiteY81" fmla="*/ 287843 h 662520"/>
              <a:gd name="connsiteX82" fmla="*/ 859849 w 1356396"/>
              <a:gd name="connsiteY82" fmla="*/ 309388 h 662520"/>
              <a:gd name="connsiteX83" fmla="*/ 812239 w 1356396"/>
              <a:gd name="connsiteY83" fmla="*/ 323862 h 662520"/>
              <a:gd name="connsiteX84" fmla="*/ 812239 w 1356396"/>
              <a:gd name="connsiteY84" fmla="*/ 327609 h 662520"/>
              <a:gd name="connsiteX85" fmla="*/ 866234 w 1356396"/>
              <a:gd name="connsiteY85" fmla="*/ 340566 h 662520"/>
              <a:gd name="connsiteX86" fmla="*/ 907836 w 1356396"/>
              <a:gd name="connsiteY86" fmla="*/ 362534 h 662520"/>
              <a:gd name="connsiteX87" fmla="*/ 937272 w 1356396"/>
              <a:gd name="connsiteY87" fmla="*/ 393513 h 662520"/>
              <a:gd name="connsiteX88" fmla="*/ 954768 w 1356396"/>
              <a:gd name="connsiteY88" fmla="*/ 433502 h 662520"/>
              <a:gd name="connsiteX89" fmla="*/ 960549 w 1356396"/>
              <a:gd name="connsiteY89" fmla="*/ 482498 h 662520"/>
              <a:gd name="connsiteX90" fmla="*/ 955489 w 1356396"/>
              <a:gd name="connsiteY90" fmla="*/ 527743 h 662520"/>
              <a:gd name="connsiteX91" fmla="*/ 940212 w 1356396"/>
              <a:gd name="connsiteY91" fmla="*/ 567021 h 662520"/>
              <a:gd name="connsiteX92" fmla="*/ 915675 w 1356396"/>
              <a:gd name="connsiteY92" fmla="*/ 600232 h 662520"/>
              <a:gd name="connsiteX93" fmla="*/ 882838 w 1356396"/>
              <a:gd name="connsiteY93" fmla="*/ 627278 h 662520"/>
              <a:gd name="connsiteX94" fmla="*/ 842659 w 1356396"/>
              <a:gd name="connsiteY94" fmla="*/ 648061 h 662520"/>
              <a:gd name="connsiteX95" fmla="*/ 796097 w 1356396"/>
              <a:gd name="connsiteY95" fmla="*/ 662482 h 662520"/>
              <a:gd name="connsiteX96" fmla="*/ 1356396 w 1356396"/>
              <a:gd name="connsiteY96" fmla="*/ 662495 h 662520"/>
              <a:gd name="connsiteX0" fmla="*/ 243320 w 1356396"/>
              <a:gd name="connsiteY0" fmla="*/ 419568 h 662520"/>
              <a:gd name="connsiteX1" fmla="*/ 196428 w 1356396"/>
              <a:gd name="connsiteY1" fmla="*/ 424306 h 662520"/>
              <a:gd name="connsiteX2" fmla="*/ 148652 w 1356396"/>
              <a:gd name="connsiteY2" fmla="*/ 420031 h 662520"/>
              <a:gd name="connsiteX3" fmla="*/ 37965 w 1356396"/>
              <a:gd name="connsiteY3" fmla="*/ 357614 h 662520"/>
              <a:gd name="connsiteX4" fmla="*/ 15016 w 1356396"/>
              <a:gd name="connsiteY4" fmla="*/ 320990 h 662520"/>
              <a:gd name="connsiteX5" fmla="*/ 572 w 1356396"/>
              <a:gd name="connsiteY5" fmla="*/ 276814 h 662520"/>
              <a:gd name="connsiteX6" fmla="*/ 0 w 1356396"/>
              <a:gd name="connsiteY6" fmla="*/ 178425 h 662520"/>
              <a:gd name="connsiteX7" fmla="*/ 13006 w 1356396"/>
              <a:gd name="connsiteY7" fmla="*/ 135445 h 662520"/>
              <a:gd name="connsiteX8" fmla="*/ 34064 w 1356396"/>
              <a:gd name="connsiteY8" fmla="*/ 97085 h 662520"/>
              <a:gd name="connsiteX9" fmla="*/ 62669 w 1356396"/>
              <a:gd name="connsiteY9" fmla="*/ 64071 h 662520"/>
              <a:gd name="connsiteX10" fmla="*/ 98313 w 1356396"/>
              <a:gd name="connsiteY10" fmla="*/ 37129 h 662520"/>
              <a:gd name="connsiteX11" fmla="*/ 286178 w 1356396"/>
              <a:gd name="connsiteY11" fmla="*/ 2882 h 662520"/>
              <a:gd name="connsiteX12" fmla="*/ 327045 w 1356396"/>
              <a:gd name="connsiteY12" fmla="*/ 11678 h 662520"/>
              <a:gd name="connsiteX13" fmla="*/ 364623 w 1356396"/>
              <a:gd name="connsiteY13" fmla="*/ 26614 h 662520"/>
              <a:gd name="connsiteX14" fmla="*/ 398506 w 1356396"/>
              <a:gd name="connsiteY14" fmla="*/ 47914 h 662520"/>
              <a:gd name="connsiteX15" fmla="*/ 428289 w 1356396"/>
              <a:gd name="connsiteY15" fmla="*/ 75804 h 662520"/>
              <a:gd name="connsiteX16" fmla="*/ 453566 w 1356396"/>
              <a:gd name="connsiteY16" fmla="*/ 110509 h 662520"/>
              <a:gd name="connsiteX17" fmla="*/ 473932 w 1356396"/>
              <a:gd name="connsiteY17" fmla="*/ 152255 h 662520"/>
              <a:gd name="connsiteX18" fmla="*/ 488982 w 1356396"/>
              <a:gd name="connsiteY18" fmla="*/ 201265 h 662520"/>
              <a:gd name="connsiteX19" fmla="*/ 498309 w 1356396"/>
              <a:gd name="connsiteY19" fmla="*/ 257766 h 662520"/>
              <a:gd name="connsiteX20" fmla="*/ 501508 w 1356396"/>
              <a:gd name="connsiteY20" fmla="*/ 321983 h 662520"/>
              <a:gd name="connsiteX21" fmla="*/ 498959 w 1356396"/>
              <a:gd name="connsiteY21" fmla="*/ 376707 h 662520"/>
              <a:gd name="connsiteX22" fmla="*/ 491411 w 1356396"/>
              <a:gd name="connsiteY22" fmla="*/ 427041 h 662520"/>
              <a:gd name="connsiteX23" fmla="*/ 479009 w 1356396"/>
              <a:gd name="connsiteY23" fmla="*/ 472909 h 662520"/>
              <a:gd name="connsiteX24" fmla="*/ 461899 w 1356396"/>
              <a:gd name="connsiteY24" fmla="*/ 514232 h 662520"/>
              <a:gd name="connsiteX25" fmla="*/ 440227 w 1356396"/>
              <a:gd name="connsiteY25" fmla="*/ 550937 h 662520"/>
              <a:gd name="connsiteX26" fmla="*/ 414140 w 1356396"/>
              <a:gd name="connsiteY26" fmla="*/ 582945 h 662520"/>
              <a:gd name="connsiteX27" fmla="*/ 383782 w 1356396"/>
              <a:gd name="connsiteY27" fmla="*/ 610181 h 662520"/>
              <a:gd name="connsiteX28" fmla="*/ 349301 w 1356396"/>
              <a:gd name="connsiteY28" fmla="*/ 632569 h 662520"/>
              <a:gd name="connsiteX29" fmla="*/ 310842 w 1356396"/>
              <a:gd name="connsiteY29" fmla="*/ 650033 h 662520"/>
              <a:gd name="connsiteX30" fmla="*/ 268552 w 1356396"/>
              <a:gd name="connsiteY30" fmla="*/ 662495 h 662520"/>
              <a:gd name="connsiteX31" fmla="*/ 587715 w 1356396"/>
              <a:gd name="connsiteY31" fmla="*/ 662520 h 662520"/>
              <a:gd name="connsiteX32" fmla="*/ 566720 w 1356396"/>
              <a:gd name="connsiteY32" fmla="*/ 658030 h 662520"/>
              <a:gd name="connsiteX33" fmla="*/ 546926 w 1356396"/>
              <a:gd name="connsiteY33" fmla="*/ 652783 h 662520"/>
              <a:gd name="connsiteX34" fmla="*/ 528090 w 1356396"/>
              <a:gd name="connsiteY34" fmla="*/ 646826 h 662520"/>
              <a:gd name="connsiteX35" fmla="*/ 509966 w 1356396"/>
              <a:gd name="connsiteY35" fmla="*/ 640206 h 662520"/>
              <a:gd name="connsiteX36" fmla="*/ 509966 w 1356396"/>
              <a:gd name="connsiteY36" fmla="*/ 516293 h 662520"/>
              <a:gd name="connsiteX37" fmla="*/ 591640 w 1356396"/>
              <a:gd name="connsiteY37" fmla="*/ 516293 h 662520"/>
              <a:gd name="connsiteX38" fmla="*/ 607756 w 1356396"/>
              <a:gd name="connsiteY38" fmla="*/ 539439 h 662520"/>
              <a:gd name="connsiteX39" fmla="*/ 631180 w 1356396"/>
              <a:gd name="connsiteY39" fmla="*/ 559242 h 662520"/>
              <a:gd name="connsiteX40" fmla="*/ 662525 w 1356396"/>
              <a:gd name="connsiteY40" fmla="*/ 573062 h 662520"/>
              <a:gd name="connsiteX41" fmla="*/ 702409 w 1356396"/>
              <a:gd name="connsiteY41" fmla="*/ 578256 h 662520"/>
              <a:gd name="connsiteX42" fmla="*/ 744912 w 1356396"/>
              <a:gd name="connsiteY42" fmla="*/ 571758 h 662520"/>
              <a:gd name="connsiteX43" fmla="*/ 779851 w 1356396"/>
              <a:gd name="connsiteY43" fmla="*/ 552322 h 662520"/>
              <a:gd name="connsiteX44" fmla="*/ 803525 w 1356396"/>
              <a:gd name="connsiteY44" fmla="*/ 520038 h 662520"/>
              <a:gd name="connsiteX45" fmla="*/ 812239 w 1356396"/>
              <a:gd name="connsiteY45" fmla="*/ 474992 h 662520"/>
              <a:gd name="connsiteX46" fmla="*/ 804977 w 1356396"/>
              <a:gd name="connsiteY46" fmla="*/ 430240 h 662520"/>
              <a:gd name="connsiteX47" fmla="*/ 783019 w 1356396"/>
              <a:gd name="connsiteY47" fmla="*/ 398602 h 662520"/>
              <a:gd name="connsiteX48" fmla="*/ 746102 w 1356396"/>
              <a:gd name="connsiteY48" fmla="*/ 379812 h 662520"/>
              <a:gd name="connsiteX49" fmla="*/ 693964 w 1356396"/>
              <a:gd name="connsiteY49" fmla="*/ 373608 h 662520"/>
              <a:gd name="connsiteX50" fmla="*/ 645145 w 1356396"/>
              <a:gd name="connsiteY50" fmla="*/ 373608 h 662520"/>
              <a:gd name="connsiteX51" fmla="*/ 645145 w 1356396"/>
              <a:gd name="connsiteY51" fmla="*/ 286308 h 662520"/>
              <a:gd name="connsiteX52" fmla="*/ 686445 w 1356396"/>
              <a:gd name="connsiteY52" fmla="*/ 286308 h 662520"/>
              <a:gd name="connsiteX53" fmla="*/ 740116 w 1356396"/>
              <a:gd name="connsiteY53" fmla="*/ 280133 h 662520"/>
              <a:gd name="connsiteX54" fmla="*/ 778560 w 1356396"/>
              <a:gd name="connsiteY54" fmla="*/ 261550 h 662520"/>
              <a:gd name="connsiteX55" fmla="*/ 801690 w 1356396"/>
              <a:gd name="connsiteY55" fmla="*/ 230469 h 662520"/>
              <a:gd name="connsiteX56" fmla="*/ 809419 w 1356396"/>
              <a:gd name="connsiteY56" fmla="*/ 186804 h 662520"/>
              <a:gd name="connsiteX57" fmla="*/ 804066 w 1356396"/>
              <a:gd name="connsiteY57" fmla="*/ 149115 h 662520"/>
              <a:gd name="connsiteX58" fmla="*/ 787713 w 1356396"/>
              <a:gd name="connsiteY58" fmla="*/ 121104 h 662520"/>
              <a:gd name="connsiteX59" fmla="*/ 759918 w 1356396"/>
              <a:gd name="connsiteY59" fmla="*/ 103651 h 662520"/>
              <a:gd name="connsiteX60" fmla="*/ 720240 w 1356396"/>
              <a:gd name="connsiteY60" fmla="*/ 97637 h 662520"/>
              <a:gd name="connsiteX61" fmla="*/ 682796 w 1356396"/>
              <a:gd name="connsiteY61" fmla="*/ 102374 h 662520"/>
              <a:gd name="connsiteX62" fmla="*/ 653009 w 1356396"/>
              <a:gd name="connsiteY62" fmla="*/ 115117 h 662520"/>
              <a:gd name="connsiteX63" fmla="*/ 630086 w 1356396"/>
              <a:gd name="connsiteY63" fmla="*/ 133668 h 662520"/>
              <a:gd name="connsiteX64" fmla="*/ 613230 w 1356396"/>
              <a:gd name="connsiteY64" fmla="*/ 155828 h 662520"/>
              <a:gd name="connsiteX65" fmla="*/ 535328 w 1356396"/>
              <a:gd name="connsiteY65" fmla="*/ 155828 h 662520"/>
              <a:gd name="connsiteX66" fmla="*/ 535328 w 1356396"/>
              <a:gd name="connsiteY66" fmla="*/ 33807 h 662520"/>
              <a:gd name="connsiteX67" fmla="*/ 579559 w 1356396"/>
              <a:gd name="connsiteY67" fmla="*/ 19813 h 662520"/>
              <a:gd name="connsiteX68" fmla="*/ 626609 w 1356396"/>
              <a:gd name="connsiteY68" fmla="*/ 9159 h 662520"/>
              <a:gd name="connsiteX69" fmla="*/ 676831 w 1356396"/>
              <a:gd name="connsiteY69" fmla="*/ 2378 h 662520"/>
              <a:gd name="connsiteX70" fmla="*/ 730578 w 1356396"/>
              <a:gd name="connsiteY70" fmla="*/ 0 h 662520"/>
              <a:gd name="connsiteX71" fmla="*/ 785948 w 1356396"/>
              <a:gd name="connsiteY71" fmla="*/ 3158 h 662520"/>
              <a:gd name="connsiteX72" fmla="*/ 834242 w 1356396"/>
              <a:gd name="connsiteY72" fmla="*/ 12853 h 662520"/>
              <a:gd name="connsiteX73" fmla="*/ 874933 w 1356396"/>
              <a:gd name="connsiteY73" fmla="*/ 29412 h 662520"/>
              <a:gd name="connsiteX74" fmla="*/ 907496 w 1356396"/>
              <a:gd name="connsiteY74" fmla="*/ 53163 h 662520"/>
              <a:gd name="connsiteX75" fmla="*/ 931406 w 1356396"/>
              <a:gd name="connsiteY75" fmla="*/ 84435 h 662520"/>
              <a:gd name="connsiteX76" fmla="*/ 946137 w 1356396"/>
              <a:gd name="connsiteY76" fmla="*/ 123555 h 662520"/>
              <a:gd name="connsiteX77" fmla="*/ 951164 w 1356396"/>
              <a:gd name="connsiteY77" fmla="*/ 170853 h 662520"/>
              <a:gd name="connsiteX78" fmla="*/ 945006 w 1356396"/>
              <a:gd name="connsiteY78" fmla="*/ 219568 h 662520"/>
              <a:gd name="connsiteX79" fmla="*/ 927134 w 1356396"/>
              <a:gd name="connsiteY79" fmla="*/ 258234 h 662520"/>
              <a:gd name="connsiteX80" fmla="*/ 898448 w 1356396"/>
              <a:gd name="connsiteY80" fmla="*/ 287843 h 662520"/>
              <a:gd name="connsiteX81" fmla="*/ 859849 w 1356396"/>
              <a:gd name="connsiteY81" fmla="*/ 309388 h 662520"/>
              <a:gd name="connsiteX82" fmla="*/ 812239 w 1356396"/>
              <a:gd name="connsiteY82" fmla="*/ 323862 h 662520"/>
              <a:gd name="connsiteX83" fmla="*/ 812239 w 1356396"/>
              <a:gd name="connsiteY83" fmla="*/ 327609 h 662520"/>
              <a:gd name="connsiteX84" fmla="*/ 866234 w 1356396"/>
              <a:gd name="connsiteY84" fmla="*/ 340566 h 662520"/>
              <a:gd name="connsiteX85" fmla="*/ 907836 w 1356396"/>
              <a:gd name="connsiteY85" fmla="*/ 362534 h 662520"/>
              <a:gd name="connsiteX86" fmla="*/ 937272 w 1356396"/>
              <a:gd name="connsiteY86" fmla="*/ 393513 h 662520"/>
              <a:gd name="connsiteX87" fmla="*/ 954768 w 1356396"/>
              <a:gd name="connsiteY87" fmla="*/ 433502 h 662520"/>
              <a:gd name="connsiteX88" fmla="*/ 960549 w 1356396"/>
              <a:gd name="connsiteY88" fmla="*/ 482498 h 662520"/>
              <a:gd name="connsiteX89" fmla="*/ 955489 w 1356396"/>
              <a:gd name="connsiteY89" fmla="*/ 527743 h 662520"/>
              <a:gd name="connsiteX90" fmla="*/ 940212 w 1356396"/>
              <a:gd name="connsiteY90" fmla="*/ 567021 h 662520"/>
              <a:gd name="connsiteX91" fmla="*/ 915675 w 1356396"/>
              <a:gd name="connsiteY91" fmla="*/ 600232 h 662520"/>
              <a:gd name="connsiteX92" fmla="*/ 882838 w 1356396"/>
              <a:gd name="connsiteY92" fmla="*/ 627278 h 662520"/>
              <a:gd name="connsiteX93" fmla="*/ 842659 w 1356396"/>
              <a:gd name="connsiteY93" fmla="*/ 648061 h 662520"/>
              <a:gd name="connsiteX94" fmla="*/ 796097 w 1356396"/>
              <a:gd name="connsiteY94" fmla="*/ 662482 h 662520"/>
              <a:gd name="connsiteX95" fmla="*/ 1356396 w 1356396"/>
              <a:gd name="connsiteY95" fmla="*/ 662495 h 662520"/>
              <a:gd name="connsiteX0" fmla="*/ 243320 w 1356396"/>
              <a:gd name="connsiteY0" fmla="*/ 419568 h 662520"/>
              <a:gd name="connsiteX1" fmla="*/ 196428 w 1356396"/>
              <a:gd name="connsiteY1" fmla="*/ 424306 h 662520"/>
              <a:gd name="connsiteX2" fmla="*/ 37965 w 1356396"/>
              <a:gd name="connsiteY2" fmla="*/ 357614 h 662520"/>
              <a:gd name="connsiteX3" fmla="*/ 15016 w 1356396"/>
              <a:gd name="connsiteY3" fmla="*/ 320990 h 662520"/>
              <a:gd name="connsiteX4" fmla="*/ 572 w 1356396"/>
              <a:gd name="connsiteY4" fmla="*/ 276814 h 662520"/>
              <a:gd name="connsiteX5" fmla="*/ 0 w 1356396"/>
              <a:gd name="connsiteY5" fmla="*/ 178425 h 662520"/>
              <a:gd name="connsiteX6" fmla="*/ 13006 w 1356396"/>
              <a:gd name="connsiteY6" fmla="*/ 135445 h 662520"/>
              <a:gd name="connsiteX7" fmla="*/ 34064 w 1356396"/>
              <a:gd name="connsiteY7" fmla="*/ 97085 h 662520"/>
              <a:gd name="connsiteX8" fmla="*/ 62669 w 1356396"/>
              <a:gd name="connsiteY8" fmla="*/ 64071 h 662520"/>
              <a:gd name="connsiteX9" fmla="*/ 98313 w 1356396"/>
              <a:gd name="connsiteY9" fmla="*/ 37129 h 662520"/>
              <a:gd name="connsiteX10" fmla="*/ 286178 w 1356396"/>
              <a:gd name="connsiteY10" fmla="*/ 2882 h 662520"/>
              <a:gd name="connsiteX11" fmla="*/ 327045 w 1356396"/>
              <a:gd name="connsiteY11" fmla="*/ 11678 h 662520"/>
              <a:gd name="connsiteX12" fmla="*/ 364623 w 1356396"/>
              <a:gd name="connsiteY12" fmla="*/ 26614 h 662520"/>
              <a:gd name="connsiteX13" fmla="*/ 398506 w 1356396"/>
              <a:gd name="connsiteY13" fmla="*/ 47914 h 662520"/>
              <a:gd name="connsiteX14" fmla="*/ 428289 w 1356396"/>
              <a:gd name="connsiteY14" fmla="*/ 75804 h 662520"/>
              <a:gd name="connsiteX15" fmla="*/ 453566 w 1356396"/>
              <a:gd name="connsiteY15" fmla="*/ 110509 h 662520"/>
              <a:gd name="connsiteX16" fmla="*/ 473932 w 1356396"/>
              <a:gd name="connsiteY16" fmla="*/ 152255 h 662520"/>
              <a:gd name="connsiteX17" fmla="*/ 488982 w 1356396"/>
              <a:gd name="connsiteY17" fmla="*/ 201265 h 662520"/>
              <a:gd name="connsiteX18" fmla="*/ 498309 w 1356396"/>
              <a:gd name="connsiteY18" fmla="*/ 257766 h 662520"/>
              <a:gd name="connsiteX19" fmla="*/ 501508 w 1356396"/>
              <a:gd name="connsiteY19" fmla="*/ 321983 h 662520"/>
              <a:gd name="connsiteX20" fmla="*/ 498959 w 1356396"/>
              <a:gd name="connsiteY20" fmla="*/ 376707 h 662520"/>
              <a:gd name="connsiteX21" fmla="*/ 491411 w 1356396"/>
              <a:gd name="connsiteY21" fmla="*/ 427041 h 662520"/>
              <a:gd name="connsiteX22" fmla="*/ 479009 w 1356396"/>
              <a:gd name="connsiteY22" fmla="*/ 472909 h 662520"/>
              <a:gd name="connsiteX23" fmla="*/ 461899 w 1356396"/>
              <a:gd name="connsiteY23" fmla="*/ 514232 h 662520"/>
              <a:gd name="connsiteX24" fmla="*/ 440227 w 1356396"/>
              <a:gd name="connsiteY24" fmla="*/ 550937 h 662520"/>
              <a:gd name="connsiteX25" fmla="*/ 414140 w 1356396"/>
              <a:gd name="connsiteY25" fmla="*/ 582945 h 662520"/>
              <a:gd name="connsiteX26" fmla="*/ 383782 w 1356396"/>
              <a:gd name="connsiteY26" fmla="*/ 610181 h 662520"/>
              <a:gd name="connsiteX27" fmla="*/ 349301 w 1356396"/>
              <a:gd name="connsiteY27" fmla="*/ 632569 h 662520"/>
              <a:gd name="connsiteX28" fmla="*/ 310842 w 1356396"/>
              <a:gd name="connsiteY28" fmla="*/ 650033 h 662520"/>
              <a:gd name="connsiteX29" fmla="*/ 268552 w 1356396"/>
              <a:gd name="connsiteY29" fmla="*/ 662495 h 662520"/>
              <a:gd name="connsiteX30" fmla="*/ 587715 w 1356396"/>
              <a:gd name="connsiteY30" fmla="*/ 662520 h 662520"/>
              <a:gd name="connsiteX31" fmla="*/ 566720 w 1356396"/>
              <a:gd name="connsiteY31" fmla="*/ 658030 h 662520"/>
              <a:gd name="connsiteX32" fmla="*/ 546926 w 1356396"/>
              <a:gd name="connsiteY32" fmla="*/ 652783 h 662520"/>
              <a:gd name="connsiteX33" fmla="*/ 528090 w 1356396"/>
              <a:gd name="connsiteY33" fmla="*/ 646826 h 662520"/>
              <a:gd name="connsiteX34" fmla="*/ 509966 w 1356396"/>
              <a:gd name="connsiteY34" fmla="*/ 640206 h 662520"/>
              <a:gd name="connsiteX35" fmla="*/ 509966 w 1356396"/>
              <a:gd name="connsiteY35" fmla="*/ 516293 h 662520"/>
              <a:gd name="connsiteX36" fmla="*/ 591640 w 1356396"/>
              <a:gd name="connsiteY36" fmla="*/ 516293 h 662520"/>
              <a:gd name="connsiteX37" fmla="*/ 607756 w 1356396"/>
              <a:gd name="connsiteY37" fmla="*/ 539439 h 662520"/>
              <a:gd name="connsiteX38" fmla="*/ 631180 w 1356396"/>
              <a:gd name="connsiteY38" fmla="*/ 559242 h 662520"/>
              <a:gd name="connsiteX39" fmla="*/ 662525 w 1356396"/>
              <a:gd name="connsiteY39" fmla="*/ 573062 h 662520"/>
              <a:gd name="connsiteX40" fmla="*/ 702409 w 1356396"/>
              <a:gd name="connsiteY40" fmla="*/ 578256 h 662520"/>
              <a:gd name="connsiteX41" fmla="*/ 744912 w 1356396"/>
              <a:gd name="connsiteY41" fmla="*/ 571758 h 662520"/>
              <a:gd name="connsiteX42" fmla="*/ 779851 w 1356396"/>
              <a:gd name="connsiteY42" fmla="*/ 552322 h 662520"/>
              <a:gd name="connsiteX43" fmla="*/ 803525 w 1356396"/>
              <a:gd name="connsiteY43" fmla="*/ 520038 h 662520"/>
              <a:gd name="connsiteX44" fmla="*/ 812239 w 1356396"/>
              <a:gd name="connsiteY44" fmla="*/ 474992 h 662520"/>
              <a:gd name="connsiteX45" fmla="*/ 804977 w 1356396"/>
              <a:gd name="connsiteY45" fmla="*/ 430240 h 662520"/>
              <a:gd name="connsiteX46" fmla="*/ 783019 w 1356396"/>
              <a:gd name="connsiteY46" fmla="*/ 398602 h 662520"/>
              <a:gd name="connsiteX47" fmla="*/ 746102 w 1356396"/>
              <a:gd name="connsiteY47" fmla="*/ 379812 h 662520"/>
              <a:gd name="connsiteX48" fmla="*/ 693964 w 1356396"/>
              <a:gd name="connsiteY48" fmla="*/ 373608 h 662520"/>
              <a:gd name="connsiteX49" fmla="*/ 645145 w 1356396"/>
              <a:gd name="connsiteY49" fmla="*/ 373608 h 662520"/>
              <a:gd name="connsiteX50" fmla="*/ 645145 w 1356396"/>
              <a:gd name="connsiteY50" fmla="*/ 286308 h 662520"/>
              <a:gd name="connsiteX51" fmla="*/ 686445 w 1356396"/>
              <a:gd name="connsiteY51" fmla="*/ 286308 h 662520"/>
              <a:gd name="connsiteX52" fmla="*/ 740116 w 1356396"/>
              <a:gd name="connsiteY52" fmla="*/ 280133 h 662520"/>
              <a:gd name="connsiteX53" fmla="*/ 778560 w 1356396"/>
              <a:gd name="connsiteY53" fmla="*/ 261550 h 662520"/>
              <a:gd name="connsiteX54" fmla="*/ 801690 w 1356396"/>
              <a:gd name="connsiteY54" fmla="*/ 230469 h 662520"/>
              <a:gd name="connsiteX55" fmla="*/ 809419 w 1356396"/>
              <a:gd name="connsiteY55" fmla="*/ 186804 h 662520"/>
              <a:gd name="connsiteX56" fmla="*/ 804066 w 1356396"/>
              <a:gd name="connsiteY56" fmla="*/ 149115 h 662520"/>
              <a:gd name="connsiteX57" fmla="*/ 787713 w 1356396"/>
              <a:gd name="connsiteY57" fmla="*/ 121104 h 662520"/>
              <a:gd name="connsiteX58" fmla="*/ 759918 w 1356396"/>
              <a:gd name="connsiteY58" fmla="*/ 103651 h 662520"/>
              <a:gd name="connsiteX59" fmla="*/ 720240 w 1356396"/>
              <a:gd name="connsiteY59" fmla="*/ 97637 h 662520"/>
              <a:gd name="connsiteX60" fmla="*/ 682796 w 1356396"/>
              <a:gd name="connsiteY60" fmla="*/ 102374 h 662520"/>
              <a:gd name="connsiteX61" fmla="*/ 653009 w 1356396"/>
              <a:gd name="connsiteY61" fmla="*/ 115117 h 662520"/>
              <a:gd name="connsiteX62" fmla="*/ 630086 w 1356396"/>
              <a:gd name="connsiteY62" fmla="*/ 133668 h 662520"/>
              <a:gd name="connsiteX63" fmla="*/ 613230 w 1356396"/>
              <a:gd name="connsiteY63" fmla="*/ 155828 h 662520"/>
              <a:gd name="connsiteX64" fmla="*/ 535328 w 1356396"/>
              <a:gd name="connsiteY64" fmla="*/ 155828 h 662520"/>
              <a:gd name="connsiteX65" fmla="*/ 535328 w 1356396"/>
              <a:gd name="connsiteY65" fmla="*/ 33807 h 662520"/>
              <a:gd name="connsiteX66" fmla="*/ 579559 w 1356396"/>
              <a:gd name="connsiteY66" fmla="*/ 19813 h 662520"/>
              <a:gd name="connsiteX67" fmla="*/ 626609 w 1356396"/>
              <a:gd name="connsiteY67" fmla="*/ 9159 h 662520"/>
              <a:gd name="connsiteX68" fmla="*/ 676831 w 1356396"/>
              <a:gd name="connsiteY68" fmla="*/ 2378 h 662520"/>
              <a:gd name="connsiteX69" fmla="*/ 730578 w 1356396"/>
              <a:gd name="connsiteY69" fmla="*/ 0 h 662520"/>
              <a:gd name="connsiteX70" fmla="*/ 785948 w 1356396"/>
              <a:gd name="connsiteY70" fmla="*/ 3158 h 662520"/>
              <a:gd name="connsiteX71" fmla="*/ 834242 w 1356396"/>
              <a:gd name="connsiteY71" fmla="*/ 12853 h 662520"/>
              <a:gd name="connsiteX72" fmla="*/ 874933 w 1356396"/>
              <a:gd name="connsiteY72" fmla="*/ 29412 h 662520"/>
              <a:gd name="connsiteX73" fmla="*/ 907496 w 1356396"/>
              <a:gd name="connsiteY73" fmla="*/ 53163 h 662520"/>
              <a:gd name="connsiteX74" fmla="*/ 931406 w 1356396"/>
              <a:gd name="connsiteY74" fmla="*/ 84435 h 662520"/>
              <a:gd name="connsiteX75" fmla="*/ 946137 w 1356396"/>
              <a:gd name="connsiteY75" fmla="*/ 123555 h 662520"/>
              <a:gd name="connsiteX76" fmla="*/ 951164 w 1356396"/>
              <a:gd name="connsiteY76" fmla="*/ 170853 h 662520"/>
              <a:gd name="connsiteX77" fmla="*/ 945006 w 1356396"/>
              <a:gd name="connsiteY77" fmla="*/ 219568 h 662520"/>
              <a:gd name="connsiteX78" fmla="*/ 927134 w 1356396"/>
              <a:gd name="connsiteY78" fmla="*/ 258234 h 662520"/>
              <a:gd name="connsiteX79" fmla="*/ 898448 w 1356396"/>
              <a:gd name="connsiteY79" fmla="*/ 287843 h 662520"/>
              <a:gd name="connsiteX80" fmla="*/ 859849 w 1356396"/>
              <a:gd name="connsiteY80" fmla="*/ 309388 h 662520"/>
              <a:gd name="connsiteX81" fmla="*/ 812239 w 1356396"/>
              <a:gd name="connsiteY81" fmla="*/ 323862 h 662520"/>
              <a:gd name="connsiteX82" fmla="*/ 812239 w 1356396"/>
              <a:gd name="connsiteY82" fmla="*/ 327609 h 662520"/>
              <a:gd name="connsiteX83" fmla="*/ 866234 w 1356396"/>
              <a:gd name="connsiteY83" fmla="*/ 340566 h 662520"/>
              <a:gd name="connsiteX84" fmla="*/ 907836 w 1356396"/>
              <a:gd name="connsiteY84" fmla="*/ 362534 h 662520"/>
              <a:gd name="connsiteX85" fmla="*/ 937272 w 1356396"/>
              <a:gd name="connsiteY85" fmla="*/ 393513 h 662520"/>
              <a:gd name="connsiteX86" fmla="*/ 954768 w 1356396"/>
              <a:gd name="connsiteY86" fmla="*/ 433502 h 662520"/>
              <a:gd name="connsiteX87" fmla="*/ 960549 w 1356396"/>
              <a:gd name="connsiteY87" fmla="*/ 482498 h 662520"/>
              <a:gd name="connsiteX88" fmla="*/ 955489 w 1356396"/>
              <a:gd name="connsiteY88" fmla="*/ 527743 h 662520"/>
              <a:gd name="connsiteX89" fmla="*/ 940212 w 1356396"/>
              <a:gd name="connsiteY89" fmla="*/ 567021 h 662520"/>
              <a:gd name="connsiteX90" fmla="*/ 915675 w 1356396"/>
              <a:gd name="connsiteY90" fmla="*/ 600232 h 662520"/>
              <a:gd name="connsiteX91" fmla="*/ 882838 w 1356396"/>
              <a:gd name="connsiteY91" fmla="*/ 627278 h 662520"/>
              <a:gd name="connsiteX92" fmla="*/ 842659 w 1356396"/>
              <a:gd name="connsiteY92" fmla="*/ 648061 h 662520"/>
              <a:gd name="connsiteX93" fmla="*/ 796097 w 1356396"/>
              <a:gd name="connsiteY93" fmla="*/ 662482 h 662520"/>
              <a:gd name="connsiteX94" fmla="*/ 1356396 w 1356396"/>
              <a:gd name="connsiteY94" fmla="*/ 662495 h 662520"/>
              <a:gd name="connsiteX0" fmla="*/ 243320 w 1356396"/>
              <a:gd name="connsiteY0" fmla="*/ 419568 h 662520"/>
              <a:gd name="connsiteX1" fmla="*/ 37965 w 1356396"/>
              <a:gd name="connsiteY1" fmla="*/ 357614 h 662520"/>
              <a:gd name="connsiteX2" fmla="*/ 15016 w 1356396"/>
              <a:gd name="connsiteY2" fmla="*/ 320990 h 662520"/>
              <a:gd name="connsiteX3" fmla="*/ 572 w 1356396"/>
              <a:gd name="connsiteY3" fmla="*/ 276814 h 662520"/>
              <a:gd name="connsiteX4" fmla="*/ 0 w 1356396"/>
              <a:gd name="connsiteY4" fmla="*/ 178425 h 662520"/>
              <a:gd name="connsiteX5" fmla="*/ 13006 w 1356396"/>
              <a:gd name="connsiteY5" fmla="*/ 135445 h 662520"/>
              <a:gd name="connsiteX6" fmla="*/ 34064 w 1356396"/>
              <a:gd name="connsiteY6" fmla="*/ 97085 h 662520"/>
              <a:gd name="connsiteX7" fmla="*/ 62669 w 1356396"/>
              <a:gd name="connsiteY7" fmla="*/ 64071 h 662520"/>
              <a:gd name="connsiteX8" fmla="*/ 98313 w 1356396"/>
              <a:gd name="connsiteY8" fmla="*/ 37129 h 662520"/>
              <a:gd name="connsiteX9" fmla="*/ 286178 w 1356396"/>
              <a:gd name="connsiteY9" fmla="*/ 2882 h 662520"/>
              <a:gd name="connsiteX10" fmla="*/ 327045 w 1356396"/>
              <a:gd name="connsiteY10" fmla="*/ 11678 h 662520"/>
              <a:gd name="connsiteX11" fmla="*/ 364623 w 1356396"/>
              <a:gd name="connsiteY11" fmla="*/ 26614 h 662520"/>
              <a:gd name="connsiteX12" fmla="*/ 398506 w 1356396"/>
              <a:gd name="connsiteY12" fmla="*/ 47914 h 662520"/>
              <a:gd name="connsiteX13" fmla="*/ 428289 w 1356396"/>
              <a:gd name="connsiteY13" fmla="*/ 75804 h 662520"/>
              <a:gd name="connsiteX14" fmla="*/ 453566 w 1356396"/>
              <a:gd name="connsiteY14" fmla="*/ 110509 h 662520"/>
              <a:gd name="connsiteX15" fmla="*/ 473932 w 1356396"/>
              <a:gd name="connsiteY15" fmla="*/ 152255 h 662520"/>
              <a:gd name="connsiteX16" fmla="*/ 488982 w 1356396"/>
              <a:gd name="connsiteY16" fmla="*/ 201265 h 662520"/>
              <a:gd name="connsiteX17" fmla="*/ 498309 w 1356396"/>
              <a:gd name="connsiteY17" fmla="*/ 257766 h 662520"/>
              <a:gd name="connsiteX18" fmla="*/ 501508 w 1356396"/>
              <a:gd name="connsiteY18" fmla="*/ 321983 h 662520"/>
              <a:gd name="connsiteX19" fmla="*/ 498959 w 1356396"/>
              <a:gd name="connsiteY19" fmla="*/ 376707 h 662520"/>
              <a:gd name="connsiteX20" fmla="*/ 491411 w 1356396"/>
              <a:gd name="connsiteY20" fmla="*/ 427041 h 662520"/>
              <a:gd name="connsiteX21" fmla="*/ 479009 w 1356396"/>
              <a:gd name="connsiteY21" fmla="*/ 472909 h 662520"/>
              <a:gd name="connsiteX22" fmla="*/ 461899 w 1356396"/>
              <a:gd name="connsiteY22" fmla="*/ 514232 h 662520"/>
              <a:gd name="connsiteX23" fmla="*/ 440227 w 1356396"/>
              <a:gd name="connsiteY23" fmla="*/ 550937 h 662520"/>
              <a:gd name="connsiteX24" fmla="*/ 414140 w 1356396"/>
              <a:gd name="connsiteY24" fmla="*/ 582945 h 662520"/>
              <a:gd name="connsiteX25" fmla="*/ 383782 w 1356396"/>
              <a:gd name="connsiteY25" fmla="*/ 610181 h 662520"/>
              <a:gd name="connsiteX26" fmla="*/ 349301 w 1356396"/>
              <a:gd name="connsiteY26" fmla="*/ 632569 h 662520"/>
              <a:gd name="connsiteX27" fmla="*/ 310842 w 1356396"/>
              <a:gd name="connsiteY27" fmla="*/ 650033 h 662520"/>
              <a:gd name="connsiteX28" fmla="*/ 268552 w 1356396"/>
              <a:gd name="connsiteY28" fmla="*/ 662495 h 662520"/>
              <a:gd name="connsiteX29" fmla="*/ 587715 w 1356396"/>
              <a:gd name="connsiteY29" fmla="*/ 662520 h 662520"/>
              <a:gd name="connsiteX30" fmla="*/ 566720 w 1356396"/>
              <a:gd name="connsiteY30" fmla="*/ 658030 h 662520"/>
              <a:gd name="connsiteX31" fmla="*/ 546926 w 1356396"/>
              <a:gd name="connsiteY31" fmla="*/ 652783 h 662520"/>
              <a:gd name="connsiteX32" fmla="*/ 528090 w 1356396"/>
              <a:gd name="connsiteY32" fmla="*/ 646826 h 662520"/>
              <a:gd name="connsiteX33" fmla="*/ 509966 w 1356396"/>
              <a:gd name="connsiteY33" fmla="*/ 640206 h 662520"/>
              <a:gd name="connsiteX34" fmla="*/ 509966 w 1356396"/>
              <a:gd name="connsiteY34" fmla="*/ 516293 h 662520"/>
              <a:gd name="connsiteX35" fmla="*/ 591640 w 1356396"/>
              <a:gd name="connsiteY35" fmla="*/ 516293 h 662520"/>
              <a:gd name="connsiteX36" fmla="*/ 607756 w 1356396"/>
              <a:gd name="connsiteY36" fmla="*/ 539439 h 662520"/>
              <a:gd name="connsiteX37" fmla="*/ 631180 w 1356396"/>
              <a:gd name="connsiteY37" fmla="*/ 559242 h 662520"/>
              <a:gd name="connsiteX38" fmla="*/ 662525 w 1356396"/>
              <a:gd name="connsiteY38" fmla="*/ 573062 h 662520"/>
              <a:gd name="connsiteX39" fmla="*/ 702409 w 1356396"/>
              <a:gd name="connsiteY39" fmla="*/ 578256 h 662520"/>
              <a:gd name="connsiteX40" fmla="*/ 744912 w 1356396"/>
              <a:gd name="connsiteY40" fmla="*/ 571758 h 662520"/>
              <a:gd name="connsiteX41" fmla="*/ 779851 w 1356396"/>
              <a:gd name="connsiteY41" fmla="*/ 552322 h 662520"/>
              <a:gd name="connsiteX42" fmla="*/ 803525 w 1356396"/>
              <a:gd name="connsiteY42" fmla="*/ 520038 h 662520"/>
              <a:gd name="connsiteX43" fmla="*/ 812239 w 1356396"/>
              <a:gd name="connsiteY43" fmla="*/ 474992 h 662520"/>
              <a:gd name="connsiteX44" fmla="*/ 804977 w 1356396"/>
              <a:gd name="connsiteY44" fmla="*/ 430240 h 662520"/>
              <a:gd name="connsiteX45" fmla="*/ 783019 w 1356396"/>
              <a:gd name="connsiteY45" fmla="*/ 398602 h 662520"/>
              <a:gd name="connsiteX46" fmla="*/ 746102 w 1356396"/>
              <a:gd name="connsiteY46" fmla="*/ 379812 h 662520"/>
              <a:gd name="connsiteX47" fmla="*/ 693964 w 1356396"/>
              <a:gd name="connsiteY47" fmla="*/ 373608 h 662520"/>
              <a:gd name="connsiteX48" fmla="*/ 645145 w 1356396"/>
              <a:gd name="connsiteY48" fmla="*/ 373608 h 662520"/>
              <a:gd name="connsiteX49" fmla="*/ 645145 w 1356396"/>
              <a:gd name="connsiteY49" fmla="*/ 286308 h 662520"/>
              <a:gd name="connsiteX50" fmla="*/ 686445 w 1356396"/>
              <a:gd name="connsiteY50" fmla="*/ 286308 h 662520"/>
              <a:gd name="connsiteX51" fmla="*/ 740116 w 1356396"/>
              <a:gd name="connsiteY51" fmla="*/ 280133 h 662520"/>
              <a:gd name="connsiteX52" fmla="*/ 778560 w 1356396"/>
              <a:gd name="connsiteY52" fmla="*/ 261550 h 662520"/>
              <a:gd name="connsiteX53" fmla="*/ 801690 w 1356396"/>
              <a:gd name="connsiteY53" fmla="*/ 230469 h 662520"/>
              <a:gd name="connsiteX54" fmla="*/ 809419 w 1356396"/>
              <a:gd name="connsiteY54" fmla="*/ 186804 h 662520"/>
              <a:gd name="connsiteX55" fmla="*/ 804066 w 1356396"/>
              <a:gd name="connsiteY55" fmla="*/ 149115 h 662520"/>
              <a:gd name="connsiteX56" fmla="*/ 787713 w 1356396"/>
              <a:gd name="connsiteY56" fmla="*/ 121104 h 662520"/>
              <a:gd name="connsiteX57" fmla="*/ 759918 w 1356396"/>
              <a:gd name="connsiteY57" fmla="*/ 103651 h 662520"/>
              <a:gd name="connsiteX58" fmla="*/ 720240 w 1356396"/>
              <a:gd name="connsiteY58" fmla="*/ 97637 h 662520"/>
              <a:gd name="connsiteX59" fmla="*/ 682796 w 1356396"/>
              <a:gd name="connsiteY59" fmla="*/ 102374 h 662520"/>
              <a:gd name="connsiteX60" fmla="*/ 653009 w 1356396"/>
              <a:gd name="connsiteY60" fmla="*/ 115117 h 662520"/>
              <a:gd name="connsiteX61" fmla="*/ 630086 w 1356396"/>
              <a:gd name="connsiteY61" fmla="*/ 133668 h 662520"/>
              <a:gd name="connsiteX62" fmla="*/ 613230 w 1356396"/>
              <a:gd name="connsiteY62" fmla="*/ 155828 h 662520"/>
              <a:gd name="connsiteX63" fmla="*/ 535328 w 1356396"/>
              <a:gd name="connsiteY63" fmla="*/ 155828 h 662520"/>
              <a:gd name="connsiteX64" fmla="*/ 535328 w 1356396"/>
              <a:gd name="connsiteY64" fmla="*/ 33807 h 662520"/>
              <a:gd name="connsiteX65" fmla="*/ 579559 w 1356396"/>
              <a:gd name="connsiteY65" fmla="*/ 19813 h 662520"/>
              <a:gd name="connsiteX66" fmla="*/ 626609 w 1356396"/>
              <a:gd name="connsiteY66" fmla="*/ 9159 h 662520"/>
              <a:gd name="connsiteX67" fmla="*/ 676831 w 1356396"/>
              <a:gd name="connsiteY67" fmla="*/ 2378 h 662520"/>
              <a:gd name="connsiteX68" fmla="*/ 730578 w 1356396"/>
              <a:gd name="connsiteY68" fmla="*/ 0 h 662520"/>
              <a:gd name="connsiteX69" fmla="*/ 785948 w 1356396"/>
              <a:gd name="connsiteY69" fmla="*/ 3158 h 662520"/>
              <a:gd name="connsiteX70" fmla="*/ 834242 w 1356396"/>
              <a:gd name="connsiteY70" fmla="*/ 12853 h 662520"/>
              <a:gd name="connsiteX71" fmla="*/ 874933 w 1356396"/>
              <a:gd name="connsiteY71" fmla="*/ 29412 h 662520"/>
              <a:gd name="connsiteX72" fmla="*/ 907496 w 1356396"/>
              <a:gd name="connsiteY72" fmla="*/ 53163 h 662520"/>
              <a:gd name="connsiteX73" fmla="*/ 931406 w 1356396"/>
              <a:gd name="connsiteY73" fmla="*/ 84435 h 662520"/>
              <a:gd name="connsiteX74" fmla="*/ 946137 w 1356396"/>
              <a:gd name="connsiteY74" fmla="*/ 123555 h 662520"/>
              <a:gd name="connsiteX75" fmla="*/ 951164 w 1356396"/>
              <a:gd name="connsiteY75" fmla="*/ 170853 h 662520"/>
              <a:gd name="connsiteX76" fmla="*/ 945006 w 1356396"/>
              <a:gd name="connsiteY76" fmla="*/ 219568 h 662520"/>
              <a:gd name="connsiteX77" fmla="*/ 927134 w 1356396"/>
              <a:gd name="connsiteY77" fmla="*/ 258234 h 662520"/>
              <a:gd name="connsiteX78" fmla="*/ 898448 w 1356396"/>
              <a:gd name="connsiteY78" fmla="*/ 287843 h 662520"/>
              <a:gd name="connsiteX79" fmla="*/ 859849 w 1356396"/>
              <a:gd name="connsiteY79" fmla="*/ 309388 h 662520"/>
              <a:gd name="connsiteX80" fmla="*/ 812239 w 1356396"/>
              <a:gd name="connsiteY80" fmla="*/ 323862 h 662520"/>
              <a:gd name="connsiteX81" fmla="*/ 812239 w 1356396"/>
              <a:gd name="connsiteY81" fmla="*/ 327609 h 662520"/>
              <a:gd name="connsiteX82" fmla="*/ 866234 w 1356396"/>
              <a:gd name="connsiteY82" fmla="*/ 340566 h 662520"/>
              <a:gd name="connsiteX83" fmla="*/ 907836 w 1356396"/>
              <a:gd name="connsiteY83" fmla="*/ 362534 h 662520"/>
              <a:gd name="connsiteX84" fmla="*/ 937272 w 1356396"/>
              <a:gd name="connsiteY84" fmla="*/ 393513 h 662520"/>
              <a:gd name="connsiteX85" fmla="*/ 954768 w 1356396"/>
              <a:gd name="connsiteY85" fmla="*/ 433502 h 662520"/>
              <a:gd name="connsiteX86" fmla="*/ 960549 w 1356396"/>
              <a:gd name="connsiteY86" fmla="*/ 482498 h 662520"/>
              <a:gd name="connsiteX87" fmla="*/ 955489 w 1356396"/>
              <a:gd name="connsiteY87" fmla="*/ 527743 h 662520"/>
              <a:gd name="connsiteX88" fmla="*/ 940212 w 1356396"/>
              <a:gd name="connsiteY88" fmla="*/ 567021 h 662520"/>
              <a:gd name="connsiteX89" fmla="*/ 915675 w 1356396"/>
              <a:gd name="connsiteY89" fmla="*/ 600232 h 662520"/>
              <a:gd name="connsiteX90" fmla="*/ 882838 w 1356396"/>
              <a:gd name="connsiteY90" fmla="*/ 627278 h 662520"/>
              <a:gd name="connsiteX91" fmla="*/ 842659 w 1356396"/>
              <a:gd name="connsiteY91" fmla="*/ 648061 h 662520"/>
              <a:gd name="connsiteX92" fmla="*/ 796097 w 1356396"/>
              <a:gd name="connsiteY92" fmla="*/ 662482 h 662520"/>
              <a:gd name="connsiteX93" fmla="*/ 1356396 w 1356396"/>
              <a:gd name="connsiteY93" fmla="*/ 662495 h 662520"/>
              <a:gd name="connsiteX0" fmla="*/ 37965 w 1356396"/>
              <a:gd name="connsiteY0" fmla="*/ 357614 h 662520"/>
              <a:gd name="connsiteX1" fmla="*/ 15016 w 1356396"/>
              <a:gd name="connsiteY1" fmla="*/ 320990 h 662520"/>
              <a:gd name="connsiteX2" fmla="*/ 572 w 1356396"/>
              <a:gd name="connsiteY2" fmla="*/ 276814 h 662520"/>
              <a:gd name="connsiteX3" fmla="*/ 0 w 1356396"/>
              <a:gd name="connsiteY3" fmla="*/ 178425 h 662520"/>
              <a:gd name="connsiteX4" fmla="*/ 13006 w 1356396"/>
              <a:gd name="connsiteY4" fmla="*/ 135445 h 662520"/>
              <a:gd name="connsiteX5" fmla="*/ 34064 w 1356396"/>
              <a:gd name="connsiteY5" fmla="*/ 97085 h 662520"/>
              <a:gd name="connsiteX6" fmla="*/ 62669 w 1356396"/>
              <a:gd name="connsiteY6" fmla="*/ 64071 h 662520"/>
              <a:gd name="connsiteX7" fmla="*/ 98313 w 1356396"/>
              <a:gd name="connsiteY7" fmla="*/ 37129 h 662520"/>
              <a:gd name="connsiteX8" fmla="*/ 286178 w 1356396"/>
              <a:gd name="connsiteY8" fmla="*/ 2882 h 662520"/>
              <a:gd name="connsiteX9" fmla="*/ 327045 w 1356396"/>
              <a:gd name="connsiteY9" fmla="*/ 11678 h 662520"/>
              <a:gd name="connsiteX10" fmla="*/ 364623 w 1356396"/>
              <a:gd name="connsiteY10" fmla="*/ 26614 h 662520"/>
              <a:gd name="connsiteX11" fmla="*/ 398506 w 1356396"/>
              <a:gd name="connsiteY11" fmla="*/ 47914 h 662520"/>
              <a:gd name="connsiteX12" fmla="*/ 428289 w 1356396"/>
              <a:gd name="connsiteY12" fmla="*/ 75804 h 662520"/>
              <a:gd name="connsiteX13" fmla="*/ 453566 w 1356396"/>
              <a:gd name="connsiteY13" fmla="*/ 110509 h 662520"/>
              <a:gd name="connsiteX14" fmla="*/ 473932 w 1356396"/>
              <a:gd name="connsiteY14" fmla="*/ 152255 h 662520"/>
              <a:gd name="connsiteX15" fmla="*/ 488982 w 1356396"/>
              <a:gd name="connsiteY15" fmla="*/ 201265 h 662520"/>
              <a:gd name="connsiteX16" fmla="*/ 498309 w 1356396"/>
              <a:gd name="connsiteY16" fmla="*/ 257766 h 662520"/>
              <a:gd name="connsiteX17" fmla="*/ 501508 w 1356396"/>
              <a:gd name="connsiteY17" fmla="*/ 321983 h 662520"/>
              <a:gd name="connsiteX18" fmla="*/ 498959 w 1356396"/>
              <a:gd name="connsiteY18" fmla="*/ 376707 h 662520"/>
              <a:gd name="connsiteX19" fmla="*/ 491411 w 1356396"/>
              <a:gd name="connsiteY19" fmla="*/ 427041 h 662520"/>
              <a:gd name="connsiteX20" fmla="*/ 479009 w 1356396"/>
              <a:gd name="connsiteY20" fmla="*/ 472909 h 662520"/>
              <a:gd name="connsiteX21" fmla="*/ 461899 w 1356396"/>
              <a:gd name="connsiteY21" fmla="*/ 514232 h 662520"/>
              <a:gd name="connsiteX22" fmla="*/ 440227 w 1356396"/>
              <a:gd name="connsiteY22" fmla="*/ 550937 h 662520"/>
              <a:gd name="connsiteX23" fmla="*/ 414140 w 1356396"/>
              <a:gd name="connsiteY23" fmla="*/ 582945 h 662520"/>
              <a:gd name="connsiteX24" fmla="*/ 383782 w 1356396"/>
              <a:gd name="connsiteY24" fmla="*/ 610181 h 662520"/>
              <a:gd name="connsiteX25" fmla="*/ 349301 w 1356396"/>
              <a:gd name="connsiteY25" fmla="*/ 632569 h 662520"/>
              <a:gd name="connsiteX26" fmla="*/ 310842 w 1356396"/>
              <a:gd name="connsiteY26" fmla="*/ 650033 h 662520"/>
              <a:gd name="connsiteX27" fmla="*/ 268552 w 1356396"/>
              <a:gd name="connsiteY27" fmla="*/ 662495 h 662520"/>
              <a:gd name="connsiteX28" fmla="*/ 587715 w 1356396"/>
              <a:gd name="connsiteY28" fmla="*/ 662520 h 662520"/>
              <a:gd name="connsiteX29" fmla="*/ 566720 w 1356396"/>
              <a:gd name="connsiteY29" fmla="*/ 658030 h 662520"/>
              <a:gd name="connsiteX30" fmla="*/ 546926 w 1356396"/>
              <a:gd name="connsiteY30" fmla="*/ 652783 h 662520"/>
              <a:gd name="connsiteX31" fmla="*/ 528090 w 1356396"/>
              <a:gd name="connsiteY31" fmla="*/ 646826 h 662520"/>
              <a:gd name="connsiteX32" fmla="*/ 509966 w 1356396"/>
              <a:gd name="connsiteY32" fmla="*/ 640206 h 662520"/>
              <a:gd name="connsiteX33" fmla="*/ 509966 w 1356396"/>
              <a:gd name="connsiteY33" fmla="*/ 516293 h 662520"/>
              <a:gd name="connsiteX34" fmla="*/ 591640 w 1356396"/>
              <a:gd name="connsiteY34" fmla="*/ 516293 h 662520"/>
              <a:gd name="connsiteX35" fmla="*/ 607756 w 1356396"/>
              <a:gd name="connsiteY35" fmla="*/ 539439 h 662520"/>
              <a:gd name="connsiteX36" fmla="*/ 631180 w 1356396"/>
              <a:gd name="connsiteY36" fmla="*/ 559242 h 662520"/>
              <a:gd name="connsiteX37" fmla="*/ 662525 w 1356396"/>
              <a:gd name="connsiteY37" fmla="*/ 573062 h 662520"/>
              <a:gd name="connsiteX38" fmla="*/ 702409 w 1356396"/>
              <a:gd name="connsiteY38" fmla="*/ 578256 h 662520"/>
              <a:gd name="connsiteX39" fmla="*/ 744912 w 1356396"/>
              <a:gd name="connsiteY39" fmla="*/ 571758 h 662520"/>
              <a:gd name="connsiteX40" fmla="*/ 779851 w 1356396"/>
              <a:gd name="connsiteY40" fmla="*/ 552322 h 662520"/>
              <a:gd name="connsiteX41" fmla="*/ 803525 w 1356396"/>
              <a:gd name="connsiteY41" fmla="*/ 520038 h 662520"/>
              <a:gd name="connsiteX42" fmla="*/ 812239 w 1356396"/>
              <a:gd name="connsiteY42" fmla="*/ 474992 h 662520"/>
              <a:gd name="connsiteX43" fmla="*/ 804977 w 1356396"/>
              <a:gd name="connsiteY43" fmla="*/ 430240 h 662520"/>
              <a:gd name="connsiteX44" fmla="*/ 783019 w 1356396"/>
              <a:gd name="connsiteY44" fmla="*/ 398602 h 662520"/>
              <a:gd name="connsiteX45" fmla="*/ 746102 w 1356396"/>
              <a:gd name="connsiteY45" fmla="*/ 379812 h 662520"/>
              <a:gd name="connsiteX46" fmla="*/ 693964 w 1356396"/>
              <a:gd name="connsiteY46" fmla="*/ 373608 h 662520"/>
              <a:gd name="connsiteX47" fmla="*/ 645145 w 1356396"/>
              <a:gd name="connsiteY47" fmla="*/ 373608 h 662520"/>
              <a:gd name="connsiteX48" fmla="*/ 645145 w 1356396"/>
              <a:gd name="connsiteY48" fmla="*/ 286308 h 662520"/>
              <a:gd name="connsiteX49" fmla="*/ 686445 w 1356396"/>
              <a:gd name="connsiteY49" fmla="*/ 286308 h 662520"/>
              <a:gd name="connsiteX50" fmla="*/ 740116 w 1356396"/>
              <a:gd name="connsiteY50" fmla="*/ 280133 h 662520"/>
              <a:gd name="connsiteX51" fmla="*/ 778560 w 1356396"/>
              <a:gd name="connsiteY51" fmla="*/ 261550 h 662520"/>
              <a:gd name="connsiteX52" fmla="*/ 801690 w 1356396"/>
              <a:gd name="connsiteY52" fmla="*/ 230469 h 662520"/>
              <a:gd name="connsiteX53" fmla="*/ 809419 w 1356396"/>
              <a:gd name="connsiteY53" fmla="*/ 186804 h 662520"/>
              <a:gd name="connsiteX54" fmla="*/ 804066 w 1356396"/>
              <a:gd name="connsiteY54" fmla="*/ 149115 h 662520"/>
              <a:gd name="connsiteX55" fmla="*/ 787713 w 1356396"/>
              <a:gd name="connsiteY55" fmla="*/ 121104 h 662520"/>
              <a:gd name="connsiteX56" fmla="*/ 759918 w 1356396"/>
              <a:gd name="connsiteY56" fmla="*/ 103651 h 662520"/>
              <a:gd name="connsiteX57" fmla="*/ 720240 w 1356396"/>
              <a:gd name="connsiteY57" fmla="*/ 97637 h 662520"/>
              <a:gd name="connsiteX58" fmla="*/ 682796 w 1356396"/>
              <a:gd name="connsiteY58" fmla="*/ 102374 h 662520"/>
              <a:gd name="connsiteX59" fmla="*/ 653009 w 1356396"/>
              <a:gd name="connsiteY59" fmla="*/ 115117 h 662520"/>
              <a:gd name="connsiteX60" fmla="*/ 630086 w 1356396"/>
              <a:gd name="connsiteY60" fmla="*/ 133668 h 662520"/>
              <a:gd name="connsiteX61" fmla="*/ 613230 w 1356396"/>
              <a:gd name="connsiteY61" fmla="*/ 155828 h 662520"/>
              <a:gd name="connsiteX62" fmla="*/ 535328 w 1356396"/>
              <a:gd name="connsiteY62" fmla="*/ 155828 h 662520"/>
              <a:gd name="connsiteX63" fmla="*/ 535328 w 1356396"/>
              <a:gd name="connsiteY63" fmla="*/ 33807 h 662520"/>
              <a:gd name="connsiteX64" fmla="*/ 579559 w 1356396"/>
              <a:gd name="connsiteY64" fmla="*/ 19813 h 662520"/>
              <a:gd name="connsiteX65" fmla="*/ 626609 w 1356396"/>
              <a:gd name="connsiteY65" fmla="*/ 9159 h 662520"/>
              <a:gd name="connsiteX66" fmla="*/ 676831 w 1356396"/>
              <a:gd name="connsiteY66" fmla="*/ 2378 h 662520"/>
              <a:gd name="connsiteX67" fmla="*/ 730578 w 1356396"/>
              <a:gd name="connsiteY67" fmla="*/ 0 h 662520"/>
              <a:gd name="connsiteX68" fmla="*/ 785948 w 1356396"/>
              <a:gd name="connsiteY68" fmla="*/ 3158 h 662520"/>
              <a:gd name="connsiteX69" fmla="*/ 834242 w 1356396"/>
              <a:gd name="connsiteY69" fmla="*/ 12853 h 662520"/>
              <a:gd name="connsiteX70" fmla="*/ 874933 w 1356396"/>
              <a:gd name="connsiteY70" fmla="*/ 29412 h 662520"/>
              <a:gd name="connsiteX71" fmla="*/ 907496 w 1356396"/>
              <a:gd name="connsiteY71" fmla="*/ 53163 h 662520"/>
              <a:gd name="connsiteX72" fmla="*/ 931406 w 1356396"/>
              <a:gd name="connsiteY72" fmla="*/ 84435 h 662520"/>
              <a:gd name="connsiteX73" fmla="*/ 946137 w 1356396"/>
              <a:gd name="connsiteY73" fmla="*/ 123555 h 662520"/>
              <a:gd name="connsiteX74" fmla="*/ 951164 w 1356396"/>
              <a:gd name="connsiteY74" fmla="*/ 170853 h 662520"/>
              <a:gd name="connsiteX75" fmla="*/ 945006 w 1356396"/>
              <a:gd name="connsiteY75" fmla="*/ 219568 h 662520"/>
              <a:gd name="connsiteX76" fmla="*/ 927134 w 1356396"/>
              <a:gd name="connsiteY76" fmla="*/ 258234 h 662520"/>
              <a:gd name="connsiteX77" fmla="*/ 898448 w 1356396"/>
              <a:gd name="connsiteY77" fmla="*/ 287843 h 662520"/>
              <a:gd name="connsiteX78" fmla="*/ 859849 w 1356396"/>
              <a:gd name="connsiteY78" fmla="*/ 309388 h 662520"/>
              <a:gd name="connsiteX79" fmla="*/ 812239 w 1356396"/>
              <a:gd name="connsiteY79" fmla="*/ 323862 h 662520"/>
              <a:gd name="connsiteX80" fmla="*/ 812239 w 1356396"/>
              <a:gd name="connsiteY80" fmla="*/ 327609 h 662520"/>
              <a:gd name="connsiteX81" fmla="*/ 866234 w 1356396"/>
              <a:gd name="connsiteY81" fmla="*/ 340566 h 662520"/>
              <a:gd name="connsiteX82" fmla="*/ 907836 w 1356396"/>
              <a:gd name="connsiteY82" fmla="*/ 362534 h 662520"/>
              <a:gd name="connsiteX83" fmla="*/ 937272 w 1356396"/>
              <a:gd name="connsiteY83" fmla="*/ 393513 h 662520"/>
              <a:gd name="connsiteX84" fmla="*/ 954768 w 1356396"/>
              <a:gd name="connsiteY84" fmla="*/ 433502 h 662520"/>
              <a:gd name="connsiteX85" fmla="*/ 960549 w 1356396"/>
              <a:gd name="connsiteY85" fmla="*/ 482498 h 662520"/>
              <a:gd name="connsiteX86" fmla="*/ 955489 w 1356396"/>
              <a:gd name="connsiteY86" fmla="*/ 527743 h 662520"/>
              <a:gd name="connsiteX87" fmla="*/ 940212 w 1356396"/>
              <a:gd name="connsiteY87" fmla="*/ 567021 h 662520"/>
              <a:gd name="connsiteX88" fmla="*/ 915675 w 1356396"/>
              <a:gd name="connsiteY88" fmla="*/ 600232 h 662520"/>
              <a:gd name="connsiteX89" fmla="*/ 882838 w 1356396"/>
              <a:gd name="connsiteY89" fmla="*/ 627278 h 662520"/>
              <a:gd name="connsiteX90" fmla="*/ 842659 w 1356396"/>
              <a:gd name="connsiteY90" fmla="*/ 648061 h 662520"/>
              <a:gd name="connsiteX91" fmla="*/ 796097 w 1356396"/>
              <a:gd name="connsiteY91" fmla="*/ 662482 h 662520"/>
              <a:gd name="connsiteX92" fmla="*/ 1356396 w 1356396"/>
              <a:gd name="connsiteY92" fmla="*/ 662495 h 662520"/>
              <a:gd name="connsiteX0" fmla="*/ 15016 w 1356396"/>
              <a:gd name="connsiteY0" fmla="*/ 320990 h 662520"/>
              <a:gd name="connsiteX1" fmla="*/ 572 w 1356396"/>
              <a:gd name="connsiteY1" fmla="*/ 276814 h 662520"/>
              <a:gd name="connsiteX2" fmla="*/ 0 w 1356396"/>
              <a:gd name="connsiteY2" fmla="*/ 178425 h 662520"/>
              <a:gd name="connsiteX3" fmla="*/ 13006 w 1356396"/>
              <a:gd name="connsiteY3" fmla="*/ 135445 h 662520"/>
              <a:gd name="connsiteX4" fmla="*/ 34064 w 1356396"/>
              <a:gd name="connsiteY4" fmla="*/ 97085 h 662520"/>
              <a:gd name="connsiteX5" fmla="*/ 62669 w 1356396"/>
              <a:gd name="connsiteY5" fmla="*/ 64071 h 662520"/>
              <a:gd name="connsiteX6" fmla="*/ 98313 w 1356396"/>
              <a:gd name="connsiteY6" fmla="*/ 37129 h 662520"/>
              <a:gd name="connsiteX7" fmla="*/ 286178 w 1356396"/>
              <a:gd name="connsiteY7" fmla="*/ 2882 h 662520"/>
              <a:gd name="connsiteX8" fmla="*/ 327045 w 1356396"/>
              <a:gd name="connsiteY8" fmla="*/ 11678 h 662520"/>
              <a:gd name="connsiteX9" fmla="*/ 364623 w 1356396"/>
              <a:gd name="connsiteY9" fmla="*/ 26614 h 662520"/>
              <a:gd name="connsiteX10" fmla="*/ 398506 w 1356396"/>
              <a:gd name="connsiteY10" fmla="*/ 47914 h 662520"/>
              <a:gd name="connsiteX11" fmla="*/ 428289 w 1356396"/>
              <a:gd name="connsiteY11" fmla="*/ 75804 h 662520"/>
              <a:gd name="connsiteX12" fmla="*/ 453566 w 1356396"/>
              <a:gd name="connsiteY12" fmla="*/ 110509 h 662520"/>
              <a:gd name="connsiteX13" fmla="*/ 473932 w 1356396"/>
              <a:gd name="connsiteY13" fmla="*/ 152255 h 662520"/>
              <a:gd name="connsiteX14" fmla="*/ 488982 w 1356396"/>
              <a:gd name="connsiteY14" fmla="*/ 201265 h 662520"/>
              <a:gd name="connsiteX15" fmla="*/ 498309 w 1356396"/>
              <a:gd name="connsiteY15" fmla="*/ 257766 h 662520"/>
              <a:gd name="connsiteX16" fmla="*/ 501508 w 1356396"/>
              <a:gd name="connsiteY16" fmla="*/ 321983 h 662520"/>
              <a:gd name="connsiteX17" fmla="*/ 498959 w 1356396"/>
              <a:gd name="connsiteY17" fmla="*/ 376707 h 662520"/>
              <a:gd name="connsiteX18" fmla="*/ 491411 w 1356396"/>
              <a:gd name="connsiteY18" fmla="*/ 427041 h 662520"/>
              <a:gd name="connsiteX19" fmla="*/ 479009 w 1356396"/>
              <a:gd name="connsiteY19" fmla="*/ 472909 h 662520"/>
              <a:gd name="connsiteX20" fmla="*/ 461899 w 1356396"/>
              <a:gd name="connsiteY20" fmla="*/ 514232 h 662520"/>
              <a:gd name="connsiteX21" fmla="*/ 440227 w 1356396"/>
              <a:gd name="connsiteY21" fmla="*/ 550937 h 662520"/>
              <a:gd name="connsiteX22" fmla="*/ 414140 w 1356396"/>
              <a:gd name="connsiteY22" fmla="*/ 582945 h 662520"/>
              <a:gd name="connsiteX23" fmla="*/ 383782 w 1356396"/>
              <a:gd name="connsiteY23" fmla="*/ 610181 h 662520"/>
              <a:gd name="connsiteX24" fmla="*/ 349301 w 1356396"/>
              <a:gd name="connsiteY24" fmla="*/ 632569 h 662520"/>
              <a:gd name="connsiteX25" fmla="*/ 310842 w 1356396"/>
              <a:gd name="connsiteY25" fmla="*/ 650033 h 662520"/>
              <a:gd name="connsiteX26" fmla="*/ 268552 w 1356396"/>
              <a:gd name="connsiteY26" fmla="*/ 662495 h 662520"/>
              <a:gd name="connsiteX27" fmla="*/ 587715 w 1356396"/>
              <a:gd name="connsiteY27" fmla="*/ 662520 h 662520"/>
              <a:gd name="connsiteX28" fmla="*/ 566720 w 1356396"/>
              <a:gd name="connsiteY28" fmla="*/ 658030 h 662520"/>
              <a:gd name="connsiteX29" fmla="*/ 546926 w 1356396"/>
              <a:gd name="connsiteY29" fmla="*/ 652783 h 662520"/>
              <a:gd name="connsiteX30" fmla="*/ 528090 w 1356396"/>
              <a:gd name="connsiteY30" fmla="*/ 646826 h 662520"/>
              <a:gd name="connsiteX31" fmla="*/ 509966 w 1356396"/>
              <a:gd name="connsiteY31" fmla="*/ 640206 h 662520"/>
              <a:gd name="connsiteX32" fmla="*/ 509966 w 1356396"/>
              <a:gd name="connsiteY32" fmla="*/ 516293 h 662520"/>
              <a:gd name="connsiteX33" fmla="*/ 591640 w 1356396"/>
              <a:gd name="connsiteY33" fmla="*/ 516293 h 662520"/>
              <a:gd name="connsiteX34" fmla="*/ 607756 w 1356396"/>
              <a:gd name="connsiteY34" fmla="*/ 539439 h 662520"/>
              <a:gd name="connsiteX35" fmla="*/ 631180 w 1356396"/>
              <a:gd name="connsiteY35" fmla="*/ 559242 h 662520"/>
              <a:gd name="connsiteX36" fmla="*/ 662525 w 1356396"/>
              <a:gd name="connsiteY36" fmla="*/ 573062 h 662520"/>
              <a:gd name="connsiteX37" fmla="*/ 702409 w 1356396"/>
              <a:gd name="connsiteY37" fmla="*/ 578256 h 662520"/>
              <a:gd name="connsiteX38" fmla="*/ 744912 w 1356396"/>
              <a:gd name="connsiteY38" fmla="*/ 571758 h 662520"/>
              <a:gd name="connsiteX39" fmla="*/ 779851 w 1356396"/>
              <a:gd name="connsiteY39" fmla="*/ 552322 h 662520"/>
              <a:gd name="connsiteX40" fmla="*/ 803525 w 1356396"/>
              <a:gd name="connsiteY40" fmla="*/ 520038 h 662520"/>
              <a:gd name="connsiteX41" fmla="*/ 812239 w 1356396"/>
              <a:gd name="connsiteY41" fmla="*/ 474992 h 662520"/>
              <a:gd name="connsiteX42" fmla="*/ 804977 w 1356396"/>
              <a:gd name="connsiteY42" fmla="*/ 430240 h 662520"/>
              <a:gd name="connsiteX43" fmla="*/ 783019 w 1356396"/>
              <a:gd name="connsiteY43" fmla="*/ 398602 h 662520"/>
              <a:gd name="connsiteX44" fmla="*/ 746102 w 1356396"/>
              <a:gd name="connsiteY44" fmla="*/ 379812 h 662520"/>
              <a:gd name="connsiteX45" fmla="*/ 693964 w 1356396"/>
              <a:gd name="connsiteY45" fmla="*/ 373608 h 662520"/>
              <a:gd name="connsiteX46" fmla="*/ 645145 w 1356396"/>
              <a:gd name="connsiteY46" fmla="*/ 373608 h 662520"/>
              <a:gd name="connsiteX47" fmla="*/ 645145 w 1356396"/>
              <a:gd name="connsiteY47" fmla="*/ 286308 h 662520"/>
              <a:gd name="connsiteX48" fmla="*/ 686445 w 1356396"/>
              <a:gd name="connsiteY48" fmla="*/ 286308 h 662520"/>
              <a:gd name="connsiteX49" fmla="*/ 740116 w 1356396"/>
              <a:gd name="connsiteY49" fmla="*/ 280133 h 662520"/>
              <a:gd name="connsiteX50" fmla="*/ 778560 w 1356396"/>
              <a:gd name="connsiteY50" fmla="*/ 261550 h 662520"/>
              <a:gd name="connsiteX51" fmla="*/ 801690 w 1356396"/>
              <a:gd name="connsiteY51" fmla="*/ 230469 h 662520"/>
              <a:gd name="connsiteX52" fmla="*/ 809419 w 1356396"/>
              <a:gd name="connsiteY52" fmla="*/ 186804 h 662520"/>
              <a:gd name="connsiteX53" fmla="*/ 804066 w 1356396"/>
              <a:gd name="connsiteY53" fmla="*/ 149115 h 662520"/>
              <a:gd name="connsiteX54" fmla="*/ 787713 w 1356396"/>
              <a:gd name="connsiteY54" fmla="*/ 121104 h 662520"/>
              <a:gd name="connsiteX55" fmla="*/ 759918 w 1356396"/>
              <a:gd name="connsiteY55" fmla="*/ 103651 h 662520"/>
              <a:gd name="connsiteX56" fmla="*/ 720240 w 1356396"/>
              <a:gd name="connsiteY56" fmla="*/ 97637 h 662520"/>
              <a:gd name="connsiteX57" fmla="*/ 682796 w 1356396"/>
              <a:gd name="connsiteY57" fmla="*/ 102374 h 662520"/>
              <a:gd name="connsiteX58" fmla="*/ 653009 w 1356396"/>
              <a:gd name="connsiteY58" fmla="*/ 115117 h 662520"/>
              <a:gd name="connsiteX59" fmla="*/ 630086 w 1356396"/>
              <a:gd name="connsiteY59" fmla="*/ 133668 h 662520"/>
              <a:gd name="connsiteX60" fmla="*/ 613230 w 1356396"/>
              <a:gd name="connsiteY60" fmla="*/ 155828 h 662520"/>
              <a:gd name="connsiteX61" fmla="*/ 535328 w 1356396"/>
              <a:gd name="connsiteY61" fmla="*/ 155828 h 662520"/>
              <a:gd name="connsiteX62" fmla="*/ 535328 w 1356396"/>
              <a:gd name="connsiteY62" fmla="*/ 33807 h 662520"/>
              <a:gd name="connsiteX63" fmla="*/ 579559 w 1356396"/>
              <a:gd name="connsiteY63" fmla="*/ 19813 h 662520"/>
              <a:gd name="connsiteX64" fmla="*/ 626609 w 1356396"/>
              <a:gd name="connsiteY64" fmla="*/ 9159 h 662520"/>
              <a:gd name="connsiteX65" fmla="*/ 676831 w 1356396"/>
              <a:gd name="connsiteY65" fmla="*/ 2378 h 662520"/>
              <a:gd name="connsiteX66" fmla="*/ 730578 w 1356396"/>
              <a:gd name="connsiteY66" fmla="*/ 0 h 662520"/>
              <a:gd name="connsiteX67" fmla="*/ 785948 w 1356396"/>
              <a:gd name="connsiteY67" fmla="*/ 3158 h 662520"/>
              <a:gd name="connsiteX68" fmla="*/ 834242 w 1356396"/>
              <a:gd name="connsiteY68" fmla="*/ 12853 h 662520"/>
              <a:gd name="connsiteX69" fmla="*/ 874933 w 1356396"/>
              <a:gd name="connsiteY69" fmla="*/ 29412 h 662520"/>
              <a:gd name="connsiteX70" fmla="*/ 907496 w 1356396"/>
              <a:gd name="connsiteY70" fmla="*/ 53163 h 662520"/>
              <a:gd name="connsiteX71" fmla="*/ 931406 w 1356396"/>
              <a:gd name="connsiteY71" fmla="*/ 84435 h 662520"/>
              <a:gd name="connsiteX72" fmla="*/ 946137 w 1356396"/>
              <a:gd name="connsiteY72" fmla="*/ 123555 h 662520"/>
              <a:gd name="connsiteX73" fmla="*/ 951164 w 1356396"/>
              <a:gd name="connsiteY73" fmla="*/ 170853 h 662520"/>
              <a:gd name="connsiteX74" fmla="*/ 945006 w 1356396"/>
              <a:gd name="connsiteY74" fmla="*/ 219568 h 662520"/>
              <a:gd name="connsiteX75" fmla="*/ 927134 w 1356396"/>
              <a:gd name="connsiteY75" fmla="*/ 258234 h 662520"/>
              <a:gd name="connsiteX76" fmla="*/ 898448 w 1356396"/>
              <a:gd name="connsiteY76" fmla="*/ 287843 h 662520"/>
              <a:gd name="connsiteX77" fmla="*/ 859849 w 1356396"/>
              <a:gd name="connsiteY77" fmla="*/ 309388 h 662520"/>
              <a:gd name="connsiteX78" fmla="*/ 812239 w 1356396"/>
              <a:gd name="connsiteY78" fmla="*/ 323862 h 662520"/>
              <a:gd name="connsiteX79" fmla="*/ 812239 w 1356396"/>
              <a:gd name="connsiteY79" fmla="*/ 327609 h 662520"/>
              <a:gd name="connsiteX80" fmla="*/ 866234 w 1356396"/>
              <a:gd name="connsiteY80" fmla="*/ 340566 h 662520"/>
              <a:gd name="connsiteX81" fmla="*/ 907836 w 1356396"/>
              <a:gd name="connsiteY81" fmla="*/ 362534 h 662520"/>
              <a:gd name="connsiteX82" fmla="*/ 937272 w 1356396"/>
              <a:gd name="connsiteY82" fmla="*/ 393513 h 662520"/>
              <a:gd name="connsiteX83" fmla="*/ 954768 w 1356396"/>
              <a:gd name="connsiteY83" fmla="*/ 433502 h 662520"/>
              <a:gd name="connsiteX84" fmla="*/ 960549 w 1356396"/>
              <a:gd name="connsiteY84" fmla="*/ 482498 h 662520"/>
              <a:gd name="connsiteX85" fmla="*/ 955489 w 1356396"/>
              <a:gd name="connsiteY85" fmla="*/ 527743 h 662520"/>
              <a:gd name="connsiteX86" fmla="*/ 940212 w 1356396"/>
              <a:gd name="connsiteY86" fmla="*/ 567021 h 662520"/>
              <a:gd name="connsiteX87" fmla="*/ 915675 w 1356396"/>
              <a:gd name="connsiteY87" fmla="*/ 600232 h 662520"/>
              <a:gd name="connsiteX88" fmla="*/ 882838 w 1356396"/>
              <a:gd name="connsiteY88" fmla="*/ 627278 h 662520"/>
              <a:gd name="connsiteX89" fmla="*/ 842659 w 1356396"/>
              <a:gd name="connsiteY89" fmla="*/ 648061 h 662520"/>
              <a:gd name="connsiteX90" fmla="*/ 796097 w 1356396"/>
              <a:gd name="connsiteY90" fmla="*/ 662482 h 662520"/>
              <a:gd name="connsiteX91" fmla="*/ 1356396 w 1356396"/>
              <a:gd name="connsiteY91" fmla="*/ 662495 h 662520"/>
              <a:gd name="connsiteX0" fmla="*/ 572 w 1356396"/>
              <a:gd name="connsiteY0" fmla="*/ 276814 h 662520"/>
              <a:gd name="connsiteX1" fmla="*/ 0 w 1356396"/>
              <a:gd name="connsiteY1" fmla="*/ 178425 h 662520"/>
              <a:gd name="connsiteX2" fmla="*/ 13006 w 1356396"/>
              <a:gd name="connsiteY2" fmla="*/ 135445 h 662520"/>
              <a:gd name="connsiteX3" fmla="*/ 34064 w 1356396"/>
              <a:gd name="connsiteY3" fmla="*/ 97085 h 662520"/>
              <a:gd name="connsiteX4" fmla="*/ 62669 w 1356396"/>
              <a:gd name="connsiteY4" fmla="*/ 64071 h 662520"/>
              <a:gd name="connsiteX5" fmla="*/ 98313 w 1356396"/>
              <a:gd name="connsiteY5" fmla="*/ 37129 h 662520"/>
              <a:gd name="connsiteX6" fmla="*/ 286178 w 1356396"/>
              <a:gd name="connsiteY6" fmla="*/ 2882 h 662520"/>
              <a:gd name="connsiteX7" fmla="*/ 327045 w 1356396"/>
              <a:gd name="connsiteY7" fmla="*/ 11678 h 662520"/>
              <a:gd name="connsiteX8" fmla="*/ 364623 w 1356396"/>
              <a:gd name="connsiteY8" fmla="*/ 26614 h 662520"/>
              <a:gd name="connsiteX9" fmla="*/ 398506 w 1356396"/>
              <a:gd name="connsiteY9" fmla="*/ 47914 h 662520"/>
              <a:gd name="connsiteX10" fmla="*/ 428289 w 1356396"/>
              <a:gd name="connsiteY10" fmla="*/ 75804 h 662520"/>
              <a:gd name="connsiteX11" fmla="*/ 453566 w 1356396"/>
              <a:gd name="connsiteY11" fmla="*/ 110509 h 662520"/>
              <a:gd name="connsiteX12" fmla="*/ 473932 w 1356396"/>
              <a:gd name="connsiteY12" fmla="*/ 152255 h 662520"/>
              <a:gd name="connsiteX13" fmla="*/ 488982 w 1356396"/>
              <a:gd name="connsiteY13" fmla="*/ 201265 h 662520"/>
              <a:gd name="connsiteX14" fmla="*/ 498309 w 1356396"/>
              <a:gd name="connsiteY14" fmla="*/ 257766 h 662520"/>
              <a:gd name="connsiteX15" fmla="*/ 501508 w 1356396"/>
              <a:gd name="connsiteY15" fmla="*/ 321983 h 662520"/>
              <a:gd name="connsiteX16" fmla="*/ 498959 w 1356396"/>
              <a:gd name="connsiteY16" fmla="*/ 376707 h 662520"/>
              <a:gd name="connsiteX17" fmla="*/ 491411 w 1356396"/>
              <a:gd name="connsiteY17" fmla="*/ 427041 h 662520"/>
              <a:gd name="connsiteX18" fmla="*/ 479009 w 1356396"/>
              <a:gd name="connsiteY18" fmla="*/ 472909 h 662520"/>
              <a:gd name="connsiteX19" fmla="*/ 461899 w 1356396"/>
              <a:gd name="connsiteY19" fmla="*/ 514232 h 662520"/>
              <a:gd name="connsiteX20" fmla="*/ 440227 w 1356396"/>
              <a:gd name="connsiteY20" fmla="*/ 550937 h 662520"/>
              <a:gd name="connsiteX21" fmla="*/ 414140 w 1356396"/>
              <a:gd name="connsiteY21" fmla="*/ 582945 h 662520"/>
              <a:gd name="connsiteX22" fmla="*/ 383782 w 1356396"/>
              <a:gd name="connsiteY22" fmla="*/ 610181 h 662520"/>
              <a:gd name="connsiteX23" fmla="*/ 349301 w 1356396"/>
              <a:gd name="connsiteY23" fmla="*/ 632569 h 662520"/>
              <a:gd name="connsiteX24" fmla="*/ 310842 w 1356396"/>
              <a:gd name="connsiteY24" fmla="*/ 650033 h 662520"/>
              <a:gd name="connsiteX25" fmla="*/ 268552 w 1356396"/>
              <a:gd name="connsiteY25" fmla="*/ 662495 h 662520"/>
              <a:gd name="connsiteX26" fmla="*/ 587715 w 1356396"/>
              <a:gd name="connsiteY26" fmla="*/ 662520 h 662520"/>
              <a:gd name="connsiteX27" fmla="*/ 566720 w 1356396"/>
              <a:gd name="connsiteY27" fmla="*/ 658030 h 662520"/>
              <a:gd name="connsiteX28" fmla="*/ 546926 w 1356396"/>
              <a:gd name="connsiteY28" fmla="*/ 652783 h 662520"/>
              <a:gd name="connsiteX29" fmla="*/ 528090 w 1356396"/>
              <a:gd name="connsiteY29" fmla="*/ 646826 h 662520"/>
              <a:gd name="connsiteX30" fmla="*/ 509966 w 1356396"/>
              <a:gd name="connsiteY30" fmla="*/ 640206 h 662520"/>
              <a:gd name="connsiteX31" fmla="*/ 509966 w 1356396"/>
              <a:gd name="connsiteY31" fmla="*/ 516293 h 662520"/>
              <a:gd name="connsiteX32" fmla="*/ 591640 w 1356396"/>
              <a:gd name="connsiteY32" fmla="*/ 516293 h 662520"/>
              <a:gd name="connsiteX33" fmla="*/ 607756 w 1356396"/>
              <a:gd name="connsiteY33" fmla="*/ 539439 h 662520"/>
              <a:gd name="connsiteX34" fmla="*/ 631180 w 1356396"/>
              <a:gd name="connsiteY34" fmla="*/ 559242 h 662520"/>
              <a:gd name="connsiteX35" fmla="*/ 662525 w 1356396"/>
              <a:gd name="connsiteY35" fmla="*/ 573062 h 662520"/>
              <a:gd name="connsiteX36" fmla="*/ 702409 w 1356396"/>
              <a:gd name="connsiteY36" fmla="*/ 578256 h 662520"/>
              <a:gd name="connsiteX37" fmla="*/ 744912 w 1356396"/>
              <a:gd name="connsiteY37" fmla="*/ 571758 h 662520"/>
              <a:gd name="connsiteX38" fmla="*/ 779851 w 1356396"/>
              <a:gd name="connsiteY38" fmla="*/ 552322 h 662520"/>
              <a:gd name="connsiteX39" fmla="*/ 803525 w 1356396"/>
              <a:gd name="connsiteY39" fmla="*/ 520038 h 662520"/>
              <a:gd name="connsiteX40" fmla="*/ 812239 w 1356396"/>
              <a:gd name="connsiteY40" fmla="*/ 474992 h 662520"/>
              <a:gd name="connsiteX41" fmla="*/ 804977 w 1356396"/>
              <a:gd name="connsiteY41" fmla="*/ 430240 h 662520"/>
              <a:gd name="connsiteX42" fmla="*/ 783019 w 1356396"/>
              <a:gd name="connsiteY42" fmla="*/ 398602 h 662520"/>
              <a:gd name="connsiteX43" fmla="*/ 746102 w 1356396"/>
              <a:gd name="connsiteY43" fmla="*/ 379812 h 662520"/>
              <a:gd name="connsiteX44" fmla="*/ 693964 w 1356396"/>
              <a:gd name="connsiteY44" fmla="*/ 373608 h 662520"/>
              <a:gd name="connsiteX45" fmla="*/ 645145 w 1356396"/>
              <a:gd name="connsiteY45" fmla="*/ 373608 h 662520"/>
              <a:gd name="connsiteX46" fmla="*/ 645145 w 1356396"/>
              <a:gd name="connsiteY46" fmla="*/ 286308 h 662520"/>
              <a:gd name="connsiteX47" fmla="*/ 686445 w 1356396"/>
              <a:gd name="connsiteY47" fmla="*/ 286308 h 662520"/>
              <a:gd name="connsiteX48" fmla="*/ 740116 w 1356396"/>
              <a:gd name="connsiteY48" fmla="*/ 280133 h 662520"/>
              <a:gd name="connsiteX49" fmla="*/ 778560 w 1356396"/>
              <a:gd name="connsiteY49" fmla="*/ 261550 h 662520"/>
              <a:gd name="connsiteX50" fmla="*/ 801690 w 1356396"/>
              <a:gd name="connsiteY50" fmla="*/ 230469 h 662520"/>
              <a:gd name="connsiteX51" fmla="*/ 809419 w 1356396"/>
              <a:gd name="connsiteY51" fmla="*/ 186804 h 662520"/>
              <a:gd name="connsiteX52" fmla="*/ 804066 w 1356396"/>
              <a:gd name="connsiteY52" fmla="*/ 149115 h 662520"/>
              <a:gd name="connsiteX53" fmla="*/ 787713 w 1356396"/>
              <a:gd name="connsiteY53" fmla="*/ 121104 h 662520"/>
              <a:gd name="connsiteX54" fmla="*/ 759918 w 1356396"/>
              <a:gd name="connsiteY54" fmla="*/ 103651 h 662520"/>
              <a:gd name="connsiteX55" fmla="*/ 720240 w 1356396"/>
              <a:gd name="connsiteY55" fmla="*/ 97637 h 662520"/>
              <a:gd name="connsiteX56" fmla="*/ 682796 w 1356396"/>
              <a:gd name="connsiteY56" fmla="*/ 102374 h 662520"/>
              <a:gd name="connsiteX57" fmla="*/ 653009 w 1356396"/>
              <a:gd name="connsiteY57" fmla="*/ 115117 h 662520"/>
              <a:gd name="connsiteX58" fmla="*/ 630086 w 1356396"/>
              <a:gd name="connsiteY58" fmla="*/ 133668 h 662520"/>
              <a:gd name="connsiteX59" fmla="*/ 613230 w 1356396"/>
              <a:gd name="connsiteY59" fmla="*/ 155828 h 662520"/>
              <a:gd name="connsiteX60" fmla="*/ 535328 w 1356396"/>
              <a:gd name="connsiteY60" fmla="*/ 155828 h 662520"/>
              <a:gd name="connsiteX61" fmla="*/ 535328 w 1356396"/>
              <a:gd name="connsiteY61" fmla="*/ 33807 h 662520"/>
              <a:gd name="connsiteX62" fmla="*/ 579559 w 1356396"/>
              <a:gd name="connsiteY62" fmla="*/ 19813 h 662520"/>
              <a:gd name="connsiteX63" fmla="*/ 626609 w 1356396"/>
              <a:gd name="connsiteY63" fmla="*/ 9159 h 662520"/>
              <a:gd name="connsiteX64" fmla="*/ 676831 w 1356396"/>
              <a:gd name="connsiteY64" fmla="*/ 2378 h 662520"/>
              <a:gd name="connsiteX65" fmla="*/ 730578 w 1356396"/>
              <a:gd name="connsiteY65" fmla="*/ 0 h 662520"/>
              <a:gd name="connsiteX66" fmla="*/ 785948 w 1356396"/>
              <a:gd name="connsiteY66" fmla="*/ 3158 h 662520"/>
              <a:gd name="connsiteX67" fmla="*/ 834242 w 1356396"/>
              <a:gd name="connsiteY67" fmla="*/ 12853 h 662520"/>
              <a:gd name="connsiteX68" fmla="*/ 874933 w 1356396"/>
              <a:gd name="connsiteY68" fmla="*/ 29412 h 662520"/>
              <a:gd name="connsiteX69" fmla="*/ 907496 w 1356396"/>
              <a:gd name="connsiteY69" fmla="*/ 53163 h 662520"/>
              <a:gd name="connsiteX70" fmla="*/ 931406 w 1356396"/>
              <a:gd name="connsiteY70" fmla="*/ 84435 h 662520"/>
              <a:gd name="connsiteX71" fmla="*/ 946137 w 1356396"/>
              <a:gd name="connsiteY71" fmla="*/ 123555 h 662520"/>
              <a:gd name="connsiteX72" fmla="*/ 951164 w 1356396"/>
              <a:gd name="connsiteY72" fmla="*/ 170853 h 662520"/>
              <a:gd name="connsiteX73" fmla="*/ 945006 w 1356396"/>
              <a:gd name="connsiteY73" fmla="*/ 219568 h 662520"/>
              <a:gd name="connsiteX74" fmla="*/ 927134 w 1356396"/>
              <a:gd name="connsiteY74" fmla="*/ 258234 h 662520"/>
              <a:gd name="connsiteX75" fmla="*/ 898448 w 1356396"/>
              <a:gd name="connsiteY75" fmla="*/ 287843 h 662520"/>
              <a:gd name="connsiteX76" fmla="*/ 859849 w 1356396"/>
              <a:gd name="connsiteY76" fmla="*/ 309388 h 662520"/>
              <a:gd name="connsiteX77" fmla="*/ 812239 w 1356396"/>
              <a:gd name="connsiteY77" fmla="*/ 323862 h 662520"/>
              <a:gd name="connsiteX78" fmla="*/ 812239 w 1356396"/>
              <a:gd name="connsiteY78" fmla="*/ 327609 h 662520"/>
              <a:gd name="connsiteX79" fmla="*/ 866234 w 1356396"/>
              <a:gd name="connsiteY79" fmla="*/ 340566 h 662520"/>
              <a:gd name="connsiteX80" fmla="*/ 907836 w 1356396"/>
              <a:gd name="connsiteY80" fmla="*/ 362534 h 662520"/>
              <a:gd name="connsiteX81" fmla="*/ 937272 w 1356396"/>
              <a:gd name="connsiteY81" fmla="*/ 393513 h 662520"/>
              <a:gd name="connsiteX82" fmla="*/ 954768 w 1356396"/>
              <a:gd name="connsiteY82" fmla="*/ 433502 h 662520"/>
              <a:gd name="connsiteX83" fmla="*/ 960549 w 1356396"/>
              <a:gd name="connsiteY83" fmla="*/ 482498 h 662520"/>
              <a:gd name="connsiteX84" fmla="*/ 955489 w 1356396"/>
              <a:gd name="connsiteY84" fmla="*/ 527743 h 662520"/>
              <a:gd name="connsiteX85" fmla="*/ 940212 w 1356396"/>
              <a:gd name="connsiteY85" fmla="*/ 567021 h 662520"/>
              <a:gd name="connsiteX86" fmla="*/ 915675 w 1356396"/>
              <a:gd name="connsiteY86" fmla="*/ 600232 h 662520"/>
              <a:gd name="connsiteX87" fmla="*/ 882838 w 1356396"/>
              <a:gd name="connsiteY87" fmla="*/ 627278 h 662520"/>
              <a:gd name="connsiteX88" fmla="*/ 842659 w 1356396"/>
              <a:gd name="connsiteY88" fmla="*/ 648061 h 662520"/>
              <a:gd name="connsiteX89" fmla="*/ 796097 w 1356396"/>
              <a:gd name="connsiteY89" fmla="*/ 662482 h 662520"/>
              <a:gd name="connsiteX90" fmla="*/ 1356396 w 1356396"/>
              <a:gd name="connsiteY90" fmla="*/ 662495 h 662520"/>
              <a:gd name="connsiteX0" fmla="*/ 0 w 1356396"/>
              <a:gd name="connsiteY0" fmla="*/ 178425 h 662520"/>
              <a:gd name="connsiteX1" fmla="*/ 13006 w 1356396"/>
              <a:gd name="connsiteY1" fmla="*/ 135445 h 662520"/>
              <a:gd name="connsiteX2" fmla="*/ 34064 w 1356396"/>
              <a:gd name="connsiteY2" fmla="*/ 97085 h 662520"/>
              <a:gd name="connsiteX3" fmla="*/ 62669 w 1356396"/>
              <a:gd name="connsiteY3" fmla="*/ 64071 h 662520"/>
              <a:gd name="connsiteX4" fmla="*/ 98313 w 1356396"/>
              <a:gd name="connsiteY4" fmla="*/ 37129 h 662520"/>
              <a:gd name="connsiteX5" fmla="*/ 286178 w 1356396"/>
              <a:gd name="connsiteY5" fmla="*/ 2882 h 662520"/>
              <a:gd name="connsiteX6" fmla="*/ 327045 w 1356396"/>
              <a:gd name="connsiteY6" fmla="*/ 11678 h 662520"/>
              <a:gd name="connsiteX7" fmla="*/ 364623 w 1356396"/>
              <a:gd name="connsiteY7" fmla="*/ 26614 h 662520"/>
              <a:gd name="connsiteX8" fmla="*/ 398506 w 1356396"/>
              <a:gd name="connsiteY8" fmla="*/ 47914 h 662520"/>
              <a:gd name="connsiteX9" fmla="*/ 428289 w 1356396"/>
              <a:gd name="connsiteY9" fmla="*/ 75804 h 662520"/>
              <a:gd name="connsiteX10" fmla="*/ 453566 w 1356396"/>
              <a:gd name="connsiteY10" fmla="*/ 110509 h 662520"/>
              <a:gd name="connsiteX11" fmla="*/ 473932 w 1356396"/>
              <a:gd name="connsiteY11" fmla="*/ 152255 h 662520"/>
              <a:gd name="connsiteX12" fmla="*/ 488982 w 1356396"/>
              <a:gd name="connsiteY12" fmla="*/ 201265 h 662520"/>
              <a:gd name="connsiteX13" fmla="*/ 498309 w 1356396"/>
              <a:gd name="connsiteY13" fmla="*/ 257766 h 662520"/>
              <a:gd name="connsiteX14" fmla="*/ 501508 w 1356396"/>
              <a:gd name="connsiteY14" fmla="*/ 321983 h 662520"/>
              <a:gd name="connsiteX15" fmla="*/ 498959 w 1356396"/>
              <a:gd name="connsiteY15" fmla="*/ 376707 h 662520"/>
              <a:gd name="connsiteX16" fmla="*/ 491411 w 1356396"/>
              <a:gd name="connsiteY16" fmla="*/ 427041 h 662520"/>
              <a:gd name="connsiteX17" fmla="*/ 479009 w 1356396"/>
              <a:gd name="connsiteY17" fmla="*/ 472909 h 662520"/>
              <a:gd name="connsiteX18" fmla="*/ 461899 w 1356396"/>
              <a:gd name="connsiteY18" fmla="*/ 514232 h 662520"/>
              <a:gd name="connsiteX19" fmla="*/ 440227 w 1356396"/>
              <a:gd name="connsiteY19" fmla="*/ 550937 h 662520"/>
              <a:gd name="connsiteX20" fmla="*/ 414140 w 1356396"/>
              <a:gd name="connsiteY20" fmla="*/ 582945 h 662520"/>
              <a:gd name="connsiteX21" fmla="*/ 383782 w 1356396"/>
              <a:gd name="connsiteY21" fmla="*/ 610181 h 662520"/>
              <a:gd name="connsiteX22" fmla="*/ 349301 w 1356396"/>
              <a:gd name="connsiteY22" fmla="*/ 632569 h 662520"/>
              <a:gd name="connsiteX23" fmla="*/ 310842 w 1356396"/>
              <a:gd name="connsiteY23" fmla="*/ 650033 h 662520"/>
              <a:gd name="connsiteX24" fmla="*/ 268552 w 1356396"/>
              <a:gd name="connsiteY24" fmla="*/ 662495 h 662520"/>
              <a:gd name="connsiteX25" fmla="*/ 587715 w 1356396"/>
              <a:gd name="connsiteY25" fmla="*/ 662520 h 662520"/>
              <a:gd name="connsiteX26" fmla="*/ 566720 w 1356396"/>
              <a:gd name="connsiteY26" fmla="*/ 658030 h 662520"/>
              <a:gd name="connsiteX27" fmla="*/ 546926 w 1356396"/>
              <a:gd name="connsiteY27" fmla="*/ 652783 h 662520"/>
              <a:gd name="connsiteX28" fmla="*/ 528090 w 1356396"/>
              <a:gd name="connsiteY28" fmla="*/ 646826 h 662520"/>
              <a:gd name="connsiteX29" fmla="*/ 509966 w 1356396"/>
              <a:gd name="connsiteY29" fmla="*/ 640206 h 662520"/>
              <a:gd name="connsiteX30" fmla="*/ 509966 w 1356396"/>
              <a:gd name="connsiteY30" fmla="*/ 516293 h 662520"/>
              <a:gd name="connsiteX31" fmla="*/ 591640 w 1356396"/>
              <a:gd name="connsiteY31" fmla="*/ 516293 h 662520"/>
              <a:gd name="connsiteX32" fmla="*/ 607756 w 1356396"/>
              <a:gd name="connsiteY32" fmla="*/ 539439 h 662520"/>
              <a:gd name="connsiteX33" fmla="*/ 631180 w 1356396"/>
              <a:gd name="connsiteY33" fmla="*/ 559242 h 662520"/>
              <a:gd name="connsiteX34" fmla="*/ 662525 w 1356396"/>
              <a:gd name="connsiteY34" fmla="*/ 573062 h 662520"/>
              <a:gd name="connsiteX35" fmla="*/ 702409 w 1356396"/>
              <a:gd name="connsiteY35" fmla="*/ 578256 h 662520"/>
              <a:gd name="connsiteX36" fmla="*/ 744912 w 1356396"/>
              <a:gd name="connsiteY36" fmla="*/ 571758 h 662520"/>
              <a:gd name="connsiteX37" fmla="*/ 779851 w 1356396"/>
              <a:gd name="connsiteY37" fmla="*/ 552322 h 662520"/>
              <a:gd name="connsiteX38" fmla="*/ 803525 w 1356396"/>
              <a:gd name="connsiteY38" fmla="*/ 520038 h 662520"/>
              <a:gd name="connsiteX39" fmla="*/ 812239 w 1356396"/>
              <a:gd name="connsiteY39" fmla="*/ 474992 h 662520"/>
              <a:gd name="connsiteX40" fmla="*/ 804977 w 1356396"/>
              <a:gd name="connsiteY40" fmla="*/ 430240 h 662520"/>
              <a:gd name="connsiteX41" fmla="*/ 783019 w 1356396"/>
              <a:gd name="connsiteY41" fmla="*/ 398602 h 662520"/>
              <a:gd name="connsiteX42" fmla="*/ 746102 w 1356396"/>
              <a:gd name="connsiteY42" fmla="*/ 379812 h 662520"/>
              <a:gd name="connsiteX43" fmla="*/ 693964 w 1356396"/>
              <a:gd name="connsiteY43" fmla="*/ 373608 h 662520"/>
              <a:gd name="connsiteX44" fmla="*/ 645145 w 1356396"/>
              <a:gd name="connsiteY44" fmla="*/ 373608 h 662520"/>
              <a:gd name="connsiteX45" fmla="*/ 645145 w 1356396"/>
              <a:gd name="connsiteY45" fmla="*/ 286308 h 662520"/>
              <a:gd name="connsiteX46" fmla="*/ 686445 w 1356396"/>
              <a:gd name="connsiteY46" fmla="*/ 286308 h 662520"/>
              <a:gd name="connsiteX47" fmla="*/ 740116 w 1356396"/>
              <a:gd name="connsiteY47" fmla="*/ 280133 h 662520"/>
              <a:gd name="connsiteX48" fmla="*/ 778560 w 1356396"/>
              <a:gd name="connsiteY48" fmla="*/ 261550 h 662520"/>
              <a:gd name="connsiteX49" fmla="*/ 801690 w 1356396"/>
              <a:gd name="connsiteY49" fmla="*/ 230469 h 662520"/>
              <a:gd name="connsiteX50" fmla="*/ 809419 w 1356396"/>
              <a:gd name="connsiteY50" fmla="*/ 186804 h 662520"/>
              <a:gd name="connsiteX51" fmla="*/ 804066 w 1356396"/>
              <a:gd name="connsiteY51" fmla="*/ 149115 h 662520"/>
              <a:gd name="connsiteX52" fmla="*/ 787713 w 1356396"/>
              <a:gd name="connsiteY52" fmla="*/ 121104 h 662520"/>
              <a:gd name="connsiteX53" fmla="*/ 759918 w 1356396"/>
              <a:gd name="connsiteY53" fmla="*/ 103651 h 662520"/>
              <a:gd name="connsiteX54" fmla="*/ 720240 w 1356396"/>
              <a:gd name="connsiteY54" fmla="*/ 97637 h 662520"/>
              <a:gd name="connsiteX55" fmla="*/ 682796 w 1356396"/>
              <a:gd name="connsiteY55" fmla="*/ 102374 h 662520"/>
              <a:gd name="connsiteX56" fmla="*/ 653009 w 1356396"/>
              <a:gd name="connsiteY56" fmla="*/ 115117 h 662520"/>
              <a:gd name="connsiteX57" fmla="*/ 630086 w 1356396"/>
              <a:gd name="connsiteY57" fmla="*/ 133668 h 662520"/>
              <a:gd name="connsiteX58" fmla="*/ 613230 w 1356396"/>
              <a:gd name="connsiteY58" fmla="*/ 155828 h 662520"/>
              <a:gd name="connsiteX59" fmla="*/ 535328 w 1356396"/>
              <a:gd name="connsiteY59" fmla="*/ 155828 h 662520"/>
              <a:gd name="connsiteX60" fmla="*/ 535328 w 1356396"/>
              <a:gd name="connsiteY60" fmla="*/ 33807 h 662520"/>
              <a:gd name="connsiteX61" fmla="*/ 579559 w 1356396"/>
              <a:gd name="connsiteY61" fmla="*/ 19813 h 662520"/>
              <a:gd name="connsiteX62" fmla="*/ 626609 w 1356396"/>
              <a:gd name="connsiteY62" fmla="*/ 9159 h 662520"/>
              <a:gd name="connsiteX63" fmla="*/ 676831 w 1356396"/>
              <a:gd name="connsiteY63" fmla="*/ 2378 h 662520"/>
              <a:gd name="connsiteX64" fmla="*/ 730578 w 1356396"/>
              <a:gd name="connsiteY64" fmla="*/ 0 h 662520"/>
              <a:gd name="connsiteX65" fmla="*/ 785948 w 1356396"/>
              <a:gd name="connsiteY65" fmla="*/ 3158 h 662520"/>
              <a:gd name="connsiteX66" fmla="*/ 834242 w 1356396"/>
              <a:gd name="connsiteY66" fmla="*/ 12853 h 662520"/>
              <a:gd name="connsiteX67" fmla="*/ 874933 w 1356396"/>
              <a:gd name="connsiteY67" fmla="*/ 29412 h 662520"/>
              <a:gd name="connsiteX68" fmla="*/ 907496 w 1356396"/>
              <a:gd name="connsiteY68" fmla="*/ 53163 h 662520"/>
              <a:gd name="connsiteX69" fmla="*/ 931406 w 1356396"/>
              <a:gd name="connsiteY69" fmla="*/ 84435 h 662520"/>
              <a:gd name="connsiteX70" fmla="*/ 946137 w 1356396"/>
              <a:gd name="connsiteY70" fmla="*/ 123555 h 662520"/>
              <a:gd name="connsiteX71" fmla="*/ 951164 w 1356396"/>
              <a:gd name="connsiteY71" fmla="*/ 170853 h 662520"/>
              <a:gd name="connsiteX72" fmla="*/ 945006 w 1356396"/>
              <a:gd name="connsiteY72" fmla="*/ 219568 h 662520"/>
              <a:gd name="connsiteX73" fmla="*/ 927134 w 1356396"/>
              <a:gd name="connsiteY73" fmla="*/ 258234 h 662520"/>
              <a:gd name="connsiteX74" fmla="*/ 898448 w 1356396"/>
              <a:gd name="connsiteY74" fmla="*/ 287843 h 662520"/>
              <a:gd name="connsiteX75" fmla="*/ 859849 w 1356396"/>
              <a:gd name="connsiteY75" fmla="*/ 309388 h 662520"/>
              <a:gd name="connsiteX76" fmla="*/ 812239 w 1356396"/>
              <a:gd name="connsiteY76" fmla="*/ 323862 h 662520"/>
              <a:gd name="connsiteX77" fmla="*/ 812239 w 1356396"/>
              <a:gd name="connsiteY77" fmla="*/ 327609 h 662520"/>
              <a:gd name="connsiteX78" fmla="*/ 866234 w 1356396"/>
              <a:gd name="connsiteY78" fmla="*/ 340566 h 662520"/>
              <a:gd name="connsiteX79" fmla="*/ 907836 w 1356396"/>
              <a:gd name="connsiteY79" fmla="*/ 362534 h 662520"/>
              <a:gd name="connsiteX80" fmla="*/ 937272 w 1356396"/>
              <a:gd name="connsiteY80" fmla="*/ 393513 h 662520"/>
              <a:gd name="connsiteX81" fmla="*/ 954768 w 1356396"/>
              <a:gd name="connsiteY81" fmla="*/ 433502 h 662520"/>
              <a:gd name="connsiteX82" fmla="*/ 960549 w 1356396"/>
              <a:gd name="connsiteY82" fmla="*/ 482498 h 662520"/>
              <a:gd name="connsiteX83" fmla="*/ 955489 w 1356396"/>
              <a:gd name="connsiteY83" fmla="*/ 527743 h 662520"/>
              <a:gd name="connsiteX84" fmla="*/ 940212 w 1356396"/>
              <a:gd name="connsiteY84" fmla="*/ 567021 h 662520"/>
              <a:gd name="connsiteX85" fmla="*/ 915675 w 1356396"/>
              <a:gd name="connsiteY85" fmla="*/ 600232 h 662520"/>
              <a:gd name="connsiteX86" fmla="*/ 882838 w 1356396"/>
              <a:gd name="connsiteY86" fmla="*/ 627278 h 662520"/>
              <a:gd name="connsiteX87" fmla="*/ 842659 w 1356396"/>
              <a:gd name="connsiteY87" fmla="*/ 648061 h 662520"/>
              <a:gd name="connsiteX88" fmla="*/ 796097 w 1356396"/>
              <a:gd name="connsiteY88" fmla="*/ 662482 h 662520"/>
              <a:gd name="connsiteX89" fmla="*/ 1356396 w 1356396"/>
              <a:gd name="connsiteY89" fmla="*/ 662495 h 662520"/>
              <a:gd name="connsiteX0" fmla="*/ 0 w 1343390"/>
              <a:gd name="connsiteY0" fmla="*/ 135445 h 662520"/>
              <a:gd name="connsiteX1" fmla="*/ 21058 w 1343390"/>
              <a:gd name="connsiteY1" fmla="*/ 97085 h 662520"/>
              <a:gd name="connsiteX2" fmla="*/ 49663 w 1343390"/>
              <a:gd name="connsiteY2" fmla="*/ 64071 h 662520"/>
              <a:gd name="connsiteX3" fmla="*/ 85307 w 1343390"/>
              <a:gd name="connsiteY3" fmla="*/ 37129 h 662520"/>
              <a:gd name="connsiteX4" fmla="*/ 273172 w 1343390"/>
              <a:gd name="connsiteY4" fmla="*/ 2882 h 662520"/>
              <a:gd name="connsiteX5" fmla="*/ 314039 w 1343390"/>
              <a:gd name="connsiteY5" fmla="*/ 11678 h 662520"/>
              <a:gd name="connsiteX6" fmla="*/ 351617 w 1343390"/>
              <a:gd name="connsiteY6" fmla="*/ 26614 h 662520"/>
              <a:gd name="connsiteX7" fmla="*/ 385500 w 1343390"/>
              <a:gd name="connsiteY7" fmla="*/ 47914 h 662520"/>
              <a:gd name="connsiteX8" fmla="*/ 415283 w 1343390"/>
              <a:gd name="connsiteY8" fmla="*/ 75804 h 662520"/>
              <a:gd name="connsiteX9" fmla="*/ 440560 w 1343390"/>
              <a:gd name="connsiteY9" fmla="*/ 110509 h 662520"/>
              <a:gd name="connsiteX10" fmla="*/ 460926 w 1343390"/>
              <a:gd name="connsiteY10" fmla="*/ 152255 h 662520"/>
              <a:gd name="connsiteX11" fmla="*/ 475976 w 1343390"/>
              <a:gd name="connsiteY11" fmla="*/ 201265 h 662520"/>
              <a:gd name="connsiteX12" fmla="*/ 485303 w 1343390"/>
              <a:gd name="connsiteY12" fmla="*/ 257766 h 662520"/>
              <a:gd name="connsiteX13" fmla="*/ 488502 w 1343390"/>
              <a:gd name="connsiteY13" fmla="*/ 321983 h 662520"/>
              <a:gd name="connsiteX14" fmla="*/ 485953 w 1343390"/>
              <a:gd name="connsiteY14" fmla="*/ 376707 h 662520"/>
              <a:gd name="connsiteX15" fmla="*/ 478405 w 1343390"/>
              <a:gd name="connsiteY15" fmla="*/ 427041 h 662520"/>
              <a:gd name="connsiteX16" fmla="*/ 466003 w 1343390"/>
              <a:gd name="connsiteY16" fmla="*/ 472909 h 662520"/>
              <a:gd name="connsiteX17" fmla="*/ 448893 w 1343390"/>
              <a:gd name="connsiteY17" fmla="*/ 514232 h 662520"/>
              <a:gd name="connsiteX18" fmla="*/ 427221 w 1343390"/>
              <a:gd name="connsiteY18" fmla="*/ 550937 h 662520"/>
              <a:gd name="connsiteX19" fmla="*/ 401134 w 1343390"/>
              <a:gd name="connsiteY19" fmla="*/ 582945 h 662520"/>
              <a:gd name="connsiteX20" fmla="*/ 370776 w 1343390"/>
              <a:gd name="connsiteY20" fmla="*/ 610181 h 662520"/>
              <a:gd name="connsiteX21" fmla="*/ 336295 w 1343390"/>
              <a:gd name="connsiteY21" fmla="*/ 632569 h 662520"/>
              <a:gd name="connsiteX22" fmla="*/ 297836 w 1343390"/>
              <a:gd name="connsiteY22" fmla="*/ 650033 h 662520"/>
              <a:gd name="connsiteX23" fmla="*/ 255546 w 1343390"/>
              <a:gd name="connsiteY23" fmla="*/ 662495 h 662520"/>
              <a:gd name="connsiteX24" fmla="*/ 574709 w 1343390"/>
              <a:gd name="connsiteY24" fmla="*/ 662520 h 662520"/>
              <a:gd name="connsiteX25" fmla="*/ 553714 w 1343390"/>
              <a:gd name="connsiteY25" fmla="*/ 658030 h 662520"/>
              <a:gd name="connsiteX26" fmla="*/ 533920 w 1343390"/>
              <a:gd name="connsiteY26" fmla="*/ 652783 h 662520"/>
              <a:gd name="connsiteX27" fmla="*/ 515084 w 1343390"/>
              <a:gd name="connsiteY27" fmla="*/ 646826 h 662520"/>
              <a:gd name="connsiteX28" fmla="*/ 496960 w 1343390"/>
              <a:gd name="connsiteY28" fmla="*/ 640206 h 662520"/>
              <a:gd name="connsiteX29" fmla="*/ 496960 w 1343390"/>
              <a:gd name="connsiteY29" fmla="*/ 516293 h 662520"/>
              <a:gd name="connsiteX30" fmla="*/ 578634 w 1343390"/>
              <a:gd name="connsiteY30" fmla="*/ 516293 h 662520"/>
              <a:gd name="connsiteX31" fmla="*/ 594750 w 1343390"/>
              <a:gd name="connsiteY31" fmla="*/ 539439 h 662520"/>
              <a:gd name="connsiteX32" fmla="*/ 618174 w 1343390"/>
              <a:gd name="connsiteY32" fmla="*/ 559242 h 662520"/>
              <a:gd name="connsiteX33" fmla="*/ 649519 w 1343390"/>
              <a:gd name="connsiteY33" fmla="*/ 573062 h 662520"/>
              <a:gd name="connsiteX34" fmla="*/ 689403 w 1343390"/>
              <a:gd name="connsiteY34" fmla="*/ 578256 h 662520"/>
              <a:gd name="connsiteX35" fmla="*/ 731906 w 1343390"/>
              <a:gd name="connsiteY35" fmla="*/ 571758 h 662520"/>
              <a:gd name="connsiteX36" fmla="*/ 766845 w 1343390"/>
              <a:gd name="connsiteY36" fmla="*/ 552322 h 662520"/>
              <a:gd name="connsiteX37" fmla="*/ 790519 w 1343390"/>
              <a:gd name="connsiteY37" fmla="*/ 520038 h 662520"/>
              <a:gd name="connsiteX38" fmla="*/ 799233 w 1343390"/>
              <a:gd name="connsiteY38" fmla="*/ 474992 h 662520"/>
              <a:gd name="connsiteX39" fmla="*/ 791971 w 1343390"/>
              <a:gd name="connsiteY39" fmla="*/ 430240 h 662520"/>
              <a:gd name="connsiteX40" fmla="*/ 770013 w 1343390"/>
              <a:gd name="connsiteY40" fmla="*/ 398602 h 662520"/>
              <a:gd name="connsiteX41" fmla="*/ 733096 w 1343390"/>
              <a:gd name="connsiteY41" fmla="*/ 379812 h 662520"/>
              <a:gd name="connsiteX42" fmla="*/ 680958 w 1343390"/>
              <a:gd name="connsiteY42" fmla="*/ 373608 h 662520"/>
              <a:gd name="connsiteX43" fmla="*/ 632139 w 1343390"/>
              <a:gd name="connsiteY43" fmla="*/ 373608 h 662520"/>
              <a:gd name="connsiteX44" fmla="*/ 632139 w 1343390"/>
              <a:gd name="connsiteY44" fmla="*/ 286308 h 662520"/>
              <a:gd name="connsiteX45" fmla="*/ 673439 w 1343390"/>
              <a:gd name="connsiteY45" fmla="*/ 286308 h 662520"/>
              <a:gd name="connsiteX46" fmla="*/ 727110 w 1343390"/>
              <a:gd name="connsiteY46" fmla="*/ 280133 h 662520"/>
              <a:gd name="connsiteX47" fmla="*/ 765554 w 1343390"/>
              <a:gd name="connsiteY47" fmla="*/ 261550 h 662520"/>
              <a:gd name="connsiteX48" fmla="*/ 788684 w 1343390"/>
              <a:gd name="connsiteY48" fmla="*/ 230469 h 662520"/>
              <a:gd name="connsiteX49" fmla="*/ 796413 w 1343390"/>
              <a:gd name="connsiteY49" fmla="*/ 186804 h 662520"/>
              <a:gd name="connsiteX50" fmla="*/ 791060 w 1343390"/>
              <a:gd name="connsiteY50" fmla="*/ 149115 h 662520"/>
              <a:gd name="connsiteX51" fmla="*/ 774707 w 1343390"/>
              <a:gd name="connsiteY51" fmla="*/ 121104 h 662520"/>
              <a:gd name="connsiteX52" fmla="*/ 746912 w 1343390"/>
              <a:gd name="connsiteY52" fmla="*/ 103651 h 662520"/>
              <a:gd name="connsiteX53" fmla="*/ 707234 w 1343390"/>
              <a:gd name="connsiteY53" fmla="*/ 97637 h 662520"/>
              <a:gd name="connsiteX54" fmla="*/ 669790 w 1343390"/>
              <a:gd name="connsiteY54" fmla="*/ 102374 h 662520"/>
              <a:gd name="connsiteX55" fmla="*/ 640003 w 1343390"/>
              <a:gd name="connsiteY55" fmla="*/ 115117 h 662520"/>
              <a:gd name="connsiteX56" fmla="*/ 617080 w 1343390"/>
              <a:gd name="connsiteY56" fmla="*/ 133668 h 662520"/>
              <a:gd name="connsiteX57" fmla="*/ 600224 w 1343390"/>
              <a:gd name="connsiteY57" fmla="*/ 155828 h 662520"/>
              <a:gd name="connsiteX58" fmla="*/ 522322 w 1343390"/>
              <a:gd name="connsiteY58" fmla="*/ 155828 h 662520"/>
              <a:gd name="connsiteX59" fmla="*/ 522322 w 1343390"/>
              <a:gd name="connsiteY59" fmla="*/ 33807 h 662520"/>
              <a:gd name="connsiteX60" fmla="*/ 566553 w 1343390"/>
              <a:gd name="connsiteY60" fmla="*/ 19813 h 662520"/>
              <a:gd name="connsiteX61" fmla="*/ 613603 w 1343390"/>
              <a:gd name="connsiteY61" fmla="*/ 9159 h 662520"/>
              <a:gd name="connsiteX62" fmla="*/ 663825 w 1343390"/>
              <a:gd name="connsiteY62" fmla="*/ 2378 h 662520"/>
              <a:gd name="connsiteX63" fmla="*/ 717572 w 1343390"/>
              <a:gd name="connsiteY63" fmla="*/ 0 h 662520"/>
              <a:gd name="connsiteX64" fmla="*/ 772942 w 1343390"/>
              <a:gd name="connsiteY64" fmla="*/ 3158 h 662520"/>
              <a:gd name="connsiteX65" fmla="*/ 821236 w 1343390"/>
              <a:gd name="connsiteY65" fmla="*/ 12853 h 662520"/>
              <a:gd name="connsiteX66" fmla="*/ 861927 w 1343390"/>
              <a:gd name="connsiteY66" fmla="*/ 29412 h 662520"/>
              <a:gd name="connsiteX67" fmla="*/ 894490 w 1343390"/>
              <a:gd name="connsiteY67" fmla="*/ 53163 h 662520"/>
              <a:gd name="connsiteX68" fmla="*/ 918400 w 1343390"/>
              <a:gd name="connsiteY68" fmla="*/ 84435 h 662520"/>
              <a:gd name="connsiteX69" fmla="*/ 933131 w 1343390"/>
              <a:gd name="connsiteY69" fmla="*/ 123555 h 662520"/>
              <a:gd name="connsiteX70" fmla="*/ 938158 w 1343390"/>
              <a:gd name="connsiteY70" fmla="*/ 170853 h 662520"/>
              <a:gd name="connsiteX71" fmla="*/ 932000 w 1343390"/>
              <a:gd name="connsiteY71" fmla="*/ 219568 h 662520"/>
              <a:gd name="connsiteX72" fmla="*/ 914128 w 1343390"/>
              <a:gd name="connsiteY72" fmla="*/ 258234 h 662520"/>
              <a:gd name="connsiteX73" fmla="*/ 885442 w 1343390"/>
              <a:gd name="connsiteY73" fmla="*/ 287843 h 662520"/>
              <a:gd name="connsiteX74" fmla="*/ 846843 w 1343390"/>
              <a:gd name="connsiteY74" fmla="*/ 309388 h 662520"/>
              <a:gd name="connsiteX75" fmla="*/ 799233 w 1343390"/>
              <a:gd name="connsiteY75" fmla="*/ 323862 h 662520"/>
              <a:gd name="connsiteX76" fmla="*/ 799233 w 1343390"/>
              <a:gd name="connsiteY76" fmla="*/ 327609 h 662520"/>
              <a:gd name="connsiteX77" fmla="*/ 853228 w 1343390"/>
              <a:gd name="connsiteY77" fmla="*/ 340566 h 662520"/>
              <a:gd name="connsiteX78" fmla="*/ 894830 w 1343390"/>
              <a:gd name="connsiteY78" fmla="*/ 362534 h 662520"/>
              <a:gd name="connsiteX79" fmla="*/ 924266 w 1343390"/>
              <a:gd name="connsiteY79" fmla="*/ 393513 h 662520"/>
              <a:gd name="connsiteX80" fmla="*/ 941762 w 1343390"/>
              <a:gd name="connsiteY80" fmla="*/ 433502 h 662520"/>
              <a:gd name="connsiteX81" fmla="*/ 947543 w 1343390"/>
              <a:gd name="connsiteY81" fmla="*/ 482498 h 662520"/>
              <a:gd name="connsiteX82" fmla="*/ 942483 w 1343390"/>
              <a:gd name="connsiteY82" fmla="*/ 527743 h 662520"/>
              <a:gd name="connsiteX83" fmla="*/ 927206 w 1343390"/>
              <a:gd name="connsiteY83" fmla="*/ 567021 h 662520"/>
              <a:gd name="connsiteX84" fmla="*/ 902669 w 1343390"/>
              <a:gd name="connsiteY84" fmla="*/ 600232 h 662520"/>
              <a:gd name="connsiteX85" fmla="*/ 869832 w 1343390"/>
              <a:gd name="connsiteY85" fmla="*/ 627278 h 662520"/>
              <a:gd name="connsiteX86" fmla="*/ 829653 w 1343390"/>
              <a:gd name="connsiteY86" fmla="*/ 648061 h 662520"/>
              <a:gd name="connsiteX87" fmla="*/ 783091 w 1343390"/>
              <a:gd name="connsiteY87" fmla="*/ 662482 h 662520"/>
              <a:gd name="connsiteX88" fmla="*/ 1343390 w 1343390"/>
              <a:gd name="connsiteY88" fmla="*/ 662495 h 662520"/>
              <a:gd name="connsiteX0" fmla="*/ 0 w 1322332"/>
              <a:gd name="connsiteY0" fmla="*/ 97085 h 662520"/>
              <a:gd name="connsiteX1" fmla="*/ 28605 w 1322332"/>
              <a:gd name="connsiteY1" fmla="*/ 64071 h 662520"/>
              <a:gd name="connsiteX2" fmla="*/ 64249 w 1322332"/>
              <a:gd name="connsiteY2" fmla="*/ 37129 h 662520"/>
              <a:gd name="connsiteX3" fmla="*/ 252114 w 1322332"/>
              <a:gd name="connsiteY3" fmla="*/ 2882 h 662520"/>
              <a:gd name="connsiteX4" fmla="*/ 292981 w 1322332"/>
              <a:gd name="connsiteY4" fmla="*/ 11678 h 662520"/>
              <a:gd name="connsiteX5" fmla="*/ 330559 w 1322332"/>
              <a:gd name="connsiteY5" fmla="*/ 26614 h 662520"/>
              <a:gd name="connsiteX6" fmla="*/ 364442 w 1322332"/>
              <a:gd name="connsiteY6" fmla="*/ 47914 h 662520"/>
              <a:gd name="connsiteX7" fmla="*/ 394225 w 1322332"/>
              <a:gd name="connsiteY7" fmla="*/ 75804 h 662520"/>
              <a:gd name="connsiteX8" fmla="*/ 419502 w 1322332"/>
              <a:gd name="connsiteY8" fmla="*/ 110509 h 662520"/>
              <a:gd name="connsiteX9" fmla="*/ 439868 w 1322332"/>
              <a:gd name="connsiteY9" fmla="*/ 152255 h 662520"/>
              <a:gd name="connsiteX10" fmla="*/ 454918 w 1322332"/>
              <a:gd name="connsiteY10" fmla="*/ 201265 h 662520"/>
              <a:gd name="connsiteX11" fmla="*/ 464245 w 1322332"/>
              <a:gd name="connsiteY11" fmla="*/ 257766 h 662520"/>
              <a:gd name="connsiteX12" fmla="*/ 467444 w 1322332"/>
              <a:gd name="connsiteY12" fmla="*/ 321983 h 662520"/>
              <a:gd name="connsiteX13" fmla="*/ 464895 w 1322332"/>
              <a:gd name="connsiteY13" fmla="*/ 376707 h 662520"/>
              <a:gd name="connsiteX14" fmla="*/ 457347 w 1322332"/>
              <a:gd name="connsiteY14" fmla="*/ 427041 h 662520"/>
              <a:gd name="connsiteX15" fmla="*/ 444945 w 1322332"/>
              <a:gd name="connsiteY15" fmla="*/ 472909 h 662520"/>
              <a:gd name="connsiteX16" fmla="*/ 427835 w 1322332"/>
              <a:gd name="connsiteY16" fmla="*/ 514232 h 662520"/>
              <a:gd name="connsiteX17" fmla="*/ 406163 w 1322332"/>
              <a:gd name="connsiteY17" fmla="*/ 550937 h 662520"/>
              <a:gd name="connsiteX18" fmla="*/ 380076 w 1322332"/>
              <a:gd name="connsiteY18" fmla="*/ 582945 h 662520"/>
              <a:gd name="connsiteX19" fmla="*/ 349718 w 1322332"/>
              <a:gd name="connsiteY19" fmla="*/ 610181 h 662520"/>
              <a:gd name="connsiteX20" fmla="*/ 315237 w 1322332"/>
              <a:gd name="connsiteY20" fmla="*/ 632569 h 662520"/>
              <a:gd name="connsiteX21" fmla="*/ 276778 w 1322332"/>
              <a:gd name="connsiteY21" fmla="*/ 650033 h 662520"/>
              <a:gd name="connsiteX22" fmla="*/ 234488 w 1322332"/>
              <a:gd name="connsiteY22" fmla="*/ 662495 h 662520"/>
              <a:gd name="connsiteX23" fmla="*/ 553651 w 1322332"/>
              <a:gd name="connsiteY23" fmla="*/ 662520 h 662520"/>
              <a:gd name="connsiteX24" fmla="*/ 532656 w 1322332"/>
              <a:gd name="connsiteY24" fmla="*/ 658030 h 662520"/>
              <a:gd name="connsiteX25" fmla="*/ 512862 w 1322332"/>
              <a:gd name="connsiteY25" fmla="*/ 652783 h 662520"/>
              <a:gd name="connsiteX26" fmla="*/ 494026 w 1322332"/>
              <a:gd name="connsiteY26" fmla="*/ 646826 h 662520"/>
              <a:gd name="connsiteX27" fmla="*/ 475902 w 1322332"/>
              <a:gd name="connsiteY27" fmla="*/ 640206 h 662520"/>
              <a:gd name="connsiteX28" fmla="*/ 475902 w 1322332"/>
              <a:gd name="connsiteY28" fmla="*/ 516293 h 662520"/>
              <a:gd name="connsiteX29" fmla="*/ 557576 w 1322332"/>
              <a:gd name="connsiteY29" fmla="*/ 516293 h 662520"/>
              <a:gd name="connsiteX30" fmla="*/ 573692 w 1322332"/>
              <a:gd name="connsiteY30" fmla="*/ 539439 h 662520"/>
              <a:gd name="connsiteX31" fmla="*/ 597116 w 1322332"/>
              <a:gd name="connsiteY31" fmla="*/ 559242 h 662520"/>
              <a:gd name="connsiteX32" fmla="*/ 628461 w 1322332"/>
              <a:gd name="connsiteY32" fmla="*/ 573062 h 662520"/>
              <a:gd name="connsiteX33" fmla="*/ 668345 w 1322332"/>
              <a:gd name="connsiteY33" fmla="*/ 578256 h 662520"/>
              <a:gd name="connsiteX34" fmla="*/ 710848 w 1322332"/>
              <a:gd name="connsiteY34" fmla="*/ 571758 h 662520"/>
              <a:gd name="connsiteX35" fmla="*/ 745787 w 1322332"/>
              <a:gd name="connsiteY35" fmla="*/ 552322 h 662520"/>
              <a:gd name="connsiteX36" fmla="*/ 769461 w 1322332"/>
              <a:gd name="connsiteY36" fmla="*/ 520038 h 662520"/>
              <a:gd name="connsiteX37" fmla="*/ 778175 w 1322332"/>
              <a:gd name="connsiteY37" fmla="*/ 474992 h 662520"/>
              <a:gd name="connsiteX38" fmla="*/ 770913 w 1322332"/>
              <a:gd name="connsiteY38" fmla="*/ 430240 h 662520"/>
              <a:gd name="connsiteX39" fmla="*/ 748955 w 1322332"/>
              <a:gd name="connsiteY39" fmla="*/ 398602 h 662520"/>
              <a:gd name="connsiteX40" fmla="*/ 712038 w 1322332"/>
              <a:gd name="connsiteY40" fmla="*/ 379812 h 662520"/>
              <a:gd name="connsiteX41" fmla="*/ 659900 w 1322332"/>
              <a:gd name="connsiteY41" fmla="*/ 373608 h 662520"/>
              <a:gd name="connsiteX42" fmla="*/ 611081 w 1322332"/>
              <a:gd name="connsiteY42" fmla="*/ 373608 h 662520"/>
              <a:gd name="connsiteX43" fmla="*/ 611081 w 1322332"/>
              <a:gd name="connsiteY43" fmla="*/ 286308 h 662520"/>
              <a:gd name="connsiteX44" fmla="*/ 652381 w 1322332"/>
              <a:gd name="connsiteY44" fmla="*/ 286308 h 662520"/>
              <a:gd name="connsiteX45" fmla="*/ 706052 w 1322332"/>
              <a:gd name="connsiteY45" fmla="*/ 280133 h 662520"/>
              <a:gd name="connsiteX46" fmla="*/ 744496 w 1322332"/>
              <a:gd name="connsiteY46" fmla="*/ 261550 h 662520"/>
              <a:gd name="connsiteX47" fmla="*/ 767626 w 1322332"/>
              <a:gd name="connsiteY47" fmla="*/ 230469 h 662520"/>
              <a:gd name="connsiteX48" fmla="*/ 775355 w 1322332"/>
              <a:gd name="connsiteY48" fmla="*/ 186804 h 662520"/>
              <a:gd name="connsiteX49" fmla="*/ 770002 w 1322332"/>
              <a:gd name="connsiteY49" fmla="*/ 149115 h 662520"/>
              <a:gd name="connsiteX50" fmla="*/ 753649 w 1322332"/>
              <a:gd name="connsiteY50" fmla="*/ 121104 h 662520"/>
              <a:gd name="connsiteX51" fmla="*/ 725854 w 1322332"/>
              <a:gd name="connsiteY51" fmla="*/ 103651 h 662520"/>
              <a:gd name="connsiteX52" fmla="*/ 686176 w 1322332"/>
              <a:gd name="connsiteY52" fmla="*/ 97637 h 662520"/>
              <a:gd name="connsiteX53" fmla="*/ 648732 w 1322332"/>
              <a:gd name="connsiteY53" fmla="*/ 102374 h 662520"/>
              <a:gd name="connsiteX54" fmla="*/ 618945 w 1322332"/>
              <a:gd name="connsiteY54" fmla="*/ 115117 h 662520"/>
              <a:gd name="connsiteX55" fmla="*/ 596022 w 1322332"/>
              <a:gd name="connsiteY55" fmla="*/ 133668 h 662520"/>
              <a:gd name="connsiteX56" fmla="*/ 579166 w 1322332"/>
              <a:gd name="connsiteY56" fmla="*/ 155828 h 662520"/>
              <a:gd name="connsiteX57" fmla="*/ 501264 w 1322332"/>
              <a:gd name="connsiteY57" fmla="*/ 155828 h 662520"/>
              <a:gd name="connsiteX58" fmla="*/ 501264 w 1322332"/>
              <a:gd name="connsiteY58" fmla="*/ 33807 h 662520"/>
              <a:gd name="connsiteX59" fmla="*/ 545495 w 1322332"/>
              <a:gd name="connsiteY59" fmla="*/ 19813 h 662520"/>
              <a:gd name="connsiteX60" fmla="*/ 592545 w 1322332"/>
              <a:gd name="connsiteY60" fmla="*/ 9159 h 662520"/>
              <a:gd name="connsiteX61" fmla="*/ 642767 w 1322332"/>
              <a:gd name="connsiteY61" fmla="*/ 2378 h 662520"/>
              <a:gd name="connsiteX62" fmla="*/ 696514 w 1322332"/>
              <a:gd name="connsiteY62" fmla="*/ 0 h 662520"/>
              <a:gd name="connsiteX63" fmla="*/ 751884 w 1322332"/>
              <a:gd name="connsiteY63" fmla="*/ 3158 h 662520"/>
              <a:gd name="connsiteX64" fmla="*/ 800178 w 1322332"/>
              <a:gd name="connsiteY64" fmla="*/ 12853 h 662520"/>
              <a:gd name="connsiteX65" fmla="*/ 840869 w 1322332"/>
              <a:gd name="connsiteY65" fmla="*/ 29412 h 662520"/>
              <a:gd name="connsiteX66" fmla="*/ 873432 w 1322332"/>
              <a:gd name="connsiteY66" fmla="*/ 53163 h 662520"/>
              <a:gd name="connsiteX67" fmla="*/ 897342 w 1322332"/>
              <a:gd name="connsiteY67" fmla="*/ 84435 h 662520"/>
              <a:gd name="connsiteX68" fmla="*/ 912073 w 1322332"/>
              <a:gd name="connsiteY68" fmla="*/ 123555 h 662520"/>
              <a:gd name="connsiteX69" fmla="*/ 917100 w 1322332"/>
              <a:gd name="connsiteY69" fmla="*/ 170853 h 662520"/>
              <a:gd name="connsiteX70" fmla="*/ 910942 w 1322332"/>
              <a:gd name="connsiteY70" fmla="*/ 219568 h 662520"/>
              <a:gd name="connsiteX71" fmla="*/ 893070 w 1322332"/>
              <a:gd name="connsiteY71" fmla="*/ 258234 h 662520"/>
              <a:gd name="connsiteX72" fmla="*/ 864384 w 1322332"/>
              <a:gd name="connsiteY72" fmla="*/ 287843 h 662520"/>
              <a:gd name="connsiteX73" fmla="*/ 825785 w 1322332"/>
              <a:gd name="connsiteY73" fmla="*/ 309388 h 662520"/>
              <a:gd name="connsiteX74" fmla="*/ 778175 w 1322332"/>
              <a:gd name="connsiteY74" fmla="*/ 323862 h 662520"/>
              <a:gd name="connsiteX75" fmla="*/ 778175 w 1322332"/>
              <a:gd name="connsiteY75" fmla="*/ 327609 h 662520"/>
              <a:gd name="connsiteX76" fmla="*/ 832170 w 1322332"/>
              <a:gd name="connsiteY76" fmla="*/ 340566 h 662520"/>
              <a:gd name="connsiteX77" fmla="*/ 873772 w 1322332"/>
              <a:gd name="connsiteY77" fmla="*/ 362534 h 662520"/>
              <a:gd name="connsiteX78" fmla="*/ 903208 w 1322332"/>
              <a:gd name="connsiteY78" fmla="*/ 393513 h 662520"/>
              <a:gd name="connsiteX79" fmla="*/ 920704 w 1322332"/>
              <a:gd name="connsiteY79" fmla="*/ 433502 h 662520"/>
              <a:gd name="connsiteX80" fmla="*/ 926485 w 1322332"/>
              <a:gd name="connsiteY80" fmla="*/ 482498 h 662520"/>
              <a:gd name="connsiteX81" fmla="*/ 921425 w 1322332"/>
              <a:gd name="connsiteY81" fmla="*/ 527743 h 662520"/>
              <a:gd name="connsiteX82" fmla="*/ 906148 w 1322332"/>
              <a:gd name="connsiteY82" fmla="*/ 567021 h 662520"/>
              <a:gd name="connsiteX83" fmla="*/ 881611 w 1322332"/>
              <a:gd name="connsiteY83" fmla="*/ 600232 h 662520"/>
              <a:gd name="connsiteX84" fmla="*/ 848774 w 1322332"/>
              <a:gd name="connsiteY84" fmla="*/ 627278 h 662520"/>
              <a:gd name="connsiteX85" fmla="*/ 808595 w 1322332"/>
              <a:gd name="connsiteY85" fmla="*/ 648061 h 662520"/>
              <a:gd name="connsiteX86" fmla="*/ 762033 w 1322332"/>
              <a:gd name="connsiteY86" fmla="*/ 662482 h 662520"/>
              <a:gd name="connsiteX87" fmla="*/ 1322332 w 1322332"/>
              <a:gd name="connsiteY87" fmla="*/ 662495 h 662520"/>
              <a:gd name="connsiteX0" fmla="*/ 0 w 1293727"/>
              <a:gd name="connsiteY0" fmla="*/ 64071 h 662520"/>
              <a:gd name="connsiteX1" fmla="*/ 35644 w 1293727"/>
              <a:gd name="connsiteY1" fmla="*/ 37129 h 662520"/>
              <a:gd name="connsiteX2" fmla="*/ 223509 w 1293727"/>
              <a:gd name="connsiteY2" fmla="*/ 2882 h 662520"/>
              <a:gd name="connsiteX3" fmla="*/ 264376 w 1293727"/>
              <a:gd name="connsiteY3" fmla="*/ 11678 h 662520"/>
              <a:gd name="connsiteX4" fmla="*/ 301954 w 1293727"/>
              <a:gd name="connsiteY4" fmla="*/ 26614 h 662520"/>
              <a:gd name="connsiteX5" fmla="*/ 335837 w 1293727"/>
              <a:gd name="connsiteY5" fmla="*/ 47914 h 662520"/>
              <a:gd name="connsiteX6" fmla="*/ 365620 w 1293727"/>
              <a:gd name="connsiteY6" fmla="*/ 75804 h 662520"/>
              <a:gd name="connsiteX7" fmla="*/ 390897 w 1293727"/>
              <a:gd name="connsiteY7" fmla="*/ 110509 h 662520"/>
              <a:gd name="connsiteX8" fmla="*/ 411263 w 1293727"/>
              <a:gd name="connsiteY8" fmla="*/ 152255 h 662520"/>
              <a:gd name="connsiteX9" fmla="*/ 426313 w 1293727"/>
              <a:gd name="connsiteY9" fmla="*/ 201265 h 662520"/>
              <a:gd name="connsiteX10" fmla="*/ 435640 w 1293727"/>
              <a:gd name="connsiteY10" fmla="*/ 257766 h 662520"/>
              <a:gd name="connsiteX11" fmla="*/ 438839 w 1293727"/>
              <a:gd name="connsiteY11" fmla="*/ 321983 h 662520"/>
              <a:gd name="connsiteX12" fmla="*/ 436290 w 1293727"/>
              <a:gd name="connsiteY12" fmla="*/ 376707 h 662520"/>
              <a:gd name="connsiteX13" fmla="*/ 428742 w 1293727"/>
              <a:gd name="connsiteY13" fmla="*/ 427041 h 662520"/>
              <a:gd name="connsiteX14" fmla="*/ 416340 w 1293727"/>
              <a:gd name="connsiteY14" fmla="*/ 472909 h 662520"/>
              <a:gd name="connsiteX15" fmla="*/ 399230 w 1293727"/>
              <a:gd name="connsiteY15" fmla="*/ 514232 h 662520"/>
              <a:gd name="connsiteX16" fmla="*/ 377558 w 1293727"/>
              <a:gd name="connsiteY16" fmla="*/ 550937 h 662520"/>
              <a:gd name="connsiteX17" fmla="*/ 351471 w 1293727"/>
              <a:gd name="connsiteY17" fmla="*/ 582945 h 662520"/>
              <a:gd name="connsiteX18" fmla="*/ 321113 w 1293727"/>
              <a:gd name="connsiteY18" fmla="*/ 610181 h 662520"/>
              <a:gd name="connsiteX19" fmla="*/ 286632 w 1293727"/>
              <a:gd name="connsiteY19" fmla="*/ 632569 h 662520"/>
              <a:gd name="connsiteX20" fmla="*/ 248173 w 1293727"/>
              <a:gd name="connsiteY20" fmla="*/ 650033 h 662520"/>
              <a:gd name="connsiteX21" fmla="*/ 205883 w 1293727"/>
              <a:gd name="connsiteY21" fmla="*/ 662495 h 662520"/>
              <a:gd name="connsiteX22" fmla="*/ 525046 w 1293727"/>
              <a:gd name="connsiteY22" fmla="*/ 662520 h 662520"/>
              <a:gd name="connsiteX23" fmla="*/ 504051 w 1293727"/>
              <a:gd name="connsiteY23" fmla="*/ 658030 h 662520"/>
              <a:gd name="connsiteX24" fmla="*/ 484257 w 1293727"/>
              <a:gd name="connsiteY24" fmla="*/ 652783 h 662520"/>
              <a:gd name="connsiteX25" fmla="*/ 465421 w 1293727"/>
              <a:gd name="connsiteY25" fmla="*/ 646826 h 662520"/>
              <a:gd name="connsiteX26" fmla="*/ 447297 w 1293727"/>
              <a:gd name="connsiteY26" fmla="*/ 640206 h 662520"/>
              <a:gd name="connsiteX27" fmla="*/ 447297 w 1293727"/>
              <a:gd name="connsiteY27" fmla="*/ 516293 h 662520"/>
              <a:gd name="connsiteX28" fmla="*/ 528971 w 1293727"/>
              <a:gd name="connsiteY28" fmla="*/ 516293 h 662520"/>
              <a:gd name="connsiteX29" fmla="*/ 545087 w 1293727"/>
              <a:gd name="connsiteY29" fmla="*/ 539439 h 662520"/>
              <a:gd name="connsiteX30" fmla="*/ 568511 w 1293727"/>
              <a:gd name="connsiteY30" fmla="*/ 559242 h 662520"/>
              <a:gd name="connsiteX31" fmla="*/ 599856 w 1293727"/>
              <a:gd name="connsiteY31" fmla="*/ 573062 h 662520"/>
              <a:gd name="connsiteX32" fmla="*/ 639740 w 1293727"/>
              <a:gd name="connsiteY32" fmla="*/ 578256 h 662520"/>
              <a:gd name="connsiteX33" fmla="*/ 682243 w 1293727"/>
              <a:gd name="connsiteY33" fmla="*/ 571758 h 662520"/>
              <a:gd name="connsiteX34" fmla="*/ 717182 w 1293727"/>
              <a:gd name="connsiteY34" fmla="*/ 552322 h 662520"/>
              <a:gd name="connsiteX35" fmla="*/ 740856 w 1293727"/>
              <a:gd name="connsiteY35" fmla="*/ 520038 h 662520"/>
              <a:gd name="connsiteX36" fmla="*/ 749570 w 1293727"/>
              <a:gd name="connsiteY36" fmla="*/ 474992 h 662520"/>
              <a:gd name="connsiteX37" fmla="*/ 742308 w 1293727"/>
              <a:gd name="connsiteY37" fmla="*/ 430240 h 662520"/>
              <a:gd name="connsiteX38" fmla="*/ 720350 w 1293727"/>
              <a:gd name="connsiteY38" fmla="*/ 398602 h 662520"/>
              <a:gd name="connsiteX39" fmla="*/ 683433 w 1293727"/>
              <a:gd name="connsiteY39" fmla="*/ 379812 h 662520"/>
              <a:gd name="connsiteX40" fmla="*/ 631295 w 1293727"/>
              <a:gd name="connsiteY40" fmla="*/ 373608 h 662520"/>
              <a:gd name="connsiteX41" fmla="*/ 582476 w 1293727"/>
              <a:gd name="connsiteY41" fmla="*/ 373608 h 662520"/>
              <a:gd name="connsiteX42" fmla="*/ 582476 w 1293727"/>
              <a:gd name="connsiteY42" fmla="*/ 286308 h 662520"/>
              <a:gd name="connsiteX43" fmla="*/ 623776 w 1293727"/>
              <a:gd name="connsiteY43" fmla="*/ 286308 h 662520"/>
              <a:gd name="connsiteX44" fmla="*/ 677447 w 1293727"/>
              <a:gd name="connsiteY44" fmla="*/ 280133 h 662520"/>
              <a:gd name="connsiteX45" fmla="*/ 715891 w 1293727"/>
              <a:gd name="connsiteY45" fmla="*/ 261550 h 662520"/>
              <a:gd name="connsiteX46" fmla="*/ 739021 w 1293727"/>
              <a:gd name="connsiteY46" fmla="*/ 230469 h 662520"/>
              <a:gd name="connsiteX47" fmla="*/ 746750 w 1293727"/>
              <a:gd name="connsiteY47" fmla="*/ 186804 h 662520"/>
              <a:gd name="connsiteX48" fmla="*/ 741397 w 1293727"/>
              <a:gd name="connsiteY48" fmla="*/ 149115 h 662520"/>
              <a:gd name="connsiteX49" fmla="*/ 725044 w 1293727"/>
              <a:gd name="connsiteY49" fmla="*/ 121104 h 662520"/>
              <a:gd name="connsiteX50" fmla="*/ 697249 w 1293727"/>
              <a:gd name="connsiteY50" fmla="*/ 103651 h 662520"/>
              <a:gd name="connsiteX51" fmla="*/ 657571 w 1293727"/>
              <a:gd name="connsiteY51" fmla="*/ 97637 h 662520"/>
              <a:gd name="connsiteX52" fmla="*/ 620127 w 1293727"/>
              <a:gd name="connsiteY52" fmla="*/ 102374 h 662520"/>
              <a:gd name="connsiteX53" fmla="*/ 590340 w 1293727"/>
              <a:gd name="connsiteY53" fmla="*/ 115117 h 662520"/>
              <a:gd name="connsiteX54" fmla="*/ 567417 w 1293727"/>
              <a:gd name="connsiteY54" fmla="*/ 133668 h 662520"/>
              <a:gd name="connsiteX55" fmla="*/ 550561 w 1293727"/>
              <a:gd name="connsiteY55" fmla="*/ 155828 h 662520"/>
              <a:gd name="connsiteX56" fmla="*/ 472659 w 1293727"/>
              <a:gd name="connsiteY56" fmla="*/ 155828 h 662520"/>
              <a:gd name="connsiteX57" fmla="*/ 472659 w 1293727"/>
              <a:gd name="connsiteY57" fmla="*/ 33807 h 662520"/>
              <a:gd name="connsiteX58" fmla="*/ 516890 w 1293727"/>
              <a:gd name="connsiteY58" fmla="*/ 19813 h 662520"/>
              <a:gd name="connsiteX59" fmla="*/ 563940 w 1293727"/>
              <a:gd name="connsiteY59" fmla="*/ 9159 h 662520"/>
              <a:gd name="connsiteX60" fmla="*/ 614162 w 1293727"/>
              <a:gd name="connsiteY60" fmla="*/ 2378 h 662520"/>
              <a:gd name="connsiteX61" fmla="*/ 667909 w 1293727"/>
              <a:gd name="connsiteY61" fmla="*/ 0 h 662520"/>
              <a:gd name="connsiteX62" fmla="*/ 723279 w 1293727"/>
              <a:gd name="connsiteY62" fmla="*/ 3158 h 662520"/>
              <a:gd name="connsiteX63" fmla="*/ 771573 w 1293727"/>
              <a:gd name="connsiteY63" fmla="*/ 12853 h 662520"/>
              <a:gd name="connsiteX64" fmla="*/ 812264 w 1293727"/>
              <a:gd name="connsiteY64" fmla="*/ 29412 h 662520"/>
              <a:gd name="connsiteX65" fmla="*/ 844827 w 1293727"/>
              <a:gd name="connsiteY65" fmla="*/ 53163 h 662520"/>
              <a:gd name="connsiteX66" fmla="*/ 868737 w 1293727"/>
              <a:gd name="connsiteY66" fmla="*/ 84435 h 662520"/>
              <a:gd name="connsiteX67" fmla="*/ 883468 w 1293727"/>
              <a:gd name="connsiteY67" fmla="*/ 123555 h 662520"/>
              <a:gd name="connsiteX68" fmla="*/ 888495 w 1293727"/>
              <a:gd name="connsiteY68" fmla="*/ 170853 h 662520"/>
              <a:gd name="connsiteX69" fmla="*/ 882337 w 1293727"/>
              <a:gd name="connsiteY69" fmla="*/ 219568 h 662520"/>
              <a:gd name="connsiteX70" fmla="*/ 864465 w 1293727"/>
              <a:gd name="connsiteY70" fmla="*/ 258234 h 662520"/>
              <a:gd name="connsiteX71" fmla="*/ 835779 w 1293727"/>
              <a:gd name="connsiteY71" fmla="*/ 287843 h 662520"/>
              <a:gd name="connsiteX72" fmla="*/ 797180 w 1293727"/>
              <a:gd name="connsiteY72" fmla="*/ 309388 h 662520"/>
              <a:gd name="connsiteX73" fmla="*/ 749570 w 1293727"/>
              <a:gd name="connsiteY73" fmla="*/ 323862 h 662520"/>
              <a:gd name="connsiteX74" fmla="*/ 749570 w 1293727"/>
              <a:gd name="connsiteY74" fmla="*/ 327609 h 662520"/>
              <a:gd name="connsiteX75" fmla="*/ 803565 w 1293727"/>
              <a:gd name="connsiteY75" fmla="*/ 340566 h 662520"/>
              <a:gd name="connsiteX76" fmla="*/ 845167 w 1293727"/>
              <a:gd name="connsiteY76" fmla="*/ 362534 h 662520"/>
              <a:gd name="connsiteX77" fmla="*/ 874603 w 1293727"/>
              <a:gd name="connsiteY77" fmla="*/ 393513 h 662520"/>
              <a:gd name="connsiteX78" fmla="*/ 892099 w 1293727"/>
              <a:gd name="connsiteY78" fmla="*/ 433502 h 662520"/>
              <a:gd name="connsiteX79" fmla="*/ 897880 w 1293727"/>
              <a:gd name="connsiteY79" fmla="*/ 482498 h 662520"/>
              <a:gd name="connsiteX80" fmla="*/ 892820 w 1293727"/>
              <a:gd name="connsiteY80" fmla="*/ 527743 h 662520"/>
              <a:gd name="connsiteX81" fmla="*/ 877543 w 1293727"/>
              <a:gd name="connsiteY81" fmla="*/ 567021 h 662520"/>
              <a:gd name="connsiteX82" fmla="*/ 853006 w 1293727"/>
              <a:gd name="connsiteY82" fmla="*/ 600232 h 662520"/>
              <a:gd name="connsiteX83" fmla="*/ 820169 w 1293727"/>
              <a:gd name="connsiteY83" fmla="*/ 627278 h 662520"/>
              <a:gd name="connsiteX84" fmla="*/ 779990 w 1293727"/>
              <a:gd name="connsiteY84" fmla="*/ 648061 h 662520"/>
              <a:gd name="connsiteX85" fmla="*/ 733428 w 1293727"/>
              <a:gd name="connsiteY85" fmla="*/ 662482 h 662520"/>
              <a:gd name="connsiteX86" fmla="*/ 1293727 w 1293727"/>
              <a:gd name="connsiteY86" fmla="*/ 662495 h 662520"/>
              <a:gd name="connsiteX0" fmla="*/ 0 w 1258083"/>
              <a:gd name="connsiteY0" fmla="*/ 37129 h 662520"/>
              <a:gd name="connsiteX1" fmla="*/ 187865 w 1258083"/>
              <a:gd name="connsiteY1" fmla="*/ 2882 h 662520"/>
              <a:gd name="connsiteX2" fmla="*/ 228732 w 1258083"/>
              <a:gd name="connsiteY2" fmla="*/ 11678 h 662520"/>
              <a:gd name="connsiteX3" fmla="*/ 266310 w 1258083"/>
              <a:gd name="connsiteY3" fmla="*/ 26614 h 662520"/>
              <a:gd name="connsiteX4" fmla="*/ 300193 w 1258083"/>
              <a:gd name="connsiteY4" fmla="*/ 47914 h 662520"/>
              <a:gd name="connsiteX5" fmla="*/ 329976 w 1258083"/>
              <a:gd name="connsiteY5" fmla="*/ 75804 h 662520"/>
              <a:gd name="connsiteX6" fmla="*/ 355253 w 1258083"/>
              <a:gd name="connsiteY6" fmla="*/ 110509 h 662520"/>
              <a:gd name="connsiteX7" fmla="*/ 375619 w 1258083"/>
              <a:gd name="connsiteY7" fmla="*/ 152255 h 662520"/>
              <a:gd name="connsiteX8" fmla="*/ 390669 w 1258083"/>
              <a:gd name="connsiteY8" fmla="*/ 201265 h 662520"/>
              <a:gd name="connsiteX9" fmla="*/ 399996 w 1258083"/>
              <a:gd name="connsiteY9" fmla="*/ 257766 h 662520"/>
              <a:gd name="connsiteX10" fmla="*/ 403195 w 1258083"/>
              <a:gd name="connsiteY10" fmla="*/ 321983 h 662520"/>
              <a:gd name="connsiteX11" fmla="*/ 400646 w 1258083"/>
              <a:gd name="connsiteY11" fmla="*/ 376707 h 662520"/>
              <a:gd name="connsiteX12" fmla="*/ 393098 w 1258083"/>
              <a:gd name="connsiteY12" fmla="*/ 427041 h 662520"/>
              <a:gd name="connsiteX13" fmla="*/ 380696 w 1258083"/>
              <a:gd name="connsiteY13" fmla="*/ 472909 h 662520"/>
              <a:gd name="connsiteX14" fmla="*/ 363586 w 1258083"/>
              <a:gd name="connsiteY14" fmla="*/ 514232 h 662520"/>
              <a:gd name="connsiteX15" fmla="*/ 341914 w 1258083"/>
              <a:gd name="connsiteY15" fmla="*/ 550937 h 662520"/>
              <a:gd name="connsiteX16" fmla="*/ 315827 w 1258083"/>
              <a:gd name="connsiteY16" fmla="*/ 582945 h 662520"/>
              <a:gd name="connsiteX17" fmla="*/ 285469 w 1258083"/>
              <a:gd name="connsiteY17" fmla="*/ 610181 h 662520"/>
              <a:gd name="connsiteX18" fmla="*/ 250988 w 1258083"/>
              <a:gd name="connsiteY18" fmla="*/ 632569 h 662520"/>
              <a:gd name="connsiteX19" fmla="*/ 212529 w 1258083"/>
              <a:gd name="connsiteY19" fmla="*/ 650033 h 662520"/>
              <a:gd name="connsiteX20" fmla="*/ 170239 w 1258083"/>
              <a:gd name="connsiteY20" fmla="*/ 662495 h 662520"/>
              <a:gd name="connsiteX21" fmla="*/ 489402 w 1258083"/>
              <a:gd name="connsiteY21" fmla="*/ 662520 h 662520"/>
              <a:gd name="connsiteX22" fmla="*/ 468407 w 1258083"/>
              <a:gd name="connsiteY22" fmla="*/ 658030 h 662520"/>
              <a:gd name="connsiteX23" fmla="*/ 448613 w 1258083"/>
              <a:gd name="connsiteY23" fmla="*/ 652783 h 662520"/>
              <a:gd name="connsiteX24" fmla="*/ 429777 w 1258083"/>
              <a:gd name="connsiteY24" fmla="*/ 646826 h 662520"/>
              <a:gd name="connsiteX25" fmla="*/ 411653 w 1258083"/>
              <a:gd name="connsiteY25" fmla="*/ 640206 h 662520"/>
              <a:gd name="connsiteX26" fmla="*/ 411653 w 1258083"/>
              <a:gd name="connsiteY26" fmla="*/ 516293 h 662520"/>
              <a:gd name="connsiteX27" fmla="*/ 493327 w 1258083"/>
              <a:gd name="connsiteY27" fmla="*/ 516293 h 662520"/>
              <a:gd name="connsiteX28" fmla="*/ 509443 w 1258083"/>
              <a:gd name="connsiteY28" fmla="*/ 539439 h 662520"/>
              <a:gd name="connsiteX29" fmla="*/ 532867 w 1258083"/>
              <a:gd name="connsiteY29" fmla="*/ 559242 h 662520"/>
              <a:gd name="connsiteX30" fmla="*/ 564212 w 1258083"/>
              <a:gd name="connsiteY30" fmla="*/ 573062 h 662520"/>
              <a:gd name="connsiteX31" fmla="*/ 604096 w 1258083"/>
              <a:gd name="connsiteY31" fmla="*/ 578256 h 662520"/>
              <a:gd name="connsiteX32" fmla="*/ 646599 w 1258083"/>
              <a:gd name="connsiteY32" fmla="*/ 571758 h 662520"/>
              <a:gd name="connsiteX33" fmla="*/ 681538 w 1258083"/>
              <a:gd name="connsiteY33" fmla="*/ 552322 h 662520"/>
              <a:gd name="connsiteX34" fmla="*/ 705212 w 1258083"/>
              <a:gd name="connsiteY34" fmla="*/ 520038 h 662520"/>
              <a:gd name="connsiteX35" fmla="*/ 713926 w 1258083"/>
              <a:gd name="connsiteY35" fmla="*/ 474992 h 662520"/>
              <a:gd name="connsiteX36" fmla="*/ 706664 w 1258083"/>
              <a:gd name="connsiteY36" fmla="*/ 430240 h 662520"/>
              <a:gd name="connsiteX37" fmla="*/ 684706 w 1258083"/>
              <a:gd name="connsiteY37" fmla="*/ 398602 h 662520"/>
              <a:gd name="connsiteX38" fmla="*/ 647789 w 1258083"/>
              <a:gd name="connsiteY38" fmla="*/ 379812 h 662520"/>
              <a:gd name="connsiteX39" fmla="*/ 595651 w 1258083"/>
              <a:gd name="connsiteY39" fmla="*/ 373608 h 662520"/>
              <a:gd name="connsiteX40" fmla="*/ 546832 w 1258083"/>
              <a:gd name="connsiteY40" fmla="*/ 373608 h 662520"/>
              <a:gd name="connsiteX41" fmla="*/ 546832 w 1258083"/>
              <a:gd name="connsiteY41" fmla="*/ 286308 h 662520"/>
              <a:gd name="connsiteX42" fmla="*/ 588132 w 1258083"/>
              <a:gd name="connsiteY42" fmla="*/ 286308 h 662520"/>
              <a:gd name="connsiteX43" fmla="*/ 641803 w 1258083"/>
              <a:gd name="connsiteY43" fmla="*/ 280133 h 662520"/>
              <a:gd name="connsiteX44" fmla="*/ 680247 w 1258083"/>
              <a:gd name="connsiteY44" fmla="*/ 261550 h 662520"/>
              <a:gd name="connsiteX45" fmla="*/ 703377 w 1258083"/>
              <a:gd name="connsiteY45" fmla="*/ 230469 h 662520"/>
              <a:gd name="connsiteX46" fmla="*/ 711106 w 1258083"/>
              <a:gd name="connsiteY46" fmla="*/ 186804 h 662520"/>
              <a:gd name="connsiteX47" fmla="*/ 705753 w 1258083"/>
              <a:gd name="connsiteY47" fmla="*/ 149115 h 662520"/>
              <a:gd name="connsiteX48" fmla="*/ 689400 w 1258083"/>
              <a:gd name="connsiteY48" fmla="*/ 121104 h 662520"/>
              <a:gd name="connsiteX49" fmla="*/ 661605 w 1258083"/>
              <a:gd name="connsiteY49" fmla="*/ 103651 h 662520"/>
              <a:gd name="connsiteX50" fmla="*/ 621927 w 1258083"/>
              <a:gd name="connsiteY50" fmla="*/ 97637 h 662520"/>
              <a:gd name="connsiteX51" fmla="*/ 584483 w 1258083"/>
              <a:gd name="connsiteY51" fmla="*/ 102374 h 662520"/>
              <a:gd name="connsiteX52" fmla="*/ 554696 w 1258083"/>
              <a:gd name="connsiteY52" fmla="*/ 115117 h 662520"/>
              <a:gd name="connsiteX53" fmla="*/ 531773 w 1258083"/>
              <a:gd name="connsiteY53" fmla="*/ 133668 h 662520"/>
              <a:gd name="connsiteX54" fmla="*/ 514917 w 1258083"/>
              <a:gd name="connsiteY54" fmla="*/ 155828 h 662520"/>
              <a:gd name="connsiteX55" fmla="*/ 437015 w 1258083"/>
              <a:gd name="connsiteY55" fmla="*/ 155828 h 662520"/>
              <a:gd name="connsiteX56" fmla="*/ 437015 w 1258083"/>
              <a:gd name="connsiteY56" fmla="*/ 33807 h 662520"/>
              <a:gd name="connsiteX57" fmla="*/ 481246 w 1258083"/>
              <a:gd name="connsiteY57" fmla="*/ 19813 h 662520"/>
              <a:gd name="connsiteX58" fmla="*/ 528296 w 1258083"/>
              <a:gd name="connsiteY58" fmla="*/ 9159 h 662520"/>
              <a:gd name="connsiteX59" fmla="*/ 578518 w 1258083"/>
              <a:gd name="connsiteY59" fmla="*/ 2378 h 662520"/>
              <a:gd name="connsiteX60" fmla="*/ 632265 w 1258083"/>
              <a:gd name="connsiteY60" fmla="*/ 0 h 662520"/>
              <a:gd name="connsiteX61" fmla="*/ 687635 w 1258083"/>
              <a:gd name="connsiteY61" fmla="*/ 3158 h 662520"/>
              <a:gd name="connsiteX62" fmla="*/ 735929 w 1258083"/>
              <a:gd name="connsiteY62" fmla="*/ 12853 h 662520"/>
              <a:gd name="connsiteX63" fmla="*/ 776620 w 1258083"/>
              <a:gd name="connsiteY63" fmla="*/ 29412 h 662520"/>
              <a:gd name="connsiteX64" fmla="*/ 809183 w 1258083"/>
              <a:gd name="connsiteY64" fmla="*/ 53163 h 662520"/>
              <a:gd name="connsiteX65" fmla="*/ 833093 w 1258083"/>
              <a:gd name="connsiteY65" fmla="*/ 84435 h 662520"/>
              <a:gd name="connsiteX66" fmla="*/ 847824 w 1258083"/>
              <a:gd name="connsiteY66" fmla="*/ 123555 h 662520"/>
              <a:gd name="connsiteX67" fmla="*/ 852851 w 1258083"/>
              <a:gd name="connsiteY67" fmla="*/ 170853 h 662520"/>
              <a:gd name="connsiteX68" fmla="*/ 846693 w 1258083"/>
              <a:gd name="connsiteY68" fmla="*/ 219568 h 662520"/>
              <a:gd name="connsiteX69" fmla="*/ 828821 w 1258083"/>
              <a:gd name="connsiteY69" fmla="*/ 258234 h 662520"/>
              <a:gd name="connsiteX70" fmla="*/ 800135 w 1258083"/>
              <a:gd name="connsiteY70" fmla="*/ 287843 h 662520"/>
              <a:gd name="connsiteX71" fmla="*/ 761536 w 1258083"/>
              <a:gd name="connsiteY71" fmla="*/ 309388 h 662520"/>
              <a:gd name="connsiteX72" fmla="*/ 713926 w 1258083"/>
              <a:gd name="connsiteY72" fmla="*/ 323862 h 662520"/>
              <a:gd name="connsiteX73" fmla="*/ 713926 w 1258083"/>
              <a:gd name="connsiteY73" fmla="*/ 327609 h 662520"/>
              <a:gd name="connsiteX74" fmla="*/ 767921 w 1258083"/>
              <a:gd name="connsiteY74" fmla="*/ 340566 h 662520"/>
              <a:gd name="connsiteX75" fmla="*/ 809523 w 1258083"/>
              <a:gd name="connsiteY75" fmla="*/ 362534 h 662520"/>
              <a:gd name="connsiteX76" fmla="*/ 838959 w 1258083"/>
              <a:gd name="connsiteY76" fmla="*/ 393513 h 662520"/>
              <a:gd name="connsiteX77" fmla="*/ 856455 w 1258083"/>
              <a:gd name="connsiteY77" fmla="*/ 433502 h 662520"/>
              <a:gd name="connsiteX78" fmla="*/ 862236 w 1258083"/>
              <a:gd name="connsiteY78" fmla="*/ 482498 h 662520"/>
              <a:gd name="connsiteX79" fmla="*/ 857176 w 1258083"/>
              <a:gd name="connsiteY79" fmla="*/ 527743 h 662520"/>
              <a:gd name="connsiteX80" fmla="*/ 841899 w 1258083"/>
              <a:gd name="connsiteY80" fmla="*/ 567021 h 662520"/>
              <a:gd name="connsiteX81" fmla="*/ 817362 w 1258083"/>
              <a:gd name="connsiteY81" fmla="*/ 600232 h 662520"/>
              <a:gd name="connsiteX82" fmla="*/ 784525 w 1258083"/>
              <a:gd name="connsiteY82" fmla="*/ 627278 h 662520"/>
              <a:gd name="connsiteX83" fmla="*/ 744346 w 1258083"/>
              <a:gd name="connsiteY83" fmla="*/ 648061 h 662520"/>
              <a:gd name="connsiteX84" fmla="*/ 697784 w 1258083"/>
              <a:gd name="connsiteY84" fmla="*/ 662482 h 662520"/>
              <a:gd name="connsiteX85" fmla="*/ 1258083 w 1258083"/>
              <a:gd name="connsiteY85" fmla="*/ 662495 h 662520"/>
              <a:gd name="connsiteX0" fmla="*/ 17626 w 1087844"/>
              <a:gd name="connsiteY0" fmla="*/ 2882 h 662520"/>
              <a:gd name="connsiteX1" fmla="*/ 58493 w 1087844"/>
              <a:gd name="connsiteY1" fmla="*/ 11678 h 662520"/>
              <a:gd name="connsiteX2" fmla="*/ 96071 w 1087844"/>
              <a:gd name="connsiteY2" fmla="*/ 26614 h 662520"/>
              <a:gd name="connsiteX3" fmla="*/ 129954 w 1087844"/>
              <a:gd name="connsiteY3" fmla="*/ 47914 h 662520"/>
              <a:gd name="connsiteX4" fmla="*/ 159737 w 1087844"/>
              <a:gd name="connsiteY4" fmla="*/ 75804 h 662520"/>
              <a:gd name="connsiteX5" fmla="*/ 185014 w 1087844"/>
              <a:gd name="connsiteY5" fmla="*/ 110509 h 662520"/>
              <a:gd name="connsiteX6" fmla="*/ 205380 w 1087844"/>
              <a:gd name="connsiteY6" fmla="*/ 152255 h 662520"/>
              <a:gd name="connsiteX7" fmla="*/ 220430 w 1087844"/>
              <a:gd name="connsiteY7" fmla="*/ 201265 h 662520"/>
              <a:gd name="connsiteX8" fmla="*/ 229757 w 1087844"/>
              <a:gd name="connsiteY8" fmla="*/ 257766 h 662520"/>
              <a:gd name="connsiteX9" fmla="*/ 232956 w 1087844"/>
              <a:gd name="connsiteY9" fmla="*/ 321983 h 662520"/>
              <a:gd name="connsiteX10" fmla="*/ 230407 w 1087844"/>
              <a:gd name="connsiteY10" fmla="*/ 376707 h 662520"/>
              <a:gd name="connsiteX11" fmla="*/ 222859 w 1087844"/>
              <a:gd name="connsiteY11" fmla="*/ 427041 h 662520"/>
              <a:gd name="connsiteX12" fmla="*/ 210457 w 1087844"/>
              <a:gd name="connsiteY12" fmla="*/ 472909 h 662520"/>
              <a:gd name="connsiteX13" fmla="*/ 193347 w 1087844"/>
              <a:gd name="connsiteY13" fmla="*/ 514232 h 662520"/>
              <a:gd name="connsiteX14" fmla="*/ 171675 w 1087844"/>
              <a:gd name="connsiteY14" fmla="*/ 550937 h 662520"/>
              <a:gd name="connsiteX15" fmla="*/ 145588 w 1087844"/>
              <a:gd name="connsiteY15" fmla="*/ 582945 h 662520"/>
              <a:gd name="connsiteX16" fmla="*/ 115230 w 1087844"/>
              <a:gd name="connsiteY16" fmla="*/ 610181 h 662520"/>
              <a:gd name="connsiteX17" fmla="*/ 80749 w 1087844"/>
              <a:gd name="connsiteY17" fmla="*/ 632569 h 662520"/>
              <a:gd name="connsiteX18" fmla="*/ 42290 w 1087844"/>
              <a:gd name="connsiteY18" fmla="*/ 650033 h 662520"/>
              <a:gd name="connsiteX19" fmla="*/ 0 w 1087844"/>
              <a:gd name="connsiteY19" fmla="*/ 662495 h 662520"/>
              <a:gd name="connsiteX20" fmla="*/ 319163 w 1087844"/>
              <a:gd name="connsiteY20" fmla="*/ 662520 h 662520"/>
              <a:gd name="connsiteX21" fmla="*/ 298168 w 1087844"/>
              <a:gd name="connsiteY21" fmla="*/ 658030 h 662520"/>
              <a:gd name="connsiteX22" fmla="*/ 278374 w 1087844"/>
              <a:gd name="connsiteY22" fmla="*/ 652783 h 662520"/>
              <a:gd name="connsiteX23" fmla="*/ 259538 w 1087844"/>
              <a:gd name="connsiteY23" fmla="*/ 646826 h 662520"/>
              <a:gd name="connsiteX24" fmla="*/ 241414 w 1087844"/>
              <a:gd name="connsiteY24" fmla="*/ 640206 h 662520"/>
              <a:gd name="connsiteX25" fmla="*/ 241414 w 1087844"/>
              <a:gd name="connsiteY25" fmla="*/ 516293 h 662520"/>
              <a:gd name="connsiteX26" fmla="*/ 323088 w 1087844"/>
              <a:gd name="connsiteY26" fmla="*/ 516293 h 662520"/>
              <a:gd name="connsiteX27" fmla="*/ 339204 w 1087844"/>
              <a:gd name="connsiteY27" fmla="*/ 539439 h 662520"/>
              <a:gd name="connsiteX28" fmla="*/ 362628 w 1087844"/>
              <a:gd name="connsiteY28" fmla="*/ 559242 h 662520"/>
              <a:gd name="connsiteX29" fmla="*/ 393973 w 1087844"/>
              <a:gd name="connsiteY29" fmla="*/ 573062 h 662520"/>
              <a:gd name="connsiteX30" fmla="*/ 433857 w 1087844"/>
              <a:gd name="connsiteY30" fmla="*/ 578256 h 662520"/>
              <a:gd name="connsiteX31" fmla="*/ 476360 w 1087844"/>
              <a:gd name="connsiteY31" fmla="*/ 571758 h 662520"/>
              <a:gd name="connsiteX32" fmla="*/ 511299 w 1087844"/>
              <a:gd name="connsiteY32" fmla="*/ 552322 h 662520"/>
              <a:gd name="connsiteX33" fmla="*/ 534973 w 1087844"/>
              <a:gd name="connsiteY33" fmla="*/ 520038 h 662520"/>
              <a:gd name="connsiteX34" fmla="*/ 543687 w 1087844"/>
              <a:gd name="connsiteY34" fmla="*/ 474992 h 662520"/>
              <a:gd name="connsiteX35" fmla="*/ 536425 w 1087844"/>
              <a:gd name="connsiteY35" fmla="*/ 430240 h 662520"/>
              <a:gd name="connsiteX36" fmla="*/ 514467 w 1087844"/>
              <a:gd name="connsiteY36" fmla="*/ 398602 h 662520"/>
              <a:gd name="connsiteX37" fmla="*/ 477550 w 1087844"/>
              <a:gd name="connsiteY37" fmla="*/ 379812 h 662520"/>
              <a:gd name="connsiteX38" fmla="*/ 425412 w 1087844"/>
              <a:gd name="connsiteY38" fmla="*/ 373608 h 662520"/>
              <a:gd name="connsiteX39" fmla="*/ 376593 w 1087844"/>
              <a:gd name="connsiteY39" fmla="*/ 373608 h 662520"/>
              <a:gd name="connsiteX40" fmla="*/ 376593 w 1087844"/>
              <a:gd name="connsiteY40" fmla="*/ 286308 h 662520"/>
              <a:gd name="connsiteX41" fmla="*/ 417893 w 1087844"/>
              <a:gd name="connsiteY41" fmla="*/ 286308 h 662520"/>
              <a:gd name="connsiteX42" fmla="*/ 471564 w 1087844"/>
              <a:gd name="connsiteY42" fmla="*/ 280133 h 662520"/>
              <a:gd name="connsiteX43" fmla="*/ 510008 w 1087844"/>
              <a:gd name="connsiteY43" fmla="*/ 261550 h 662520"/>
              <a:gd name="connsiteX44" fmla="*/ 533138 w 1087844"/>
              <a:gd name="connsiteY44" fmla="*/ 230469 h 662520"/>
              <a:gd name="connsiteX45" fmla="*/ 540867 w 1087844"/>
              <a:gd name="connsiteY45" fmla="*/ 186804 h 662520"/>
              <a:gd name="connsiteX46" fmla="*/ 535514 w 1087844"/>
              <a:gd name="connsiteY46" fmla="*/ 149115 h 662520"/>
              <a:gd name="connsiteX47" fmla="*/ 519161 w 1087844"/>
              <a:gd name="connsiteY47" fmla="*/ 121104 h 662520"/>
              <a:gd name="connsiteX48" fmla="*/ 491366 w 1087844"/>
              <a:gd name="connsiteY48" fmla="*/ 103651 h 662520"/>
              <a:gd name="connsiteX49" fmla="*/ 451688 w 1087844"/>
              <a:gd name="connsiteY49" fmla="*/ 97637 h 662520"/>
              <a:gd name="connsiteX50" fmla="*/ 414244 w 1087844"/>
              <a:gd name="connsiteY50" fmla="*/ 102374 h 662520"/>
              <a:gd name="connsiteX51" fmla="*/ 384457 w 1087844"/>
              <a:gd name="connsiteY51" fmla="*/ 115117 h 662520"/>
              <a:gd name="connsiteX52" fmla="*/ 361534 w 1087844"/>
              <a:gd name="connsiteY52" fmla="*/ 133668 h 662520"/>
              <a:gd name="connsiteX53" fmla="*/ 344678 w 1087844"/>
              <a:gd name="connsiteY53" fmla="*/ 155828 h 662520"/>
              <a:gd name="connsiteX54" fmla="*/ 266776 w 1087844"/>
              <a:gd name="connsiteY54" fmla="*/ 155828 h 662520"/>
              <a:gd name="connsiteX55" fmla="*/ 266776 w 1087844"/>
              <a:gd name="connsiteY55" fmla="*/ 33807 h 662520"/>
              <a:gd name="connsiteX56" fmla="*/ 311007 w 1087844"/>
              <a:gd name="connsiteY56" fmla="*/ 19813 h 662520"/>
              <a:gd name="connsiteX57" fmla="*/ 358057 w 1087844"/>
              <a:gd name="connsiteY57" fmla="*/ 9159 h 662520"/>
              <a:gd name="connsiteX58" fmla="*/ 408279 w 1087844"/>
              <a:gd name="connsiteY58" fmla="*/ 2378 h 662520"/>
              <a:gd name="connsiteX59" fmla="*/ 462026 w 1087844"/>
              <a:gd name="connsiteY59" fmla="*/ 0 h 662520"/>
              <a:gd name="connsiteX60" fmla="*/ 517396 w 1087844"/>
              <a:gd name="connsiteY60" fmla="*/ 3158 h 662520"/>
              <a:gd name="connsiteX61" fmla="*/ 565690 w 1087844"/>
              <a:gd name="connsiteY61" fmla="*/ 12853 h 662520"/>
              <a:gd name="connsiteX62" fmla="*/ 606381 w 1087844"/>
              <a:gd name="connsiteY62" fmla="*/ 29412 h 662520"/>
              <a:gd name="connsiteX63" fmla="*/ 638944 w 1087844"/>
              <a:gd name="connsiteY63" fmla="*/ 53163 h 662520"/>
              <a:gd name="connsiteX64" fmla="*/ 662854 w 1087844"/>
              <a:gd name="connsiteY64" fmla="*/ 84435 h 662520"/>
              <a:gd name="connsiteX65" fmla="*/ 677585 w 1087844"/>
              <a:gd name="connsiteY65" fmla="*/ 123555 h 662520"/>
              <a:gd name="connsiteX66" fmla="*/ 682612 w 1087844"/>
              <a:gd name="connsiteY66" fmla="*/ 170853 h 662520"/>
              <a:gd name="connsiteX67" fmla="*/ 676454 w 1087844"/>
              <a:gd name="connsiteY67" fmla="*/ 219568 h 662520"/>
              <a:gd name="connsiteX68" fmla="*/ 658582 w 1087844"/>
              <a:gd name="connsiteY68" fmla="*/ 258234 h 662520"/>
              <a:gd name="connsiteX69" fmla="*/ 629896 w 1087844"/>
              <a:gd name="connsiteY69" fmla="*/ 287843 h 662520"/>
              <a:gd name="connsiteX70" fmla="*/ 591297 w 1087844"/>
              <a:gd name="connsiteY70" fmla="*/ 309388 h 662520"/>
              <a:gd name="connsiteX71" fmla="*/ 543687 w 1087844"/>
              <a:gd name="connsiteY71" fmla="*/ 323862 h 662520"/>
              <a:gd name="connsiteX72" fmla="*/ 543687 w 1087844"/>
              <a:gd name="connsiteY72" fmla="*/ 327609 h 662520"/>
              <a:gd name="connsiteX73" fmla="*/ 597682 w 1087844"/>
              <a:gd name="connsiteY73" fmla="*/ 340566 h 662520"/>
              <a:gd name="connsiteX74" fmla="*/ 639284 w 1087844"/>
              <a:gd name="connsiteY74" fmla="*/ 362534 h 662520"/>
              <a:gd name="connsiteX75" fmla="*/ 668720 w 1087844"/>
              <a:gd name="connsiteY75" fmla="*/ 393513 h 662520"/>
              <a:gd name="connsiteX76" fmla="*/ 686216 w 1087844"/>
              <a:gd name="connsiteY76" fmla="*/ 433502 h 662520"/>
              <a:gd name="connsiteX77" fmla="*/ 691997 w 1087844"/>
              <a:gd name="connsiteY77" fmla="*/ 482498 h 662520"/>
              <a:gd name="connsiteX78" fmla="*/ 686937 w 1087844"/>
              <a:gd name="connsiteY78" fmla="*/ 527743 h 662520"/>
              <a:gd name="connsiteX79" fmla="*/ 671660 w 1087844"/>
              <a:gd name="connsiteY79" fmla="*/ 567021 h 662520"/>
              <a:gd name="connsiteX80" fmla="*/ 647123 w 1087844"/>
              <a:gd name="connsiteY80" fmla="*/ 600232 h 662520"/>
              <a:gd name="connsiteX81" fmla="*/ 614286 w 1087844"/>
              <a:gd name="connsiteY81" fmla="*/ 627278 h 662520"/>
              <a:gd name="connsiteX82" fmla="*/ 574107 w 1087844"/>
              <a:gd name="connsiteY82" fmla="*/ 648061 h 662520"/>
              <a:gd name="connsiteX83" fmla="*/ 527545 w 1087844"/>
              <a:gd name="connsiteY83" fmla="*/ 662482 h 662520"/>
              <a:gd name="connsiteX84" fmla="*/ 1087844 w 1087844"/>
              <a:gd name="connsiteY84" fmla="*/ 662495 h 662520"/>
              <a:gd name="connsiteX0" fmla="*/ 58493 w 1087844"/>
              <a:gd name="connsiteY0" fmla="*/ 11678 h 662520"/>
              <a:gd name="connsiteX1" fmla="*/ 96071 w 1087844"/>
              <a:gd name="connsiteY1" fmla="*/ 26614 h 662520"/>
              <a:gd name="connsiteX2" fmla="*/ 129954 w 1087844"/>
              <a:gd name="connsiteY2" fmla="*/ 47914 h 662520"/>
              <a:gd name="connsiteX3" fmla="*/ 159737 w 1087844"/>
              <a:gd name="connsiteY3" fmla="*/ 75804 h 662520"/>
              <a:gd name="connsiteX4" fmla="*/ 185014 w 1087844"/>
              <a:gd name="connsiteY4" fmla="*/ 110509 h 662520"/>
              <a:gd name="connsiteX5" fmla="*/ 205380 w 1087844"/>
              <a:gd name="connsiteY5" fmla="*/ 152255 h 662520"/>
              <a:gd name="connsiteX6" fmla="*/ 220430 w 1087844"/>
              <a:gd name="connsiteY6" fmla="*/ 201265 h 662520"/>
              <a:gd name="connsiteX7" fmla="*/ 229757 w 1087844"/>
              <a:gd name="connsiteY7" fmla="*/ 257766 h 662520"/>
              <a:gd name="connsiteX8" fmla="*/ 232956 w 1087844"/>
              <a:gd name="connsiteY8" fmla="*/ 321983 h 662520"/>
              <a:gd name="connsiteX9" fmla="*/ 230407 w 1087844"/>
              <a:gd name="connsiteY9" fmla="*/ 376707 h 662520"/>
              <a:gd name="connsiteX10" fmla="*/ 222859 w 1087844"/>
              <a:gd name="connsiteY10" fmla="*/ 427041 h 662520"/>
              <a:gd name="connsiteX11" fmla="*/ 210457 w 1087844"/>
              <a:gd name="connsiteY11" fmla="*/ 472909 h 662520"/>
              <a:gd name="connsiteX12" fmla="*/ 193347 w 1087844"/>
              <a:gd name="connsiteY12" fmla="*/ 514232 h 662520"/>
              <a:gd name="connsiteX13" fmla="*/ 171675 w 1087844"/>
              <a:gd name="connsiteY13" fmla="*/ 550937 h 662520"/>
              <a:gd name="connsiteX14" fmla="*/ 145588 w 1087844"/>
              <a:gd name="connsiteY14" fmla="*/ 582945 h 662520"/>
              <a:gd name="connsiteX15" fmla="*/ 115230 w 1087844"/>
              <a:gd name="connsiteY15" fmla="*/ 610181 h 662520"/>
              <a:gd name="connsiteX16" fmla="*/ 80749 w 1087844"/>
              <a:gd name="connsiteY16" fmla="*/ 632569 h 662520"/>
              <a:gd name="connsiteX17" fmla="*/ 42290 w 1087844"/>
              <a:gd name="connsiteY17" fmla="*/ 650033 h 662520"/>
              <a:gd name="connsiteX18" fmla="*/ 0 w 1087844"/>
              <a:gd name="connsiteY18" fmla="*/ 662495 h 662520"/>
              <a:gd name="connsiteX19" fmla="*/ 319163 w 1087844"/>
              <a:gd name="connsiteY19" fmla="*/ 662520 h 662520"/>
              <a:gd name="connsiteX20" fmla="*/ 298168 w 1087844"/>
              <a:gd name="connsiteY20" fmla="*/ 658030 h 662520"/>
              <a:gd name="connsiteX21" fmla="*/ 278374 w 1087844"/>
              <a:gd name="connsiteY21" fmla="*/ 652783 h 662520"/>
              <a:gd name="connsiteX22" fmla="*/ 259538 w 1087844"/>
              <a:gd name="connsiteY22" fmla="*/ 646826 h 662520"/>
              <a:gd name="connsiteX23" fmla="*/ 241414 w 1087844"/>
              <a:gd name="connsiteY23" fmla="*/ 640206 h 662520"/>
              <a:gd name="connsiteX24" fmla="*/ 241414 w 1087844"/>
              <a:gd name="connsiteY24" fmla="*/ 516293 h 662520"/>
              <a:gd name="connsiteX25" fmla="*/ 323088 w 1087844"/>
              <a:gd name="connsiteY25" fmla="*/ 516293 h 662520"/>
              <a:gd name="connsiteX26" fmla="*/ 339204 w 1087844"/>
              <a:gd name="connsiteY26" fmla="*/ 539439 h 662520"/>
              <a:gd name="connsiteX27" fmla="*/ 362628 w 1087844"/>
              <a:gd name="connsiteY27" fmla="*/ 559242 h 662520"/>
              <a:gd name="connsiteX28" fmla="*/ 393973 w 1087844"/>
              <a:gd name="connsiteY28" fmla="*/ 573062 h 662520"/>
              <a:gd name="connsiteX29" fmla="*/ 433857 w 1087844"/>
              <a:gd name="connsiteY29" fmla="*/ 578256 h 662520"/>
              <a:gd name="connsiteX30" fmla="*/ 476360 w 1087844"/>
              <a:gd name="connsiteY30" fmla="*/ 571758 h 662520"/>
              <a:gd name="connsiteX31" fmla="*/ 511299 w 1087844"/>
              <a:gd name="connsiteY31" fmla="*/ 552322 h 662520"/>
              <a:gd name="connsiteX32" fmla="*/ 534973 w 1087844"/>
              <a:gd name="connsiteY32" fmla="*/ 520038 h 662520"/>
              <a:gd name="connsiteX33" fmla="*/ 543687 w 1087844"/>
              <a:gd name="connsiteY33" fmla="*/ 474992 h 662520"/>
              <a:gd name="connsiteX34" fmla="*/ 536425 w 1087844"/>
              <a:gd name="connsiteY34" fmla="*/ 430240 h 662520"/>
              <a:gd name="connsiteX35" fmla="*/ 514467 w 1087844"/>
              <a:gd name="connsiteY35" fmla="*/ 398602 h 662520"/>
              <a:gd name="connsiteX36" fmla="*/ 477550 w 1087844"/>
              <a:gd name="connsiteY36" fmla="*/ 379812 h 662520"/>
              <a:gd name="connsiteX37" fmla="*/ 425412 w 1087844"/>
              <a:gd name="connsiteY37" fmla="*/ 373608 h 662520"/>
              <a:gd name="connsiteX38" fmla="*/ 376593 w 1087844"/>
              <a:gd name="connsiteY38" fmla="*/ 373608 h 662520"/>
              <a:gd name="connsiteX39" fmla="*/ 376593 w 1087844"/>
              <a:gd name="connsiteY39" fmla="*/ 286308 h 662520"/>
              <a:gd name="connsiteX40" fmla="*/ 417893 w 1087844"/>
              <a:gd name="connsiteY40" fmla="*/ 286308 h 662520"/>
              <a:gd name="connsiteX41" fmla="*/ 471564 w 1087844"/>
              <a:gd name="connsiteY41" fmla="*/ 280133 h 662520"/>
              <a:gd name="connsiteX42" fmla="*/ 510008 w 1087844"/>
              <a:gd name="connsiteY42" fmla="*/ 261550 h 662520"/>
              <a:gd name="connsiteX43" fmla="*/ 533138 w 1087844"/>
              <a:gd name="connsiteY43" fmla="*/ 230469 h 662520"/>
              <a:gd name="connsiteX44" fmla="*/ 540867 w 1087844"/>
              <a:gd name="connsiteY44" fmla="*/ 186804 h 662520"/>
              <a:gd name="connsiteX45" fmla="*/ 535514 w 1087844"/>
              <a:gd name="connsiteY45" fmla="*/ 149115 h 662520"/>
              <a:gd name="connsiteX46" fmla="*/ 519161 w 1087844"/>
              <a:gd name="connsiteY46" fmla="*/ 121104 h 662520"/>
              <a:gd name="connsiteX47" fmla="*/ 491366 w 1087844"/>
              <a:gd name="connsiteY47" fmla="*/ 103651 h 662520"/>
              <a:gd name="connsiteX48" fmla="*/ 451688 w 1087844"/>
              <a:gd name="connsiteY48" fmla="*/ 97637 h 662520"/>
              <a:gd name="connsiteX49" fmla="*/ 414244 w 1087844"/>
              <a:gd name="connsiteY49" fmla="*/ 102374 h 662520"/>
              <a:gd name="connsiteX50" fmla="*/ 384457 w 1087844"/>
              <a:gd name="connsiteY50" fmla="*/ 115117 h 662520"/>
              <a:gd name="connsiteX51" fmla="*/ 361534 w 1087844"/>
              <a:gd name="connsiteY51" fmla="*/ 133668 h 662520"/>
              <a:gd name="connsiteX52" fmla="*/ 344678 w 1087844"/>
              <a:gd name="connsiteY52" fmla="*/ 155828 h 662520"/>
              <a:gd name="connsiteX53" fmla="*/ 266776 w 1087844"/>
              <a:gd name="connsiteY53" fmla="*/ 155828 h 662520"/>
              <a:gd name="connsiteX54" fmla="*/ 266776 w 1087844"/>
              <a:gd name="connsiteY54" fmla="*/ 33807 h 662520"/>
              <a:gd name="connsiteX55" fmla="*/ 311007 w 1087844"/>
              <a:gd name="connsiteY55" fmla="*/ 19813 h 662520"/>
              <a:gd name="connsiteX56" fmla="*/ 358057 w 1087844"/>
              <a:gd name="connsiteY56" fmla="*/ 9159 h 662520"/>
              <a:gd name="connsiteX57" fmla="*/ 408279 w 1087844"/>
              <a:gd name="connsiteY57" fmla="*/ 2378 h 662520"/>
              <a:gd name="connsiteX58" fmla="*/ 462026 w 1087844"/>
              <a:gd name="connsiteY58" fmla="*/ 0 h 662520"/>
              <a:gd name="connsiteX59" fmla="*/ 517396 w 1087844"/>
              <a:gd name="connsiteY59" fmla="*/ 3158 h 662520"/>
              <a:gd name="connsiteX60" fmla="*/ 565690 w 1087844"/>
              <a:gd name="connsiteY60" fmla="*/ 12853 h 662520"/>
              <a:gd name="connsiteX61" fmla="*/ 606381 w 1087844"/>
              <a:gd name="connsiteY61" fmla="*/ 29412 h 662520"/>
              <a:gd name="connsiteX62" fmla="*/ 638944 w 1087844"/>
              <a:gd name="connsiteY62" fmla="*/ 53163 h 662520"/>
              <a:gd name="connsiteX63" fmla="*/ 662854 w 1087844"/>
              <a:gd name="connsiteY63" fmla="*/ 84435 h 662520"/>
              <a:gd name="connsiteX64" fmla="*/ 677585 w 1087844"/>
              <a:gd name="connsiteY64" fmla="*/ 123555 h 662520"/>
              <a:gd name="connsiteX65" fmla="*/ 682612 w 1087844"/>
              <a:gd name="connsiteY65" fmla="*/ 170853 h 662520"/>
              <a:gd name="connsiteX66" fmla="*/ 676454 w 1087844"/>
              <a:gd name="connsiteY66" fmla="*/ 219568 h 662520"/>
              <a:gd name="connsiteX67" fmla="*/ 658582 w 1087844"/>
              <a:gd name="connsiteY67" fmla="*/ 258234 h 662520"/>
              <a:gd name="connsiteX68" fmla="*/ 629896 w 1087844"/>
              <a:gd name="connsiteY68" fmla="*/ 287843 h 662520"/>
              <a:gd name="connsiteX69" fmla="*/ 591297 w 1087844"/>
              <a:gd name="connsiteY69" fmla="*/ 309388 h 662520"/>
              <a:gd name="connsiteX70" fmla="*/ 543687 w 1087844"/>
              <a:gd name="connsiteY70" fmla="*/ 323862 h 662520"/>
              <a:gd name="connsiteX71" fmla="*/ 543687 w 1087844"/>
              <a:gd name="connsiteY71" fmla="*/ 327609 h 662520"/>
              <a:gd name="connsiteX72" fmla="*/ 597682 w 1087844"/>
              <a:gd name="connsiteY72" fmla="*/ 340566 h 662520"/>
              <a:gd name="connsiteX73" fmla="*/ 639284 w 1087844"/>
              <a:gd name="connsiteY73" fmla="*/ 362534 h 662520"/>
              <a:gd name="connsiteX74" fmla="*/ 668720 w 1087844"/>
              <a:gd name="connsiteY74" fmla="*/ 393513 h 662520"/>
              <a:gd name="connsiteX75" fmla="*/ 686216 w 1087844"/>
              <a:gd name="connsiteY75" fmla="*/ 433502 h 662520"/>
              <a:gd name="connsiteX76" fmla="*/ 691997 w 1087844"/>
              <a:gd name="connsiteY76" fmla="*/ 482498 h 662520"/>
              <a:gd name="connsiteX77" fmla="*/ 686937 w 1087844"/>
              <a:gd name="connsiteY77" fmla="*/ 527743 h 662520"/>
              <a:gd name="connsiteX78" fmla="*/ 671660 w 1087844"/>
              <a:gd name="connsiteY78" fmla="*/ 567021 h 662520"/>
              <a:gd name="connsiteX79" fmla="*/ 647123 w 1087844"/>
              <a:gd name="connsiteY79" fmla="*/ 600232 h 662520"/>
              <a:gd name="connsiteX80" fmla="*/ 614286 w 1087844"/>
              <a:gd name="connsiteY80" fmla="*/ 627278 h 662520"/>
              <a:gd name="connsiteX81" fmla="*/ 574107 w 1087844"/>
              <a:gd name="connsiteY81" fmla="*/ 648061 h 662520"/>
              <a:gd name="connsiteX82" fmla="*/ 527545 w 1087844"/>
              <a:gd name="connsiteY82" fmla="*/ 662482 h 662520"/>
              <a:gd name="connsiteX83" fmla="*/ 1087844 w 1087844"/>
              <a:gd name="connsiteY83" fmla="*/ 662495 h 662520"/>
              <a:gd name="connsiteX0" fmla="*/ 58493 w 1087844"/>
              <a:gd name="connsiteY0" fmla="*/ 11678 h 662520"/>
              <a:gd name="connsiteX1" fmla="*/ 96071 w 1087844"/>
              <a:gd name="connsiteY1" fmla="*/ 26614 h 662520"/>
              <a:gd name="connsiteX2" fmla="*/ 129954 w 1087844"/>
              <a:gd name="connsiteY2" fmla="*/ 47914 h 662520"/>
              <a:gd name="connsiteX3" fmla="*/ 159737 w 1087844"/>
              <a:gd name="connsiteY3" fmla="*/ 75804 h 662520"/>
              <a:gd name="connsiteX4" fmla="*/ 185014 w 1087844"/>
              <a:gd name="connsiteY4" fmla="*/ 110509 h 662520"/>
              <a:gd name="connsiteX5" fmla="*/ 205380 w 1087844"/>
              <a:gd name="connsiteY5" fmla="*/ 152255 h 662520"/>
              <a:gd name="connsiteX6" fmla="*/ 220430 w 1087844"/>
              <a:gd name="connsiteY6" fmla="*/ 201265 h 662520"/>
              <a:gd name="connsiteX7" fmla="*/ 229757 w 1087844"/>
              <a:gd name="connsiteY7" fmla="*/ 257766 h 662520"/>
              <a:gd name="connsiteX8" fmla="*/ 230407 w 1087844"/>
              <a:gd name="connsiteY8" fmla="*/ 376707 h 662520"/>
              <a:gd name="connsiteX9" fmla="*/ 222859 w 1087844"/>
              <a:gd name="connsiteY9" fmla="*/ 427041 h 662520"/>
              <a:gd name="connsiteX10" fmla="*/ 210457 w 1087844"/>
              <a:gd name="connsiteY10" fmla="*/ 472909 h 662520"/>
              <a:gd name="connsiteX11" fmla="*/ 193347 w 1087844"/>
              <a:gd name="connsiteY11" fmla="*/ 514232 h 662520"/>
              <a:gd name="connsiteX12" fmla="*/ 171675 w 1087844"/>
              <a:gd name="connsiteY12" fmla="*/ 550937 h 662520"/>
              <a:gd name="connsiteX13" fmla="*/ 145588 w 1087844"/>
              <a:gd name="connsiteY13" fmla="*/ 582945 h 662520"/>
              <a:gd name="connsiteX14" fmla="*/ 115230 w 1087844"/>
              <a:gd name="connsiteY14" fmla="*/ 610181 h 662520"/>
              <a:gd name="connsiteX15" fmla="*/ 80749 w 1087844"/>
              <a:gd name="connsiteY15" fmla="*/ 632569 h 662520"/>
              <a:gd name="connsiteX16" fmla="*/ 42290 w 1087844"/>
              <a:gd name="connsiteY16" fmla="*/ 650033 h 662520"/>
              <a:gd name="connsiteX17" fmla="*/ 0 w 1087844"/>
              <a:gd name="connsiteY17" fmla="*/ 662495 h 662520"/>
              <a:gd name="connsiteX18" fmla="*/ 319163 w 1087844"/>
              <a:gd name="connsiteY18" fmla="*/ 662520 h 662520"/>
              <a:gd name="connsiteX19" fmla="*/ 298168 w 1087844"/>
              <a:gd name="connsiteY19" fmla="*/ 658030 h 662520"/>
              <a:gd name="connsiteX20" fmla="*/ 278374 w 1087844"/>
              <a:gd name="connsiteY20" fmla="*/ 652783 h 662520"/>
              <a:gd name="connsiteX21" fmla="*/ 259538 w 1087844"/>
              <a:gd name="connsiteY21" fmla="*/ 646826 h 662520"/>
              <a:gd name="connsiteX22" fmla="*/ 241414 w 1087844"/>
              <a:gd name="connsiteY22" fmla="*/ 640206 h 662520"/>
              <a:gd name="connsiteX23" fmla="*/ 241414 w 1087844"/>
              <a:gd name="connsiteY23" fmla="*/ 516293 h 662520"/>
              <a:gd name="connsiteX24" fmla="*/ 323088 w 1087844"/>
              <a:gd name="connsiteY24" fmla="*/ 516293 h 662520"/>
              <a:gd name="connsiteX25" fmla="*/ 339204 w 1087844"/>
              <a:gd name="connsiteY25" fmla="*/ 539439 h 662520"/>
              <a:gd name="connsiteX26" fmla="*/ 362628 w 1087844"/>
              <a:gd name="connsiteY26" fmla="*/ 559242 h 662520"/>
              <a:gd name="connsiteX27" fmla="*/ 393973 w 1087844"/>
              <a:gd name="connsiteY27" fmla="*/ 573062 h 662520"/>
              <a:gd name="connsiteX28" fmla="*/ 433857 w 1087844"/>
              <a:gd name="connsiteY28" fmla="*/ 578256 h 662520"/>
              <a:gd name="connsiteX29" fmla="*/ 476360 w 1087844"/>
              <a:gd name="connsiteY29" fmla="*/ 571758 h 662520"/>
              <a:gd name="connsiteX30" fmla="*/ 511299 w 1087844"/>
              <a:gd name="connsiteY30" fmla="*/ 552322 h 662520"/>
              <a:gd name="connsiteX31" fmla="*/ 534973 w 1087844"/>
              <a:gd name="connsiteY31" fmla="*/ 520038 h 662520"/>
              <a:gd name="connsiteX32" fmla="*/ 543687 w 1087844"/>
              <a:gd name="connsiteY32" fmla="*/ 474992 h 662520"/>
              <a:gd name="connsiteX33" fmla="*/ 536425 w 1087844"/>
              <a:gd name="connsiteY33" fmla="*/ 430240 h 662520"/>
              <a:gd name="connsiteX34" fmla="*/ 514467 w 1087844"/>
              <a:gd name="connsiteY34" fmla="*/ 398602 h 662520"/>
              <a:gd name="connsiteX35" fmla="*/ 477550 w 1087844"/>
              <a:gd name="connsiteY35" fmla="*/ 379812 h 662520"/>
              <a:gd name="connsiteX36" fmla="*/ 425412 w 1087844"/>
              <a:gd name="connsiteY36" fmla="*/ 373608 h 662520"/>
              <a:gd name="connsiteX37" fmla="*/ 376593 w 1087844"/>
              <a:gd name="connsiteY37" fmla="*/ 373608 h 662520"/>
              <a:gd name="connsiteX38" fmla="*/ 376593 w 1087844"/>
              <a:gd name="connsiteY38" fmla="*/ 286308 h 662520"/>
              <a:gd name="connsiteX39" fmla="*/ 417893 w 1087844"/>
              <a:gd name="connsiteY39" fmla="*/ 286308 h 662520"/>
              <a:gd name="connsiteX40" fmla="*/ 471564 w 1087844"/>
              <a:gd name="connsiteY40" fmla="*/ 280133 h 662520"/>
              <a:gd name="connsiteX41" fmla="*/ 510008 w 1087844"/>
              <a:gd name="connsiteY41" fmla="*/ 261550 h 662520"/>
              <a:gd name="connsiteX42" fmla="*/ 533138 w 1087844"/>
              <a:gd name="connsiteY42" fmla="*/ 230469 h 662520"/>
              <a:gd name="connsiteX43" fmla="*/ 540867 w 1087844"/>
              <a:gd name="connsiteY43" fmla="*/ 186804 h 662520"/>
              <a:gd name="connsiteX44" fmla="*/ 535514 w 1087844"/>
              <a:gd name="connsiteY44" fmla="*/ 149115 h 662520"/>
              <a:gd name="connsiteX45" fmla="*/ 519161 w 1087844"/>
              <a:gd name="connsiteY45" fmla="*/ 121104 h 662520"/>
              <a:gd name="connsiteX46" fmla="*/ 491366 w 1087844"/>
              <a:gd name="connsiteY46" fmla="*/ 103651 h 662520"/>
              <a:gd name="connsiteX47" fmla="*/ 451688 w 1087844"/>
              <a:gd name="connsiteY47" fmla="*/ 97637 h 662520"/>
              <a:gd name="connsiteX48" fmla="*/ 414244 w 1087844"/>
              <a:gd name="connsiteY48" fmla="*/ 102374 h 662520"/>
              <a:gd name="connsiteX49" fmla="*/ 384457 w 1087844"/>
              <a:gd name="connsiteY49" fmla="*/ 115117 h 662520"/>
              <a:gd name="connsiteX50" fmla="*/ 361534 w 1087844"/>
              <a:gd name="connsiteY50" fmla="*/ 133668 h 662520"/>
              <a:gd name="connsiteX51" fmla="*/ 344678 w 1087844"/>
              <a:gd name="connsiteY51" fmla="*/ 155828 h 662520"/>
              <a:gd name="connsiteX52" fmla="*/ 266776 w 1087844"/>
              <a:gd name="connsiteY52" fmla="*/ 155828 h 662520"/>
              <a:gd name="connsiteX53" fmla="*/ 266776 w 1087844"/>
              <a:gd name="connsiteY53" fmla="*/ 33807 h 662520"/>
              <a:gd name="connsiteX54" fmla="*/ 311007 w 1087844"/>
              <a:gd name="connsiteY54" fmla="*/ 19813 h 662520"/>
              <a:gd name="connsiteX55" fmla="*/ 358057 w 1087844"/>
              <a:gd name="connsiteY55" fmla="*/ 9159 h 662520"/>
              <a:gd name="connsiteX56" fmla="*/ 408279 w 1087844"/>
              <a:gd name="connsiteY56" fmla="*/ 2378 h 662520"/>
              <a:gd name="connsiteX57" fmla="*/ 462026 w 1087844"/>
              <a:gd name="connsiteY57" fmla="*/ 0 h 662520"/>
              <a:gd name="connsiteX58" fmla="*/ 517396 w 1087844"/>
              <a:gd name="connsiteY58" fmla="*/ 3158 h 662520"/>
              <a:gd name="connsiteX59" fmla="*/ 565690 w 1087844"/>
              <a:gd name="connsiteY59" fmla="*/ 12853 h 662520"/>
              <a:gd name="connsiteX60" fmla="*/ 606381 w 1087844"/>
              <a:gd name="connsiteY60" fmla="*/ 29412 h 662520"/>
              <a:gd name="connsiteX61" fmla="*/ 638944 w 1087844"/>
              <a:gd name="connsiteY61" fmla="*/ 53163 h 662520"/>
              <a:gd name="connsiteX62" fmla="*/ 662854 w 1087844"/>
              <a:gd name="connsiteY62" fmla="*/ 84435 h 662520"/>
              <a:gd name="connsiteX63" fmla="*/ 677585 w 1087844"/>
              <a:gd name="connsiteY63" fmla="*/ 123555 h 662520"/>
              <a:gd name="connsiteX64" fmla="*/ 682612 w 1087844"/>
              <a:gd name="connsiteY64" fmla="*/ 170853 h 662520"/>
              <a:gd name="connsiteX65" fmla="*/ 676454 w 1087844"/>
              <a:gd name="connsiteY65" fmla="*/ 219568 h 662520"/>
              <a:gd name="connsiteX66" fmla="*/ 658582 w 1087844"/>
              <a:gd name="connsiteY66" fmla="*/ 258234 h 662520"/>
              <a:gd name="connsiteX67" fmla="*/ 629896 w 1087844"/>
              <a:gd name="connsiteY67" fmla="*/ 287843 h 662520"/>
              <a:gd name="connsiteX68" fmla="*/ 591297 w 1087844"/>
              <a:gd name="connsiteY68" fmla="*/ 309388 h 662520"/>
              <a:gd name="connsiteX69" fmla="*/ 543687 w 1087844"/>
              <a:gd name="connsiteY69" fmla="*/ 323862 h 662520"/>
              <a:gd name="connsiteX70" fmla="*/ 543687 w 1087844"/>
              <a:gd name="connsiteY70" fmla="*/ 327609 h 662520"/>
              <a:gd name="connsiteX71" fmla="*/ 597682 w 1087844"/>
              <a:gd name="connsiteY71" fmla="*/ 340566 h 662520"/>
              <a:gd name="connsiteX72" fmla="*/ 639284 w 1087844"/>
              <a:gd name="connsiteY72" fmla="*/ 362534 h 662520"/>
              <a:gd name="connsiteX73" fmla="*/ 668720 w 1087844"/>
              <a:gd name="connsiteY73" fmla="*/ 393513 h 662520"/>
              <a:gd name="connsiteX74" fmla="*/ 686216 w 1087844"/>
              <a:gd name="connsiteY74" fmla="*/ 433502 h 662520"/>
              <a:gd name="connsiteX75" fmla="*/ 691997 w 1087844"/>
              <a:gd name="connsiteY75" fmla="*/ 482498 h 662520"/>
              <a:gd name="connsiteX76" fmla="*/ 686937 w 1087844"/>
              <a:gd name="connsiteY76" fmla="*/ 527743 h 662520"/>
              <a:gd name="connsiteX77" fmla="*/ 671660 w 1087844"/>
              <a:gd name="connsiteY77" fmla="*/ 567021 h 662520"/>
              <a:gd name="connsiteX78" fmla="*/ 647123 w 1087844"/>
              <a:gd name="connsiteY78" fmla="*/ 600232 h 662520"/>
              <a:gd name="connsiteX79" fmla="*/ 614286 w 1087844"/>
              <a:gd name="connsiteY79" fmla="*/ 627278 h 662520"/>
              <a:gd name="connsiteX80" fmla="*/ 574107 w 1087844"/>
              <a:gd name="connsiteY80" fmla="*/ 648061 h 662520"/>
              <a:gd name="connsiteX81" fmla="*/ 527545 w 1087844"/>
              <a:gd name="connsiteY81" fmla="*/ 662482 h 662520"/>
              <a:gd name="connsiteX82" fmla="*/ 1087844 w 1087844"/>
              <a:gd name="connsiteY82" fmla="*/ 662495 h 662520"/>
              <a:gd name="connsiteX0" fmla="*/ 58493 w 1087844"/>
              <a:gd name="connsiteY0" fmla="*/ 11678 h 662520"/>
              <a:gd name="connsiteX1" fmla="*/ 96071 w 1087844"/>
              <a:gd name="connsiteY1" fmla="*/ 26614 h 662520"/>
              <a:gd name="connsiteX2" fmla="*/ 129954 w 1087844"/>
              <a:gd name="connsiteY2" fmla="*/ 47914 h 662520"/>
              <a:gd name="connsiteX3" fmla="*/ 159737 w 1087844"/>
              <a:gd name="connsiteY3" fmla="*/ 75804 h 662520"/>
              <a:gd name="connsiteX4" fmla="*/ 185014 w 1087844"/>
              <a:gd name="connsiteY4" fmla="*/ 110509 h 662520"/>
              <a:gd name="connsiteX5" fmla="*/ 205380 w 1087844"/>
              <a:gd name="connsiteY5" fmla="*/ 152255 h 662520"/>
              <a:gd name="connsiteX6" fmla="*/ 220430 w 1087844"/>
              <a:gd name="connsiteY6" fmla="*/ 201265 h 662520"/>
              <a:gd name="connsiteX7" fmla="*/ 230407 w 1087844"/>
              <a:gd name="connsiteY7" fmla="*/ 376707 h 662520"/>
              <a:gd name="connsiteX8" fmla="*/ 222859 w 1087844"/>
              <a:gd name="connsiteY8" fmla="*/ 427041 h 662520"/>
              <a:gd name="connsiteX9" fmla="*/ 210457 w 1087844"/>
              <a:gd name="connsiteY9" fmla="*/ 472909 h 662520"/>
              <a:gd name="connsiteX10" fmla="*/ 193347 w 1087844"/>
              <a:gd name="connsiteY10" fmla="*/ 514232 h 662520"/>
              <a:gd name="connsiteX11" fmla="*/ 171675 w 1087844"/>
              <a:gd name="connsiteY11" fmla="*/ 550937 h 662520"/>
              <a:gd name="connsiteX12" fmla="*/ 145588 w 1087844"/>
              <a:gd name="connsiteY12" fmla="*/ 582945 h 662520"/>
              <a:gd name="connsiteX13" fmla="*/ 115230 w 1087844"/>
              <a:gd name="connsiteY13" fmla="*/ 610181 h 662520"/>
              <a:gd name="connsiteX14" fmla="*/ 80749 w 1087844"/>
              <a:gd name="connsiteY14" fmla="*/ 632569 h 662520"/>
              <a:gd name="connsiteX15" fmla="*/ 42290 w 1087844"/>
              <a:gd name="connsiteY15" fmla="*/ 650033 h 662520"/>
              <a:gd name="connsiteX16" fmla="*/ 0 w 1087844"/>
              <a:gd name="connsiteY16" fmla="*/ 662495 h 662520"/>
              <a:gd name="connsiteX17" fmla="*/ 319163 w 1087844"/>
              <a:gd name="connsiteY17" fmla="*/ 662520 h 662520"/>
              <a:gd name="connsiteX18" fmla="*/ 298168 w 1087844"/>
              <a:gd name="connsiteY18" fmla="*/ 658030 h 662520"/>
              <a:gd name="connsiteX19" fmla="*/ 278374 w 1087844"/>
              <a:gd name="connsiteY19" fmla="*/ 652783 h 662520"/>
              <a:gd name="connsiteX20" fmla="*/ 259538 w 1087844"/>
              <a:gd name="connsiteY20" fmla="*/ 646826 h 662520"/>
              <a:gd name="connsiteX21" fmla="*/ 241414 w 1087844"/>
              <a:gd name="connsiteY21" fmla="*/ 640206 h 662520"/>
              <a:gd name="connsiteX22" fmla="*/ 241414 w 1087844"/>
              <a:gd name="connsiteY22" fmla="*/ 516293 h 662520"/>
              <a:gd name="connsiteX23" fmla="*/ 323088 w 1087844"/>
              <a:gd name="connsiteY23" fmla="*/ 516293 h 662520"/>
              <a:gd name="connsiteX24" fmla="*/ 339204 w 1087844"/>
              <a:gd name="connsiteY24" fmla="*/ 539439 h 662520"/>
              <a:gd name="connsiteX25" fmla="*/ 362628 w 1087844"/>
              <a:gd name="connsiteY25" fmla="*/ 559242 h 662520"/>
              <a:gd name="connsiteX26" fmla="*/ 393973 w 1087844"/>
              <a:gd name="connsiteY26" fmla="*/ 573062 h 662520"/>
              <a:gd name="connsiteX27" fmla="*/ 433857 w 1087844"/>
              <a:gd name="connsiteY27" fmla="*/ 578256 h 662520"/>
              <a:gd name="connsiteX28" fmla="*/ 476360 w 1087844"/>
              <a:gd name="connsiteY28" fmla="*/ 571758 h 662520"/>
              <a:gd name="connsiteX29" fmla="*/ 511299 w 1087844"/>
              <a:gd name="connsiteY29" fmla="*/ 552322 h 662520"/>
              <a:gd name="connsiteX30" fmla="*/ 534973 w 1087844"/>
              <a:gd name="connsiteY30" fmla="*/ 520038 h 662520"/>
              <a:gd name="connsiteX31" fmla="*/ 543687 w 1087844"/>
              <a:gd name="connsiteY31" fmla="*/ 474992 h 662520"/>
              <a:gd name="connsiteX32" fmla="*/ 536425 w 1087844"/>
              <a:gd name="connsiteY32" fmla="*/ 430240 h 662520"/>
              <a:gd name="connsiteX33" fmla="*/ 514467 w 1087844"/>
              <a:gd name="connsiteY33" fmla="*/ 398602 h 662520"/>
              <a:gd name="connsiteX34" fmla="*/ 477550 w 1087844"/>
              <a:gd name="connsiteY34" fmla="*/ 379812 h 662520"/>
              <a:gd name="connsiteX35" fmla="*/ 425412 w 1087844"/>
              <a:gd name="connsiteY35" fmla="*/ 373608 h 662520"/>
              <a:gd name="connsiteX36" fmla="*/ 376593 w 1087844"/>
              <a:gd name="connsiteY36" fmla="*/ 373608 h 662520"/>
              <a:gd name="connsiteX37" fmla="*/ 376593 w 1087844"/>
              <a:gd name="connsiteY37" fmla="*/ 286308 h 662520"/>
              <a:gd name="connsiteX38" fmla="*/ 417893 w 1087844"/>
              <a:gd name="connsiteY38" fmla="*/ 286308 h 662520"/>
              <a:gd name="connsiteX39" fmla="*/ 471564 w 1087844"/>
              <a:gd name="connsiteY39" fmla="*/ 280133 h 662520"/>
              <a:gd name="connsiteX40" fmla="*/ 510008 w 1087844"/>
              <a:gd name="connsiteY40" fmla="*/ 261550 h 662520"/>
              <a:gd name="connsiteX41" fmla="*/ 533138 w 1087844"/>
              <a:gd name="connsiteY41" fmla="*/ 230469 h 662520"/>
              <a:gd name="connsiteX42" fmla="*/ 540867 w 1087844"/>
              <a:gd name="connsiteY42" fmla="*/ 186804 h 662520"/>
              <a:gd name="connsiteX43" fmla="*/ 535514 w 1087844"/>
              <a:gd name="connsiteY43" fmla="*/ 149115 h 662520"/>
              <a:gd name="connsiteX44" fmla="*/ 519161 w 1087844"/>
              <a:gd name="connsiteY44" fmla="*/ 121104 h 662520"/>
              <a:gd name="connsiteX45" fmla="*/ 491366 w 1087844"/>
              <a:gd name="connsiteY45" fmla="*/ 103651 h 662520"/>
              <a:gd name="connsiteX46" fmla="*/ 451688 w 1087844"/>
              <a:gd name="connsiteY46" fmla="*/ 97637 h 662520"/>
              <a:gd name="connsiteX47" fmla="*/ 414244 w 1087844"/>
              <a:gd name="connsiteY47" fmla="*/ 102374 h 662520"/>
              <a:gd name="connsiteX48" fmla="*/ 384457 w 1087844"/>
              <a:gd name="connsiteY48" fmla="*/ 115117 h 662520"/>
              <a:gd name="connsiteX49" fmla="*/ 361534 w 1087844"/>
              <a:gd name="connsiteY49" fmla="*/ 133668 h 662520"/>
              <a:gd name="connsiteX50" fmla="*/ 344678 w 1087844"/>
              <a:gd name="connsiteY50" fmla="*/ 155828 h 662520"/>
              <a:gd name="connsiteX51" fmla="*/ 266776 w 1087844"/>
              <a:gd name="connsiteY51" fmla="*/ 155828 h 662520"/>
              <a:gd name="connsiteX52" fmla="*/ 266776 w 1087844"/>
              <a:gd name="connsiteY52" fmla="*/ 33807 h 662520"/>
              <a:gd name="connsiteX53" fmla="*/ 311007 w 1087844"/>
              <a:gd name="connsiteY53" fmla="*/ 19813 h 662520"/>
              <a:gd name="connsiteX54" fmla="*/ 358057 w 1087844"/>
              <a:gd name="connsiteY54" fmla="*/ 9159 h 662520"/>
              <a:gd name="connsiteX55" fmla="*/ 408279 w 1087844"/>
              <a:gd name="connsiteY55" fmla="*/ 2378 h 662520"/>
              <a:gd name="connsiteX56" fmla="*/ 462026 w 1087844"/>
              <a:gd name="connsiteY56" fmla="*/ 0 h 662520"/>
              <a:gd name="connsiteX57" fmla="*/ 517396 w 1087844"/>
              <a:gd name="connsiteY57" fmla="*/ 3158 h 662520"/>
              <a:gd name="connsiteX58" fmla="*/ 565690 w 1087844"/>
              <a:gd name="connsiteY58" fmla="*/ 12853 h 662520"/>
              <a:gd name="connsiteX59" fmla="*/ 606381 w 1087844"/>
              <a:gd name="connsiteY59" fmla="*/ 29412 h 662520"/>
              <a:gd name="connsiteX60" fmla="*/ 638944 w 1087844"/>
              <a:gd name="connsiteY60" fmla="*/ 53163 h 662520"/>
              <a:gd name="connsiteX61" fmla="*/ 662854 w 1087844"/>
              <a:gd name="connsiteY61" fmla="*/ 84435 h 662520"/>
              <a:gd name="connsiteX62" fmla="*/ 677585 w 1087844"/>
              <a:gd name="connsiteY62" fmla="*/ 123555 h 662520"/>
              <a:gd name="connsiteX63" fmla="*/ 682612 w 1087844"/>
              <a:gd name="connsiteY63" fmla="*/ 170853 h 662520"/>
              <a:gd name="connsiteX64" fmla="*/ 676454 w 1087844"/>
              <a:gd name="connsiteY64" fmla="*/ 219568 h 662520"/>
              <a:gd name="connsiteX65" fmla="*/ 658582 w 1087844"/>
              <a:gd name="connsiteY65" fmla="*/ 258234 h 662520"/>
              <a:gd name="connsiteX66" fmla="*/ 629896 w 1087844"/>
              <a:gd name="connsiteY66" fmla="*/ 287843 h 662520"/>
              <a:gd name="connsiteX67" fmla="*/ 591297 w 1087844"/>
              <a:gd name="connsiteY67" fmla="*/ 309388 h 662520"/>
              <a:gd name="connsiteX68" fmla="*/ 543687 w 1087844"/>
              <a:gd name="connsiteY68" fmla="*/ 323862 h 662520"/>
              <a:gd name="connsiteX69" fmla="*/ 543687 w 1087844"/>
              <a:gd name="connsiteY69" fmla="*/ 327609 h 662520"/>
              <a:gd name="connsiteX70" fmla="*/ 597682 w 1087844"/>
              <a:gd name="connsiteY70" fmla="*/ 340566 h 662520"/>
              <a:gd name="connsiteX71" fmla="*/ 639284 w 1087844"/>
              <a:gd name="connsiteY71" fmla="*/ 362534 h 662520"/>
              <a:gd name="connsiteX72" fmla="*/ 668720 w 1087844"/>
              <a:gd name="connsiteY72" fmla="*/ 393513 h 662520"/>
              <a:gd name="connsiteX73" fmla="*/ 686216 w 1087844"/>
              <a:gd name="connsiteY73" fmla="*/ 433502 h 662520"/>
              <a:gd name="connsiteX74" fmla="*/ 691997 w 1087844"/>
              <a:gd name="connsiteY74" fmla="*/ 482498 h 662520"/>
              <a:gd name="connsiteX75" fmla="*/ 686937 w 1087844"/>
              <a:gd name="connsiteY75" fmla="*/ 527743 h 662520"/>
              <a:gd name="connsiteX76" fmla="*/ 671660 w 1087844"/>
              <a:gd name="connsiteY76" fmla="*/ 567021 h 662520"/>
              <a:gd name="connsiteX77" fmla="*/ 647123 w 1087844"/>
              <a:gd name="connsiteY77" fmla="*/ 600232 h 662520"/>
              <a:gd name="connsiteX78" fmla="*/ 614286 w 1087844"/>
              <a:gd name="connsiteY78" fmla="*/ 627278 h 662520"/>
              <a:gd name="connsiteX79" fmla="*/ 574107 w 1087844"/>
              <a:gd name="connsiteY79" fmla="*/ 648061 h 662520"/>
              <a:gd name="connsiteX80" fmla="*/ 527545 w 1087844"/>
              <a:gd name="connsiteY80" fmla="*/ 662482 h 662520"/>
              <a:gd name="connsiteX81" fmla="*/ 1087844 w 1087844"/>
              <a:gd name="connsiteY81" fmla="*/ 662495 h 662520"/>
              <a:gd name="connsiteX0" fmla="*/ 58493 w 1087844"/>
              <a:gd name="connsiteY0" fmla="*/ 11678 h 662520"/>
              <a:gd name="connsiteX1" fmla="*/ 96071 w 1087844"/>
              <a:gd name="connsiteY1" fmla="*/ 26614 h 662520"/>
              <a:gd name="connsiteX2" fmla="*/ 129954 w 1087844"/>
              <a:gd name="connsiteY2" fmla="*/ 47914 h 662520"/>
              <a:gd name="connsiteX3" fmla="*/ 159737 w 1087844"/>
              <a:gd name="connsiteY3" fmla="*/ 75804 h 662520"/>
              <a:gd name="connsiteX4" fmla="*/ 185014 w 1087844"/>
              <a:gd name="connsiteY4" fmla="*/ 110509 h 662520"/>
              <a:gd name="connsiteX5" fmla="*/ 205380 w 1087844"/>
              <a:gd name="connsiteY5" fmla="*/ 152255 h 662520"/>
              <a:gd name="connsiteX6" fmla="*/ 230407 w 1087844"/>
              <a:gd name="connsiteY6" fmla="*/ 376707 h 662520"/>
              <a:gd name="connsiteX7" fmla="*/ 222859 w 1087844"/>
              <a:gd name="connsiteY7" fmla="*/ 427041 h 662520"/>
              <a:gd name="connsiteX8" fmla="*/ 210457 w 1087844"/>
              <a:gd name="connsiteY8" fmla="*/ 472909 h 662520"/>
              <a:gd name="connsiteX9" fmla="*/ 193347 w 1087844"/>
              <a:gd name="connsiteY9" fmla="*/ 514232 h 662520"/>
              <a:gd name="connsiteX10" fmla="*/ 171675 w 1087844"/>
              <a:gd name="connsiteY10" fmla="*/ 550937 h 662520"/>
              <a:gd name="connsiteX11" fmla="*/ 145588 w 1087844"/>
              <a:gd name="connsiteY11" fmla="*/ 582945 h 662520"/>
              <a:gd name="connsiteX12" fmla="*/ 115230 w 1087844"/>
              <a:gd name="connsiteY12" fmla="*/ 610181 h 662520"/>
              <a:gd name="connsiteX13" fmla="*/ 80749 w 1087844"/>
              <a:gd name="connsiteY13" fmla="*/ 632569 h 662520"/>
              <a:gd name="connsiteX14" fmla="*/ 42290 w 1087844"/>
              <a:gd name="connsiteY14" fmla="*/ 650033 h 662520"/>
              <a:gd name="connsiteX15" fmla="*/ 0 w 1087844"/>
              <a:gd name="connsiteY15" fmla="*/ 662495 h 662520"/>
              <a:gd name="connsiteX16" fmla="*/ 319163 w 1087844"/>
              <a:gd name="connsiteY16" fmla="*/ 662520 h 662520"/>
              <a:gd name="connsiteX17" fmla="*/ 298168 w 1087844"/>
              <a:gd name="connsiteY17" fmla="*/ 658030 h 662520"/>
              <a:gd name="connsiteX18" fmla="*/ 278374 w 1087844"/>
              <a:gd name="connsiteY18" fmla="*/ 652783 h 662520"/>
              <a:gd name="connsiteX19" fmla="*/ 259538 w 1087844"/>
              <a:gd name="connsiteY19" fmla="*/ 646826 h 662520"/>
              <a:gd name="connsiteX20" fmla="*/ 241414 w 1087844"/>
              <a:gd name="connsiteY20" fmla="*/ 640206 h 662520"/>
              <a:gd name="connsiteX21" fmla="*/ 241414 w 1087844"/>
              <a:gd name="connsiteY21" fmla="*/ 516293 h 662520"/>
              <a:gd name="connsiteX22" fmla="*/ 323088 w 1087844"/>
              <a:gd name="connsiteY22" fmla="*/ 516293 h 662520"/>
              <a:gd name="connsiteX23" fmla="*/ 339204 w 1087844"/>
              <a:gd name="connsiteY23" fmla="*/ 539439 h 662520"/>
              <a:gd name="connsiteX24" fmla="*/ 362628 w 1087844"/>
              <a:gd name="connsiteY24" fmla="*/ 559242 h 662520"/>
              <a:gd name="connsiteX25" fmla="*/ 393973 w 1087844"/>
              <a:gd name="connsiteY25" fmla="*/ 573062 h 662520"/>
              <a:gd name="connsiteX26" fmla="*/ 433857 w 1087844"/>
              <a:gd name="connsiteY26" fmla="*/ 578256 h 662520"/>
              <a:gd name="connsiteX27" fmla="*/ 476360 w 1087844"/>
              <a:gd name="connsiteY27" fmla="*/ 571758 h 662520"/>
              <a:gd name="connsiteX28" fmla="*/ 511299 w 1087844"/>
              <a:gd name="connsiteY28" fmla="*/ 552322 h 662520"/>
              <a:gd name="connsiteX29" fmla="*/ 534973 w 1087844"/>
              <a:gd name="connsiteY29" fmla="*/ 520038 h 662520"/>
              <a:gd name="connsiteX30" fmla="*/ 543687 w 1087844"/>
              <a:gd name="connsiteY30" fmla="*/ 474992 h 662520"/>
              <a:gd name="connsiteX31" fmla="*/ 536425 w 1087844"/>
              <a:gd name="connsiteY31" fmla="*/ 430240 h 662520"/>
              <a:gd name="connsiteX32" fmla="*/ 514467 w 1087844"/>
              <a:gd name="connsiteY32" fmla="*/ 398602 h 662520"/>
              <a:gd name="connsiteX33" fmla="*/ 477550 w 1087844"/>
              <a:gd name="connsiteY33" fmla="*/ 379812 h 662520"/>
              <a:gd name="connsiteX34" fmla="*/ 425412 w 1087844"/>
              <a:gd name="connsiteY34" fmla="*/ 373608 h 662520"/>
              <a:gd name="connsiteX35" fmla="*/ 376593 w 1087844"/>
              <a:gd name="connsiteY35" fmla="*/ 373608 h 662520"/>
              <a:gd name="connsiteX36" fmla="*/ 376593 w 1087844"/>
              <a:gd name="connsiteY36" fmla="*/ 286308 h 662520"/>
              <a:gd name="connsiteX37" fmla="*/ 417893 w 1087844"/>
              <a:gd name="connsiteY37" fmla="*/ 286308 h 662520"/>
              <a:gd name="connsiteX38" fmla="*/ 471564 w 1087844"/>
              <a:gd name="connsiteY38" fmla="*/ 280133 h 662520"/>
              <a:gd name="connsiteX39" fmla="*/ 510008 w 1087844"/>
              <a:gd name="connsiteY39" fmla="*/ 261550 h 662520"/>
              <a:gd name="connsiteX40" fmla="*/ 533138 w 1087844"/>
              <a:gd name="connsiteY40" fmla="*/ 230469 h 662520"/>
              <a:gd name="connsiteX41" fmla="*/ 540867 w 1087844"/>
              <a:gd name="connsiteY41" fmla="*/ 186804 h 662520"/>
              <a:gd name="connsiteX42" fmla="*/ 535514 w 1087844"/>
              <a:gd name="connsiteY42" fmla="*/ 149115 h 662520"/>
              <a:gd name="connsiteX43" fmla="*/ 519161 w 1087844"/>
              <a:gd name="connsiteY43" fmla="*/ 121104 h 662520"/>
              <a:gd name="connsiteX44" fmla="*/ 491366 w 1087844"/>
              <a:gd name="connsiteY44" fmla="*/ 103651 h 662520"/>
              <a:gd name="connsiteX45" fmla="*/ 451688 w 1087844"/>
              <a:gd name="connsiteY45" fmla="*/ 97637 h 662520"/>
              <a:gd name="connsiteX46" fmla="*/ 414244 w 1087844"/>
              <a:gd name="connsiteY46" fmla="*/ 102374 h 662520"/>
              <a:gd name="connsiteX47" fmla="*/ 384457 w 1087844"/>
              <a:gd name="connsiteY47" fmla="*/ 115117 h 662520"/>
              <a:gd name="connsiteX48" fmla="*/ 361534 w 1087844"/>
              <a:gd name="connsiteY48" fmla="*/ 133668 h 662520"/>
              <a:gd name="connsiteX49" fmla="*/ 344678 w 1087844"/>
              <a:gd name="connsiteY49" fmla="*/ 155828 h 662520"/>
              <a:gd name="connsiteX50" fmla="*/ 266776 w 1087844"/>
              <a:gd name="connsiteY50" fmla="*/ 155828 h 662520"/>
              <a:gd name="connsiteX51" fmla="*/ 266776 w 1087844"/>
              <a:gd name="connsiteY51" fmla="*/ 33807 h 662520"/>
              <a:gd name="connsiteX52" fmla="*/ 311007 w 1087844"/>
              <a:gd name="connsiteY52" fmla="*/ 19813 h 662520"/>
              <a:gd name="connsiteX53" fmla="*/ 358057 w 1087844"/>
              <a:gd name="connsiteY53" fmla="*/ 9159 h 662520"/>
              <a:gd name="connsiteX54" fmla="*/ 408279 w 1087844"/>
              <a:gd name="connsiteY54" fmla="*/ 2378 h 662520"/>
              <a:gd name="connsiteX55" fmla="*/ 462026 w 1087844"/>
              <a:gd name="connsiteY55" fmla="*/ 0 h 662520"/>
              <a:gd name="connsiteX56" fmla="*/ 517396 w 1087844"/>
              <a:gd name="connsiteY56" fmla="*/ 3158 h 662520"/>
              <a:gd name="connsiteX57" fmla="*/ 565690 w 1087844"/>
              <a:gd name="connsiteY57" fmla="*/ 12853 h 662520"/>
              <a:gd name="connsiteX58" fmla="*/ 606381 w 1087844"/>
              <a:gd name="connsiteY58" fmla="*/ 29412 h 662520"/>
              <a:gd name="connsiteX59" fmla="*/ 638944 w 1087844"/>
              <a:gd name="connsiteY59" fmla="*/ 53163 h 662520"/>
              <a:gd name="connsiteX60" fmla="*/ 662854 w 1087844"/>
              <a:gd name="connsiteY60" fmla="*/ 84435 h 662520"/>
              <a:gd name="connsiteX61" fmla="*/ 677585 w 1087844"/>
              <a:gd name="connsiteY61" fmla="*/ 123555 h 662520"/>
              <a:gd name="connsiteX62" fmla="*/ 682612 w 1087844"/>
              <a:gd name="connsiteY62" fmla="*/ 170853 h 662520"/>
              <a:gd name="connsiteX63" fmla="*/ 676454 w 1087844"/>
              <a:gd name="connsiteY63" fmla="*/ 219568 h 662520"/>
              <a:gd name="connsiteX64" fmla="*/ 658582 w 1087844"/>
              <a:gd name="connsiteY64" fmla="*/ 258234 h 662520"/>
              <a:gd name="connsiteX65" fmla="*/ 629896 w 1087844"/>
              <a:gd name="connsiteY65" fmla="*/ 287843 h 662520"/>
              <a:gd name="connsiteX66" fmla="*/ 591297 w 1087844"/>
              <a:gd name="connsiteY66" fmla="*/ 309388 h 662520"/>
              <a:gd name="connsiteX67" fmla="*/ 543687 w 1087844"/>
              <a:gd name="connsiteY67" fmla="*/ 323862 h 662520"/>
              <a:gd name="connsiteX68" fmla="*/ 543687 w 1087844"/>
              <a:gd name="connsiteY68" fmla="*/ 327609 h 662520"/>
              <a:gd name="connsiteX69" fmla="*/ 597682 w 1087844"/>
              <a:gd name="connsiteY69" fmla="*/ 340566 h 662520"/>
              <a:gd name="connsiteX70" fmla="*/ 639284 w 1087844"/>
              <a:gd name="connsiteY70" fmla="*/ 362534 h 662520"/>
              <a:gd name="connsiteX71" fmla="*/ 668720 w 1087844"/>
              <a:gd name="connsiteY71" fmla="*/ 393513 h 662520"/>
              <a:gd name="connsiteX72" fmla="*/ 686216 w 1087844"/>
              <a:gd name="connsiteY72" fmla="*/ 433502 h 662520"/>
              <a:gd name="connsiteX73" fmla="*/ 691997 w 1087844"/>
              <a:gd name="connsiteY73" fmla="*/ 482498 h 662520"/>
              <a:gd name="connsiteX74" fmla="*/ 686937 w 1087844"/>
              <a:gd name="connsiteY74" fmla="*/ 527743 h 662520"/>
              <a:gd name="connsiteX75" fmla="*/ 671660 w 1087844"/>
              <a:gd name="connsiteY75" fmla="*/ 567021 h 662520"/>
              <a:gd name="connsiteX76" fmla="*/ 647123 w 1087844"/>
              <a:gd name="connsiteY76" fmla="*/ 600232 h 662520"/>
              <a:gd name="connsiteX77" fmla="*/ 614286 w 1087844"/>
              <a:gd name="connsiteY77" fmla="*/ 627278 h 662520"/>
              <a:gd name="connsiteX78" fmla="*/ 574107 w 1087844"/>
              <a:gd name="connsiteY78" fmla="*/ 648061 h 662520"/>
              <a:gd name="connsiteX79" fmla="*/ 527545 w 1087844"/>
              <a:gd name="connsiteY79" fmla="*/ 662482 h 662520"/>
              <a:gd name="connsiteX80" fmla="*/ 1087844 w 1087844"/>
              <a:gd name="connsiteY80" fmla="*/ 662495 h 662520"/>
              <a:gd name="connsiteX0" fmla="*/ 58493 w 1087844"/>
              <a:gd name="connsiteY0" fmla="*/ 11678 h 662520"/>
              <a:gd name="connsiteX1" fmla="*/ 96071 w 1087844"/>
              <a:gd name="connsiteY1" fmla="*/ 26614 h 662520"/>
              <a:gd name="connsiteX2" fmla="*/ 129954 w 1087844"/>
              <a:gd name="connsiteY2" fmla="*/ 47914 h 662520"/>
              <a:gd name="connsiteX3" fmla="*/ 159737 w 1087844"/>
              <a:gd name="connsiteY3" fmla="*/ 75804 h 662520"/>
              <a:gd name="connsiteX4" fmla="*/ 185014 w 1087844"/>
              <a:gd name="connsiteY4" fmla="*/ 110509 h 662520"/>
              <a:gd name="connsiteX5" fmla="*/ 230407 w 1087844"/>
              <a:gd name="connsiteY5" fmla="*/ 376707 h 662520"/>
              <a:gd name="connsiteX6" fmla="*/ 222859 w 1087844"/>
              <a:gd name="connsiteY6" fmla="*/ 427041 h 662520"/>
              <a:gd name="connsiteX7" fmla="*/ 210457 w 1087844"/>
              <a:gd name="connsiteY7" fmla="*/ 472909 h 662520"/>
              <a:gd name="connsiteX8" fmla="*/ 193347 w 1087844"/>
              <a:gd name="connsiteY8" fmla="*/ 514232 h 662520"/>
              <a:gd name="connsiteX9" fmla="*/ 171675 w 1087844"/>
              <a:gd name="connsiteY9" fmla="*/ 550937 h 662520"/>
              <a:gd name="connsiteX10" fmla="*/ 145588 w 1087844"/>
              <a:gd name="connsiteY10" fmla="*/ 582945 h 662520"/>
              <a:gd name="connsiteX11" fmla="*/ 115230 w 1087844"/>
              <a:gd name="connsiteY11" fmla="*/ 610181 h 662520"/>
              <a:gd name="connsiteX12" fmla="*/ 80749 w 1087844"/>
              <a:gd name="connsiteY12" fmla="*/ 632569 h 662520"/>
              <a:gd name="connsiteX13" fmla="*/ 42290 w 1087844"/>
              <a:gd name="connsiteY13" fmla="*/ 650033 h 662520"/>
              <a:gd name="connsiteX14" fmla="*/ 0 w 1087844"/>
              <a:gd name="connsiteY14" fmla="*/ 662495 h 662520"/>
              <a:gd name="connsiteX15" fmla="*/ 319163 w 1087844"/>
              <a:gd name="connsiteY15" fmla="*/ 662520 h 662520"/>
              <a:gd name="connsiteX16" fmla="*/ 298168 w 1087844"/>
              <a:gd name="connsiteY16" fmla="*/ 658030 h 662520"/>
              <a:gd name="connsiteX17" fmla="*/ 278374 w 1087844"/>
              <a:gd name="connsiteY17" fmla="*/ 652783 h 662520"/>
              <a:gd name="connsiteX18" fmla="*/ 259538 w 1087844"/>
              <a:gd name="connsiteY18" fmla="*/ 646826 h 662520"/>
              <a:gd name="connsiteX19" fmla="*/ 241414 w 1087844"/>
              <a:gd name="connsiteY19" fmla="*/ 640206 h 662520"/>
              <a:gd name="connsiteX20" fmla="*/ 241414 w 1087844"/>
              <a:gd name="connsiteY20" fmla="*/ 516293 h 662520"/>
              <a:gd name="connsiteX21" fmla="*/ 323088 w 1087844"/>
              <a:gd name="connsiteY21" fmla="*/ 516293 h 662520"/>
              <a:gd name="connsiteX22" fmla="*/ 339204 w 1087844"/>
              <a:gd name="connsiteY22" fmla="*/ 539439 h 662520"/>
              <a:gd name="connsiteX23" fmla="*/ 362628 w 1087844"/>
              <a:gd name="connsiteY23" fmla="*/ 559242 h 662520"/>
              <a:gd name="connsiteX24" fmla="*/ 393973 w 1087844"/>
              <a:gd name="connsiteY24" fmla="*/ 573062 h 662520"/>
              <a:gd name="connsiteX25" fmla="*/ 433857 w 1087844"/>
              <a:gd name="connsiteY25" fmla="*/ 578256 h 662520"/>
              <a:gd name="connsiteX26" fmla="*/ 476360 w 1087844"/>
              <a:gd name="connsiteY26" fmla="*/ 571758 h 662520"/>
              <a:gd name="connsiteX27" fmla="*/ 511299 w 1087844"/>
              <a:gd name="connsiteY27" fmla="*/ 552322 h 662520"/>
              <a:gd name="connsiteX28" fmla="*/ 534973 w 1087844"/>
              <a:gd name="connsiteY28" fmla="*/ 520038 h 662520"/>
              <a:gd name="connsiteX29" fmla="*/ 543687 w 1087844"/>
              <a:gd name="connsiteY29" fmla="*/ 474992 h 662520"/>
              <a:gd name="connsiteX30" fmla="*/ 536425 w 1087844"/>
              <a:gd name="connsiteY30" fmla="*/ 430240 h 662520"/>
              <a:gd name="connsiteX31" fmla="*/ 514467 w 1087844"/>
              <a:gd name="connsiteY31" fmla="*/ 398602 h 662520"/>
              <a:gd name="connsiteX32" fmla="*/ 477550 w 1087844"/>
              <a:gd name="connsiteY32" fmla="*/ 379812 h 662520"/>
              <a:gd name="connsiteX33" fmla="*/ 425412 w 1087844"/>
              <a:gd name="connsiteY33" fmla="*/ 373608 h 662520"/>
              <a:gd name="connsiteX34" fmla="*/ 376593 w 1087844"/>
              <a:gd name="connsiteY34" fmla="*/ 373608 h 662520"/>
              <a:gd name="connsiteX35" fmla="*/ 376593 w 1087844"/>
              <a:gd name="connsiteY35" fmla="*/ 286308 h 662520"/>
              <a:gd name="connsiteX36" fmla="*/ 417893 w 1087844"/>
              <a:gd name="connsiteY36" fmla="*/ 286308 h 662520"/>
              <a:gd name="connsiteX37" fmla="*/ 471564 w 1087844"/>
              <a:gd name="connsiteY37" fmla="*/ 280133 h 662520"/>
              <a:gd name="connsiteX38" fmla="*/ 510008 w 1087844"/>
              <a:gd name="connsiteY38" fmla="*/ 261550 h 662520"/>
              <a:gd name="connsiteX39" fmla="*/ 533138 w 1087844"/>
              <a:gd name="connsiteY39" fmla="*/ 230469 h 662520"/>
              <a:gd name="connsiteX40" fmla="*/ 540867 w 1087844"/>
              <a:gd name="connsiteY40" fmla="*/ 186804 h 662520"/>
              <a:gd name="connsiteX41" fmla="*/ 535514 w 1087844"/>
              <a:gd name="connsiteY41" fmla="*/ 149115 h 662520"/>
              <a:gd name="connsiteX42" fmla="*/ 519161 w 1087844"/>
              <a:gd name="connsiteY42" fmla="*/ 121104 h 662520"/>
              <a:gd name="connsiteX43" fmla="*/ 491366 w 1087844"/>
              <a:gd name="connsiteY43" fmla="*/ 103651 h 662520"/>
              <a:gd name="connsiteX44" fmla="*/ 451688 w 1087844"/>
              <a:gd name="connsiteY44" fmla="*/ 97637 h 662520"/>
              <a:gd name="connsiteX45" fmla="*/ 414244 w 1087844"/>
              <a:gd name="connsiteY45" fmla="*/ 102374 h 662520"/>
              <a:gd name="connsiteX46" fmla="*/ 384457 w 1087844"/>
              <a:gd name="connsiteY46" fmla="*/ 115117 h 662520"/>
              <a:gd name="connsiteX47" fmla="*/ 361534 w 1087844"/>
              <a:gd name="connsiteY47" fmla="*/ 133668 h 662520"/>
              <a:gd name="connsiteX48" fmla="*/ 344678 w 1087844"/>
              <a:gd name="connsiteY48" fmla="*/ 155828 h 662520"/>
              <a:gd name="connsiteX49" fmla="*/ 266776 w 1087844"/>
              <a:gd name="connsiteY49" fmla="*/ 155828 h 662520"/>
              <a:gd name="connsiteX50" fmla="*/ 266776 w 1087844"/>
              <a:gd name="connsiteY50" fmla="*/ 33807 h 662520"/>
              <a:gd name="connsiteX51" fmla="*/ 311007 w 1087844"/>
              <a:gd name="connsiteY51" fmla="*/ 19813 h 662520"/>
              <a:gd name="connsiteX52" fmla="*/ 358057 w 1087844"/>
              <a:gd name="connsiteY52" fmla="*/ 9159 h 662520"/>
              <a:gd name="connsiteX53" fmla="*/ 408279 w 1087844"/>
              <a:gd name="connsiteY53" fmla="*/ 2378 h 662520"/>
              <a:gd name="connsiteX54" fmla="*/ 462026 w 1087844"/>
              <a:gd name="connsiteY54" fmla="*/ 0 h 662520"/>
              <a:gd name="connsiteX55" fmla="*/ 517396 w 1087844"/>
              <a:gd name="connsiteY55" fmla="*/ 3158 h 662520"/>
              <a:gd name="connsiteX56" fmla="*/ 565690 w 1087844"/>
              <a:gd name="connsiteY56" fmla="*/ 12853 h 662520"/>
              <a:gd name="connsiteX57" fmla="*/ 606381 w 1087844"/>
              <a:gd name="connsiteY57" fmla="*/ 29412 h 662520"/>
              <a:gd name="connsiteX58" fmla="*/ 638944 w 1087844"/>
              <a:gd name="connsiteY58" fmla="*/ 53163 h 662520"/>
              <a:gd name="connsiteX59" fmla="*/ 662854 w 1087844"/>
              <a:gd name="connsiteY59" fmla="*/ 84435 h 662520"/>
              <a:gd name="connsiteX60" fmla="*/ 677585 w 1087844"/>
              <a:gd name="connsiteY60" fmla="*/ 123555 h 662520"/>
              <a:gd name="connsiteX61" fmla="*/ 682612 w 1087844"/>
              <a:gd name="connsiteY61" fmla="*/ 170853 h 662520"/>
              <a:gd name="connsiteX62" fmla="*/ 676454 w 1087844"/>
              <a:gd name="connsiteY62" fmla="*/ 219568 h 662520"/>
              <a:gd name="connsiteX63" fmla="*/ 658582 w 1087844"/>
              <a:gd name="connsiteY63" fmla="*/ 258234 h 662520"/>
              <a:gd name="connsiteX64" fmla="*/ 629896 w 1087844"/>
              <a:gd name="connsiteY64" fmla="*/ 287843 h 662520"/>
              <a:gd name="connsiteX65" fmla="*/ 591297 w 1087844"/>
              <a:gd name="connsiteY65" fmla="*/ 309388 h 662520"/>
              <a:gd name="connsiteX66" fmla="*/ 543687 w 1087844"/>
              <a:gd name="connsiteY66" fmla="*/ 323862 h 662520"/>
              <a:gd name="connsiteX67" fmla="*/ 543687 w 1087844"/>
              <a:gd name="connsiteY67" fmla="*/ 327609 h 662520"/>
              <a:gd name="connsiteX68" fmla="*/ 597682 w 1087844"/>
              <a:gd name="connsiteY68" fmla="*/ 340566 h 662520"/>
              <a:gd name="connsiteX69" fmla="*/ 639284 w 1087844"/>
              <a:gd name="connsiteY69" fmla="*/ 362534 h 662520"/>
              <a:gd name="connsiteX70" fmla="*/ 668720 w 1087844"/>
              <a:gd name="connsiteY70" fmla="*/ 393513 h 662520"/>
              <a:gd name="connsiteX71" fmla="*/ 686216 w 1087844"/>
              <a:gd name="connsiteY71" fmla="*/ 433502 h 662520"/>
              <a:gd name="connsiteX72" fmla="*/ 691997 w 1087844"/>
              <a:gd name="connsiteY72" fmla="*/ 482498 h 662520"/>
              <a:gd name="connsiteX73" fmla="*/ 686937 w 1087844"/>
              <a:gd name="connsiteY73" fmla="*/ 527743 h 662520"/>
              <a:gd name="connsiteX74" fmla="*/ 671660 w 1087844"/>
              <a:gd name="connsiteY74" fmla="*/ 567021 h 662520"/>
              <a:gd name="connsiteX75" fmla="*/ 647123 w 1087844"/>
              <a:gd name="connsiteY75" fmla="*/ 600232 h 662520"/>
              <a:gd name="connsiteX76" fmla="*/ 614286 w 1087844"/>
              <a:gd name="connsiteY76" fmla="*/ 627278 h 662520"/>
              <a:gd name="connsiteX77" fmla="*/ 574107 w 1087844"/>
              <a:gd name="connsiteY77" fmla="*/ 648061 h 662520"/>
              <a:gd name="connsiteX78" fmla="*/ 527545 w 1087844"/>
              <a:gd name="connsiteY78" fmla="*/ 662482 h 662520"/>
              <a:gd name="connsiteX79" fmla="*/ 1087844 w 1087844"/>
              <a:gd name="connsiteY79" fmla="*/ 662495 h 662520"/>
              <a:gd name="connsiteX0" fmla="*/ 58493 w 1087844"/>
              <a:gd name="connsiteY0" fmla="*/ 11678 h 662520"/>
              <a:gd name="connsiteX1" fmla="*/ 96071 w 1087844"/>
              <a:gd name="connsiteY1" fmla="*/ 26614 h 662520"/>
              <a:gd name="connsiteX2" fmla="*/ 129954 w 1087844"/>
              <a:gd name="connsiteY2" fmla="*/ 47914 h 662520"/>
              <a:gd name="connsiteX3" fmla="*/ 159737 w 1087844"/>
              <a:gd name="connsiteY3" fmla="*/ 75804 h 662520"/>
              <a:gd name="connsiteX4" fmla="*/ 230407 w 1087844"/>
              <a:gd name="connsiteY4" fmla="*/ 376707 h 662520"/>
              <a:gd name="connsiteX5" fmla="*/ 222859 w 1087844"/>
              <a:gd name="connsiteY5" fmla="*/ 427041 h 662520"/>
              <a:gd name="connsiteX6" fmla="*/ 210457 w 1087844"/>
              <a:gd name="connsiteY6" fmla="*/ 472909 h 662520"/>
              <a:gd name="connsiteX7" fmla="*/ 193347 w 1087844"/>
              <a:gd name="connsiteY7" fmla="*/ 514232 h 662520"/>
              <a:gd name="connsiteX8" fmla="*/ 171675 w 1087844"/>
              <a:gd name="connsiteY8" fmla="*/ 550937 h 662520"/>
              <a:gd name="connsiteX9" fmla="*/ 145588 w 1087844"/>
              <a:gd name="connsiteY9" fmla="*/ 582945 h 662520"/>
              <a:gd name="connsiteX10" fmla="*/ 115230 w 1087844"/>
              <a:gd name="connsiteY10" fmla="*/ 610181 h 662520"/>
              <a:gd name="connsiteX11" fmla="*/ 80749 w 1087844"/>
              <a:gd name="connsiteY11" fmla="*/ 632569 h 662520"/>
              <a:gd name="connsiteX12" fmla="*/ 42290 w 1087844"/>
              <a:gd name="connsiteY12" fmla="*/ 650033 h 662520"/>
              <a:gd name="connsiteX13" fmla="*/ 0 w 1087844"/>
              <a:gd name="connsiteY13" fmla="*/ 662495 h 662520"/>
              <a:gd name="connsiteX14" fmla="*/ 319163 w 1087844"/>
              <a:gd name="connsiteY14" fmla="*/ 662520 h 662520"/>
              <a:gd name="connsiteX15" fmla="*/ 298168 w 1087844"/>
              <a:gd name="connsiteY15" fmla="*/ 658030 h 662520"/>
              <a:gd name="connsiteX16" fmla="*/ 278374 w 1087844"/>
              <a:gd name="connsiteY16" fmla="*/ 652783 h 662520"/>
              <a:gd name="connsiteX17" fmla="*/ 259538 w 1087844"/>
              <a:gd name="connsiteY17" fmla="*/ 646826 h 662520"/>
              <a:gd name="connsiteX18" fmla="*/ 241414 w 1087844"/>
              <a:gd name="connsiteY18" fmla="*/ 640206 h 662520"/>
              <a:gd name="connsiteX19" fmla="*/ 241414 w 1087844"/>
              <a:gd name="connsiteY19" fmla="*/ 516293 h 662520"/>
              <a:gd name="connsiteX20" fmla="*/ 323088 w 1087844"/>
              <a:gd name="connsiteY20" fmla="*/ 516293 h 662520"/>
              <a:gd name="connsiteX21" fmla="*/ 339204 w 1087844"/>
              <a:gd name="connsiteY21" fmla="*/ 539439 h 662520"/>
              <a:gd name="connsiteX22" fmla="*/ 362628 w 1087844"/>
              <a:gd name="connsiteY22" fmla="*/ 559242 h 662520"/>
              <a:gd name="connsiteX23" fmla="*/ 393973 w 1087844"/>
              <a:gd name="connsiteY23" fmla="*/ 573062 h 662520"/>
              <a:gd name="connsiteX24" fmla="*/ 433857 w 1087844"/>
              <a:gd name="connsiteY24" fmla="*/ 578256 h 662520"/>
              <a:gd name="connsiteX25" fmla="*/ 476360 w 1087844"/>
              <a:gd name="connsiteY25" fmla="*/ 571758 h 662520"/>
              <a:gd name="connsiteX26" fmla="*/ 511299 w 1087844"/>
              <a:gd name="connsiteY26" fmla="*/ 552322 h 662520"/>
              <a:gd name="connsiteX27" fmla="*/ 534973 w 1087844"/>
              <a:gd name="connsiteY27" fmla="*/ 520038 h 662520"/>
              <a:gd name="connsiteX28" fmla="*/ 543687 w 1087844"/>
              <a:gd name="connsiteY28" fmla="*/ 474992 h 662520"/>
              <a:gd name="connsiteX29" fmla="*/ 536425 w 1087844"/>
              <a:gd name="connsiteY29" fmla="*/ 430240 h 662520"/>
              <a:gd name="connsiteX30" fmla="*/ 514467 w 1087844"/>
              <a:gd name="connsiteY30" fmla="*/ 398602 h 662520"/>
              <a:gd name="connsiteX31" fmla="*/ 477550 w 1087844"/>
              <a:gd name="connsiteY31" fmla="*/ 379812 h 662520"/>
              <a:gd name="connsiteX32" fmla="*/ 425412 w 1087844"/>
              <a:gd name="connsiteY32" fmla="*/ 373608 h 662520"/>
              <a:gd name="connsiteX33" fmla="*/ 376593 w 1087844"/>
              <a:gd name="connsiteY33" fmla="*/ 373608 h 662520"/>
              <a:gd name="connsiteX34" fmla="*/ 376593 w 1087844"/>
              <a:gd name="connsiteY34" fmla="*/ 286308 h 662520"/>
              <a:gd name="connsiteX35" fmla="*/ 417893 w 1087844"/>
              <a:gd name="connsiteY35" fmla="*/ 286308 h 662520"/>
              <a:gd name="connsiteX36" fmla="*/ 471564 w 1087844"/>
              <a:gd name="connsiteY36" fmla="*/ 280133 h 662520"/>
              <a:gd name="connsiteX37" fmla="*/ 510008 w 1087844"/>
              <a:gd name="connsiteY37" fmla="*/ 261550 h 662520"/>
              <a:gd name="connsiteX38" fmla="*/ 533138 w 1087844"/>
              <a:gd name="connsiteY38" fmla="*/ 230469 h 662520"/>
              <a:gd name="connsiteX39" fmla="*/ 540867 w 1087844"/>
              <a:gd name="connsiteY39" fmla="*/ 186804 h 662520"/>
              <a:gd name="connsiteX40" fmla="*/ 535514 w 1087844"/>
              <a:gd name="connsiteY40" fmla="*/ 149115 h 662520"/>
              <a:gd name="connsiteX41" fmla="*/ 519161 w 1087844"/>
              <a:gd name="connsiteY41" fmla="*/ 121104 h 662520"/>
              <a:gd name="connsiteX42" fmla="*/ 491366 w 1087844"/>
              <a:gd name="connsiteY42" fmla="*/ 103651 h 662520"/>
              <a:gd name="connsiteX43" fmla="*/ 451688 w 1087844"/>
              <a:gd name="connsiteY43" fmla="*/ 97637 h 662520"/>
              <a:gd name="connsiteX44" fmla="*/ 414244 w 1087844"/>
              <a:gd name="connsiteY44" fmla="*/ 102374 h 662520"/>
              <a:gd name="connsiteX45" fmla="*/ 384457 w 1087844"/>
              <a:gd name="connsiteY45" fmla="*/ 115117 h 662520"/>
              <a:gd name="connsiteX46" fmla="*/ 361534 w 1087844"/>
              <a:gd name="connsiteY46" fmla="*/ 133668 h 662520"/>
              <a:gd name="connsiteX47" fmla="*/ 344678 w 1087844"/>
              <a:gd name="connsiteY47" fmla="*/ 155828 h 662520"/>
              <a:gd name="connsiteX48" fmla="*/ 266776 w 1087844"/>
              <a:gd name="connsiteY48" fmla="*/ 155828 h 662520"/>
              <a:gd name="connsiteX49" fmla="*/ 266776 w 1087844"/>
              <a:gd name="connsiteY49" fmla="*/ 33807 h 662520"/>
              <a:gd name="connsiteX50" fmla="*/ 311007 w 1087844"/>
              <a:gd name="connsiteY50" fmla="*/ 19813 h 662520"/>
              <a:gd name="connsiteX51" fmla="*/ 358057 w 1087844"/>
              <a:gd name="connsiteY51" fmla="*/ 9159 h 662520"/>
              <a:gd name="connsiteX52" fmla="*/ 408279 w 1087844"/>
              <a:gd name="connsiteY52" fmla="*/ 2378 h 662520"/>
              <a:gd name="connsiteX53" fmla="*/ 462026 w 1087844"/>
              <a:gd name="connsiteY53" fmla="*/ 0 h 662520"/>
              <a:gd name="connsiteX54" fmla="*/ 517396 w 1087844"/>
              <a:gd name="connsiteY54" fmla="*/ 3158 h 662520"/>
              <a:gd name="connsiteX55" fmla="*/ 565690 w 1087844"/>
              <a:gd name="connsiteY55" fmla="*/ 12853 h 662520"/>
              <a:gd name="connsiteX56" fmla="*/ 606381 w 1087844"/>
              <a:gd name="connsiteY56" fmla="*/ 29412 h 662520"/>
              <a:gd name="connsiteX57" fmla="*/ 638944 w 1087844"/>
              <a:gd name="connsiteY57" fmla="*/ 53163 h 662520"/>
              <a:gd name="connsiteX58" fmla="*/ 662854 w 1087844"/>
              <a:gd name="connsiteY58" fmla="*/ 84435 h 662520"/>
              <a:gd name="connsiteX59" fmla="*/ 677585 w 1087844"/>
              <a:gd name="connsiteY59" fmla="*/ 123555 h 662520"/>
              <a:gd name="connsiteX60" fmla="*/ 682612 w 1087844"/>
              <a:gd name="connsiteY60" fmla="*/ 170853 h 662520"/>
              <a:gd name="connsiteX61" fmla="*/ 676454 w 1087844"/>
              <a:gd name="connsiteY61" fmla="*/ 219568 h 662520"/>
              <a:gd name="connsiteX62" fmla="*/ 658582 w 1087844"/>
              <a:gd name="connsiteY62" fmla="*/ 258234 h 662520"/>
              <a:gd name="connsiteX63" fmla="*/ 629896 w 1087844"/>
              <a:gd name="connsiteY63" fmla="*/ 287843 h 662520"/>
              <a:gd name="connsiteX64" fmla="*/ 591297 w 1087844"/>
              <a:gd name="connsiteY64" fmla="*/ 309388 h 662520"/>
              <a:gd name="connsiteX65" fmla="*/ 543687 w 1087844"/>
              <a:gd name="connsiteY65" fmla="*/ 323862 h 662520"/>
              <a:gd name="connsiteX66" fmla="*/ 543687 w 1087844"/>
              <a:gd name="connsiteY66" fmla="*/ 327609 h 662520"/>
              <a:gd name="connsiteX67" fmla="*/ 597682 w 1087844"/>
              <a:gd name="connsiteY67" fmla="*/ 340566 h 662520"/>
              <a:gd name="connsiteX68" fmla="*/ 639284 w 1087844"/>
              <a:gd name="connsiteY68" fmla="*/ 362534 h 662520"/>
              <a:gd name="connsiteX69" fmla="*/ 668720 w 1087844"/>
              <a:gd name="connsiteY69" fmla="*/ 393513 h 662520"/>
              <a:gd name="connsiteX70" fmla="*/ 686216 w 1087844"/>
              <a:gd name="connsiteY70" fmla="*/ 433502 h 662520"/>
              <a:gd name="connsiteX71" fmla="*/ 691997 w 1087844"/>
              <a:gd name="connsiteY71" fmla="*/ 482498 h 662520"/>
              <a:gd name="connsiteX72" fmla="*/ 686937 w 1087844"/>
              <a:gd name="connsiteY72" fmla="*/ 527743 h 662520"/>
              <a:gd name="connsiteX73" fmla="*/ 671660 w 1087844"/>
              <a:gd name="connsiteY73" fmla="*/ 567021 h 662520"/>
              <a:gd name="connsiteX74" fmla="*/ 647123 w 1087844"/>
              <a:gd name="connsiteY74" fmla="*/ 600232 h 662520"/>
              <a:gd name="connsiteX75" fmla="*/ 614286 w 1087844"/>
              <a:gd name="connsiteY75" fmla="*/ 627278 h 662520"/>
              <a:gd name="connsiteX76" fmla="*/ 574107 w 1087844"/>
              <a:gd name="connsiteY76" fmla="*/ 648061 h 662520"/>
              <a:gd name="connsiteX77" fmla="*/ 527545 w 1087844"/>
              <a:gd name="connsiteY77" fmla="*/ 662482 h 662520"/>
              <a:gd name="connsiteX78" fmla="*/ 1087844 w 1087844"/>
              <a:gd name="connsiteY78" fmla="*/ 662495 h 662520"/>
              <a:gd name="connsiteX0" fmla="*/ 58493 w 1087844"/>
              <a:gd name="connsiteY0" fmla="*/ 11678 h 662520"/>
              <a:gd name="connsiteX1" fmla="*/ 96071 w 1087844"/>
              <a:gd name="connsiteY1" fmla="*/ 26614 h 662520"/>
              <a:gd name="connsiteX2" fmla="*/ 129954 w 1087844"/>
              <a:gd name="connsiteY2" fmla="*/ 47914 h 662520"/>
              <a:gd name="connsiteX3" fmla="*/ 230407 w 1087844"/>
              <a:gd name="connsiteY3" fmla="*/ 376707 h 662520"/>
              <a:gd name="connsiteX4" fmla="*/ 222859 w 1087844"/>
              <a:gd name="connsiteY4" fmla="*/ 427041 h 662520"/>
              <a:gd name="connsiteX5" fmla="*/ 210457 w 1087844"/>
              <a:gd name="connsiteY5" fmla="*/ 472909 h 662520"/>
              <a:gd name="connsiteX6" fmla="*/ 193347 w 1087844"/>
              <a:gd name="connsiteY6" fmla="*/ 514232 h 662520"/>
              <a:gd name="connsiteX7" fmla="*/ 171675 w 1087844"/>
              <a:gd name="connsiteY7" fmla="*/ 550937 h 662520"/>
              <a:gd name="connsiteX8" fmla="*/ 145588 w 1087844"/>
              <a:gd name="connsiteY8" fmla="*/ 582945 h 662520"/>
              <a:gd name="connsiteX9" fmla="*/ 115230 w 1087844"/>
              <a:gd name="connsiteY9" fmla="*/ 610181 h 662520"/>
              <a:gd name="connsiteX10" fmla="*/ 80749 w 1087844"/>
              <a:gd name="connsiteY10" fmla="*/ 632569 h 662520"/>
              <a:gd name="connsiteX11" fmla="*/ 42290 w 1087844"/>
              <a:gd name="connsiteY11" fmla="*/ 650033 h 662520"/>
              <a:gd name="connsiteX12" fmla="*/ 0 w 1087844"/>
              <a:gd name="connsiteY12" fmla="*/ 662495 h 662520"/>
              <a:gd name="connsiteX13" fmla="*/ 319163 w 1087844"/>
              <a:gd name="connsiteY13" fmla="*/ 662520 h 662520"/>
              <a:gd name="connsiteX14" fmla="*/ 298168 w 1087844"/>
              <a:gd name="connsiteY14" fmla="*/ 658030 h 662520"/>
              <a:gd name="connsiteX15" fmla="*/ 278374 w 1087844"/>
              <a:gd name="connsiteY15" fmla="*/ 652783 h 662520"/>
              <a:gd name="connsiteX16" fmla="*/ 259538 w 1087844"/>
              <a:gd name="connsiteY16" fmla="*/ 646826 h 662520"/>
              <a:gd name="connsiteX17" fmla="*/ 241414 w 1087844"/>
              <a:gd name="connsiteY17" fmla="*/ 640206 h 662520"/>
              <a:gd name="connsiteX18" fmla="*/ 241414 w 1087844"/>
              <a:gd name="connsiteY18" fmla="*/ 516293 h 662520"/>
              <a:gd name="connsiteX19" fmla="*/ 323088 w 1087844"/>
              <a:gd name="connsiteY19" fmla="*/ 516293 h 662520"/>
              <a:gd name="connsiteX20" fmla="*/ 339204 w 1087844"/>
              <a:gd name="connsiteY20" fmla="*/ 539439 h 662520"/>
              <a:gd name="connsiteX21" fmla="*/ 362628 w 1087844"/>
              <a:gd name="connsiteY21" fmla="*/ 559242 h 662520"/>
              <a:gd name="connsiteX22" fmla="*/ 393973 w 1087844"/>
              <a:gd name="connsiteY22" fmla="*/ 573062 h 662520"/>
              <a:gd name="connsiteX23" fmla="*/ 433857 w 1087844"/>
              <a:gd name="connsiteY23" fmla="*/ 578256 h 662520"/>
              <a:gd name="connsiteX24" fmla="*/ 476360 w 1087844"/>
              <a:gd name="connsiteY24" fmla="*/ 571758 h 662520"/>
              <a:gd name="connsiteX25" fmla="*/ 511299 w 1087844"/>
              <a:gd name="connsiteY25" fmla="*/ 552322 h 662520"/>
              <a:gd name="connsiteX26" fmla="*/ 534973 w 1087844"/>
              <a:gd name="connsiteY26" fmla="*/ 520038 h 662520"/>
              <a:gd name="connsiteX27" fmla="*/ 543687 w 1087844"/>
              <a:gd name="connsiteY27" fmla="*/ 474992 h 662520"/>
              <a:gd name="connsiteX28" fmla="*/ 536425 w 1087844"/>
              <a:gd name="connsiteY28" fmla="*/ 430240 h 662520"/>
              <a:gd name="connsiteX29" fmla="*/ 514467 w 1087844"/>
              <a:gd name="connsiteY29" fmla="*/ 398602 h 662520"/>
              <a:gd name="connsiteX30" fmla="*/ 477550 w 1087844"/>
              <a:gd name="connsiteY30" fmla="*/ 379812 h 662520"/>
              <a:gd name="connsiteX31" fmla="*/ 425412 w 1087844"/>
              <a:gd name="connsiteY31" fmla="*/ 373608 h 662520"/>
              <a:gd name="connsiteX32" fmla="*/ 376593 w 1087844"/>
              <a:gd name="connsiteY32" fmla="*/ 373608 h 662520"/>
              <a:gd name="connsiteX33" fmla="*/ 376593 w 1087844"/>
              <a:gd name="connsiteY33" fmla="*/ 286308 h 662520"/>
              <a:gd name="connsiteX34" fmla="*/ 417893 w 1087844"/>
              <a:gd name="connsiteY34" fmla="*/ 286308 h 662520"/>
              <a:gd name="connsiteX35" fmla="*/ 471564 w 1087844"/>
              <a:gd name="connsiteY35" fmla="*/ 280133 h 662520"/>
              <a:gd name="connsiteX36" fmla="*/ 510008 w 1087844"/>
              <a:gd name="connsiteY36" fmla="*/ 261550 h 662520"/>
              <a:gd name="connsiteX37" fmla="*/ 533138 w 1087844"/>
              <a:gd name="connsiteY37" fmla="*/ 230469 h 662520"/>
              <a:gd name="connsiteX38" fmla="*/ 540867 w 1087844"/>
              <a:gd name="connsiteY38" fmla="*/ 186804 h 662520"/>
              <a:gd name="connsiteX39" fmla="*/ 535514 w 1087844"/>
              <a:gd name="connsiteY39" fmla="*/ 149115 h 662520"/>
              <a:gd name="connsiteX40" fmla="*/ 519161 w 1087844"/>
              <a:gd name="connsiteY40" fmla="*/ 121104 h 662520"/>
              <a:gd name="connsiteX41" fmla="*/ 491366 w 1087844"/>
              <a:gd name="connsiteY41" fmla="*/ 103651 h 662520"/>
              <a:gd name="connsiteX42" fmla="*/ 451688 w 1087844"/>
              <a:gd name="connsiteY42" fmla="*/ 97637 h 662520"/>
              <a:gd name="connsiteX43" fmla="*/ 414244 w 1087844"/>
              <a:gd name="connsiteY43" fmla="*/ 102374 h 662520"/>
              <a:gd name="connsiteX44" fmla="*/ 384457 w 1087844"/>
              <a:gd name="connsiteY44" fmla="*/ 115117 h 662520"/>
              <a:gd name="connsiteX45" fmla="*/ 361534 w 1087844"/>
              <a:gd name="connsiteY45" fmla="*/ 133668 h 662520"/>
              <a:gd name="connsiteX46" fmla="*/ 344678 w 1087844"/>
              <a:gd name="connsiteY46" fmla="*/ 155828 h 662520"/>
              <a:gd name="connsiteX47" fmla="*/ 266776 w 1087844"/>
              <a:gd name="connsiteY47" fmla="*/ 155828 h 662520"/>
              <a:gd name="connsiteX48" fmla="*/ 266776 w 1087844"/>
              <a:gd name="connsiteY48" fmla="*/ 33807 h 662520"/>
              <a:gd name="connsiteX49" fmla="*/ 311007 w 1087844"/>
              <a:gd name="connsiteY49" fmla="*/ 19813 h 662520"/>
              <a:gd name="connsiteX50" fmla="*/ 358057 w 1087844"/>
              <a:gd name="connsiteY50" fmla="*/ 9159 h 662520"/>
              <a:gd name="connsiteX51" fmla="*/ 408279 w 1087844"/>
              <a:gd name="connsiteY51" fmla="*/ 2378 h 662520"/>
              <a:gd name="connsiteX52" fmla="*/ 462026 w 1087844"/>
              <a:gd name="connsiteY52" fmla="*/ 0 h 662520"/>
              <a:gd name="connsiteX53" fmla="*/ 517396 w 1087844"/>
              <a:gd name="connsiteY53" fmla="*/ 3158 h 662520"/>
              <a:gd name="connsiteX54" fmla="*/ 565690 w 1087844"/>
              <a:gd name="connsiteY54" fmla="*/ 12853 h 662520"/>
              <a:gd name="connsiteX55" fmla="*/ 606381 w 1087844"/>
              <a:gd name="connsiteY55" fmla="*/ 29412 h 662520"/>
              <a:gd name="connsiteX56" fmla="*/ 638944 w 1087844"/>
              <a:gd name="connsiteY56" fmla="*/ 53163 h 662520"/>
              <a:gd name="connsiteX57" fmla="*/ 662854 w 1087844"/>
              <a:gd name="connsiteY57" fmla="*/ 84435 h 662520"/>
              <a:gd name="connsiteX58" fmla="*/ 677585 w 1087844"/>
              <a:gd name="connsiteY58" fmla="*/ 123555 h 662520"/>
              <a:gd name="connsiteX59" fmla="*/ 682612 w 1087844"/>
              <a:gd name="connsiteY59" fmla="*/ 170853 h 662520"/>
              <a:gd name="connsiteX60" fmla="*/ 676454 w 1087844"/>
              <a:gd name="connsiteY60" fmla="*/ 219568 h 662520"/>
              <a:gd name="connsiteX61" fmla="*/ 658582 w 1087844"/>
              <a:gd name="connsiteY61" fmla="*/ 258234 h 662520"/>
              <a:gd name="connsiteX62" fmla="*/ 629896 w 1087844"/>
              <a:gd name="connsiteY62" fmla="*/ 287843 h 662520"/>
              <a:gd name="connsiteX63" fmla="*/ 591297 w 1087844"/>
              <a:gd name="connsiteY63" fmla="*/ 309388 h 662520"/>
              <a:gd name="connsiteX64" fmla="*/ 543687 w 1087844"/>
              <a:gd name="connsiteY64" fmla="*/ 323862 h 662520"/>
              <a:gd name="connsiteX65" fmla="*/ 543687 w 1087844"/>
              <a:gd name="connsiteY65" fmla="*/ 327609 h 662520"/>
              <a:gd name="connsiteX66" fmla="*/ 597682 w 1087844"/>
              <a:gd name="connsiteY66" fmla="*/ 340566 h 662520"/>
              <a:gd name="connsiteX67" fmla="*/ 639284 w 1087844"/>
              <a:gd name="connsiteY67" fmla="*/ 362534 h 662520"/>
              <a:gd name="connsiteX68" fmla="*/ 668720 w 1087844"/>
              <a:gd name="connsiteY68" fmla="*/ 393513 h 662520"/>
              <a:gd name="connsiteX69" fmla="*/ 686216 w 1087844"/>
              <a:gd name="connsiteY69" fmla="*/ 433502 h 662520"/>
              <a:gd name="connsiteX70" fmla="*/ 691997 w 1087844"/>
              <a:gd name="connsiteY70" fmla="*/ 482498 h 662520"/>
              <a:gd name="connsiteX71" fmla="*/ 686937 w 1087844"/>
              <a:gd name="connsiteY71" fmla="*/ 527743 h 662520"/>
              <a:gd name="connsiteX72" fmla="*/ 671660 w 1087844"/>
              <a:gd name="connsiteY72" fmla="*/ 567021 h 662520"/>
              <a:gd name="connsiteX73" fmla="*/ 647123 w 1087844"/>
              <a:gd name="connsiteY73" fmla="*/ 600232 h 662520"/>
              <a:gd name="connsiteX74" fmla="*/ 614286 w 1087844"/>
              <a:gd name="connsiteY74" fmla="*/ 627278 h 662520"/>
              <a:gd name="connsiteX75" fmla="*/ 574107 w 1087844"/>
              <a:gd name="connsiteY75" fmla="*/ 648061 h 662520"/>
              <a:gd name="connsiteX76" fmla="*/ 527545 w 1087844"/>
              <a:gd name="connsiteY76" fmla="*/ 662482 h 662520"/>
              <a:gd name="connsiteX77" fmla="*/ 1087844 w 1087844"/>
              <a:gd name="connsiteY77" fmla="*/ 662495 h 662520"/>
              <a:gd name="connsiteX0" fmla="*/ 58493 w 1087844"/>
              <a:gd name="connsiteY0" fmla="*/ 11678 h 662520"/>
              <a:gd name="connsiteX1" fmla="*/ 96071 w 1087844"/>
              <a:gd name="connsiteY1" fmla="*/ 26614 h 662520"/>
              <a:gd name="connsiteX2" fmla="*/ 230407 w 1087844"/>
              <a:gd name="connsiteY2" fmla="*/ 376707 h 662520"/>
              <a:gd name="connsiteX3" fmla="*/ 222859 w 1087844"/>
              <a:gd name="connsiteY3" fmla="*/ 427041 h 662520"/>
              <a:gd name="connsiteX4" fmla="*/ 210457 w 1087844"/>
              <a:gd name="connsiteY4" fmla="*/ 472909 h 662520"/>
              <a:gd name="connsiteX5" fmla="*/ 193347 w 1087844"/>
              <a:gd name="connsiteY5" fmla="*/ 514232 h 662520"/>
              <a:gd name="connsiteX6" fmla="*/ 171675 w 1087844"/>
              <a:gd name="connsiteY6" fmla="*/ 550937 h 662520"/>
              <a:gd name="connsiteX7" fmla="*/ 145588 w 1087844"/>
              <a:gd name="connsiteY7" fmla="*/ 582945 h 662520"/>
              <a:gd name="connsiteX8" fmla="*/ 115230 w 1087844"/>
              <a:gd name="connsiteY8" fmla="*/ 610181 h 662520"/>
              <a:gd name="connsiteX9" fmla="*/ 80749 w 1087844"/>
              <a:gd name="connsiteY9" fmla="*/ 632569 h 662520"/>
              <a:gd name="connsiteX10" fmla="*/ 42290 w 1087844"/>
              <a:gd name="connsiteY10" fmla="*/ 650033 h 662520"/>
              <a:gd name="connsiteX11" fmla="*/ 0 w 1087844"/>
              <a:gd name="connsiteY11" fmla="*/ 662495 h 662520"/>
              <a:gd name="connsiteX12" fmla="*/ 319163 w 1087844"/>
              <a:gd name="connsiteY12" fmla="*/ 662520 h 662520"/>
              <a:gd name="connsiteX13" fmla="*/ 298168 w 1087844"/>
              <a:gd name="connsiteY13" fmla="*/ 658030 h 662520"/>
              <a:gd name="connsiteX14" fmla="*/ 278374 w 1087844"/>
              <a:gd name="connsiteY14" fmla="*/ 652783 h 662520"/>
              <a:gd name="connsiteX15" fmla="*/ 259538 w 1087844"/>
              <a:gd name="connsiteY15" fmla="*/ 646826 h 662520"/>
              <a:gd name="connsiteX16" fmla="*/ 241414 w 1087844"/>
              <a:gd name="connsiteY16" fmla="*/ 640206 h 662520"/>
              <a:gd name="connsiteX17" fmla="*/ 241414 w 1087844"/>
              <a:gd name="connsiteY17" fmla="*/ 516293 h 662520"/>
              <a:gd name="connsiteX18" fmla="*/ 323088 w 1087844"/>
              <a:gd name="connsiteY18" fmla="*/ 516293 h 662520"/>
              <a:gd name="connsiteX19" fmla="*/ 339204 w 1087844"/>
              <a:gd name="connsiteY19" fmla="*/ 539439 h 662520"/>
              <a:gd name="connsiteX20" fmla="*/ 362628 w 1087844"/>
              <a:gd name="connsiteY20" fmla="*/ 559242 h 662520"/>
              <a:gd name="connsiteX21" fmla="*/ 393973 w 1087844"/>
              <a:gd name="connsiteY21" fmla="*/ 573062 h 662520"/>
              <a:gd name="connsiteX22" fmla="*/ 433857 w 1087844"/>
              <a:gd name="connsiteY22" fmla="*/ 578256 h 662520"/>
              <a:gd name="connsiteX23" fmla="*/ 476360 w 1087844"/>
              <a:gd name="connsiteY23" fmla="*/ 571758 h 662520"/>
              <a:gd name="connsiteX24" fmla="*/ 511299 w 1087844"/>
              <a:gd name="connsiteY24" fmla="*/ 552322 h 662520"/>
              <a:gd name="connsiteX25" fmla="*/ 534973 w 1087844"/>
              <a:gd name="connsiteY25" fmla="*/ 520038 h 662520"/>
              <a:gd name="connsiteX26" fmla="*/ 543687 w 1087844"/>
              <a:gd name="connsiteY26" fmla="*/ 474992 h 662520"/>
              <a:gd name="connsiteX27" fmla="*/ 536425 w 1087844"/>
              <a:gd name="connsiteY27" fmla="*/ 430240 h 662520"/>
              <a:gd name="connsiteX28" fmla="*/ 514467 w 1087844"/>
              <a:gd name="connsiteY28" fmla="*/ 398602 h 662520"/>
              <a:gd name="connsiteX29" fmla="*/ 477550 w 1087844"/>
              <a:gd name="connsiteY29" fmla="*/ 379812 h 662520"/>
              <a:gd name="connsiteX30" fmla="*/ 425412 w 1087844"/>
              <a:gd name="connsiteY30" fmla="*/ 373608 h 662520"/>
              <a:gd name="connsiteX31" fmla="*/ 376593 w 1087844"/>
              <a:gd name="connsiteY31" fmla="*/ 373608 h 662520"/>
              <a:gd name="connsiteX32" fmla="*/ 376593 w 1087844"/>
              <a:gd name="connsiteY32" fmla="*/ 286308 h 662520"/>
              <a:gd name="connsiteX33" fmla="*/ 417893 w 1087844"/>
              <a:gd name="connsiteY33" fmla="*/ 286308 h 662520"/>
              <a:gd name="connsiteX34" fmla="*/ 471564 w 1087844"/>
              <a:gd name="connsiteY34" fmla="*/ 280133 h 662520"/>
              <a:gd name="connsiteX35" fmla="*/ 510008 w 1087844"/>
              <a:gd name="connsiteY35" fmla="*/ 261550 h 662520"/>
              <a:gd name="connsiteX36" fmla="*/ 533138 w 1087844"/>
              <a:gd name="connsiteY36" fmla="*/ 230469 h 662520"/>
              <a:gd name="connsiteX37" fmla="*/ 540867 w 1087844"/>
              <a:gd name="connsiteY37" fmla="*/ 186804 h 662520"/>
              <a:gd name="connsiteX38" fmla="*/ 535514 w 1087844"/>
              <a:gd name="connsiteY38" fmla="*/ 149115 h 662520"/>
              <a:gd name="connsiteX39" fmla="*/ 519161 w 1087844"/>
              <a:gd name="connsiteY39" fmla="*/ 121104 h 662520"/>
              <a:gd name="connsiteX40" fmla="*/ 491366 w 1087844"/>
              <a:gd name="connsiteY40" fmla="*/ 103651 h 662520"/>
              <a:gd name="connsiteX41" fmla="*/ 451688 w 1087844"/>
              <a:gd name="connsiteY41" fmla="*/ 97637 h 662520"/>
              <a:gd name="connsiteX42" fmla="*/ 414244 w 1087844"/>
              <a:gd name="connsiteY42" fmla="*/ 102374 h 662520"/>
              <a:gd name="connsiteX43" fmla="*/ 384457 w 1087844"/>
              <a:gd name="connsiteY43" fmla="*/ 115117 h 662520"/>
              <a:gd name="connsiteX44" fmla="*/ 361534 w 1087844"/>
              <a:gd name="connsiteY44" fmla="*/ 133668 h 662520"/>
              <a:gd name="connsiteX45" fmla="*/ 344678 w 1087844"/>
              <a:gd name="connsiteY45" fmla="*/ 155828 h 662520"/>
              <a:gd name="connsiteX46" fmla="*/ 266776 w 1087844"/>
              <a:gd name="connsiteY46" fmla="*/ 155828 h 662520"/>
              <a:gd name="connsiteX47" fmla="*/ 266776 w 1087844"/>
              <a:gd name="connsiteY47" fmla="*/ 33807 h 662520"/>
              <a:gd name="connsiteX48" fmla="*/ 311007 w 1087844"/>
              <a:gd name="connsiteY48" fmla="*/ 19813 h 662520"/>
              <a:gd name="connsiteX49" fmla="*/ 358057 w 1087844"/>
              <a:gd name="connsiteY49" fmla="*/ 9159 h 662520"/>
              <a:gd name="connsiteX50" fmla="*/ 408279 w 1087844"/>
              <a:gd name="connsiteY50" fmla="*/ 2378 h 662520"/>
              <a:gd name="connsiteX51" fmla="*/ 462026 w 1087844"/>
              <a:gd name="connsiteY51" fmla="*/ 0 h 662520"/>
              <a:gd name="connsiteX52" fmla="*/ 517396 w 1087844"/>
              <a:gd name="connsiteY52" fmla="*/ 3158 h 662520"/>
              <a:gd name="connsiteX53" fmla="*/ 565690 w 1087844"/>
              <a:gd name="connsiteY53" fmla="*/ 12853 h 662520"/>
              <a:gd name="connsiteX54" fmla="*/ 606381 w 1087844"/>
              <a:gd name="connsiteY54" fmla="*/ 29412 h 662520"/>
              <a:gd name="connsiteX55" fmla="*/ 638944 w 1087844"/>
              <a:gd name="connsiteY55" fmla="*/ 53163 h 662520"/>
              <a:gd name="connsiteX56" fmla="*/ 662854 w 1087844"/>
              <a:gd name="connsiteY56" fmla="*/ 84435 h 662520"/>
              <a:gd name="connsiteX57" fmla="*/ 677585 w 1087844"/>
              <a:gd name="connsiteY57" fmla="*/ 123555 h 662520"/>
              <a:gd name="connsiteX58" fmla="*/ 682612 w 1087844"/>
              <a:gd name="connsiteY58" fmla="*/ 170853 h 662520"/>
              <a:gd name="connsiteX59" fmla="*/ 676454 w 1087844"/>
              <a:gd name="connsiteY59" fmla="*/ 219568 h 662520"/>
              <a:gd name="connsiteX60" fmla="*/ 658582 w 1087844"/>
              <a:gd name="connsiteY60" fmla="*/ 258234 h 662520"/>
              <a:gd name="connsiteX61" fmla="*/ 629896 w 1087844"/>
              <a:gd name="connsiteY61" fmla="*/ 287843 h 662520"/>
              <a:gd name="connsiteX62" fmla="*/ 591297 w 1087844"/>
              <a:gd name="connsiteY62" fmla="*/ 309388 h 662520"/>
              <a:gd name="connsiteX63" fmla="*/ 543687 w 1087844"/>
              <a:gd name="connsiteY63" fmla="*/ 323862 h 662520"/>
              <a:gd name="connsiteX64" fmla="*/ 543687 w 1087844"/>
              <a:gd name="connsiteY64" fmla="*/ 327609 h 662520"/>
              <a:gd name="connsiteX65" fmla="*/ 597682 w 1087844"/>
              <a:gd name="connsiteY65" fmla="*/ 340566 h 662520"/>
              <a:gd name="connsiteX66" fmla="*/ 639284 w 1087844"/>
              <a:gd name="connsiteY66" fmla="*/ 362534 h 662520"/>
              <a:gd name="connsiteX67" fmla="*/ 668720 w 1087844"/>
              <a:gd name="connsiteY67" fmla="*/ 393513 h 662520"/>
              <a:gd name="connsiteX68" fmla="*/ 686216 w 1087844"/>
              <a:gd name="connsiteY68" fmla="*/ 433502 h 662520"/>
              <a:gd name="connsiteX69" fmla="*/ 691997 w 1087844"/>
              <a:gd name="connsiteY69" fmla="*/ 482498 h 662520"/>
              <a:gd name="connsiteX70" fmla="*/ 686937 w 1087844"/>
              <a:gd name="connsiteY70" fmla="*/ 527743 h 662520"/>
              <a:gd name="connsiteX71" fmla="*/ 671660 w 1087844"/>
              <a:gd name="connsiteY71" fmla="*/ 567021 h 662520"/>
              <a:gd name="connsiteX72" fmla="*/ 647123 w 1087844"/>
              <a:gd name="connsiteY72" fmla="*/ 600232 h 662520"/>
              <a:gd name="connsiteX73" fmla="*/ 614286 w 1087844"/>
              <a:gd name="connsiteY73" fmla="*/ 627278 h 662520"/>
              <a:gd name="connsiteX74" fmla="*/ 574107 w 1087844"/>
              <a:gd name="connsiteY74" fmla="*/ 648061 h 662520"/>
              <a:gd name="connsiteX75" fmla="*/ 527545 w 1087844"/>
              <a:gd name="connsiteY75" fmla="*/ 662482 h 662520"/>
              <a:gd name="connsiteX76" fmla="*/ 1087844 w 1087844"/>
              <a:gd name="connsiteY76" fmla="*/ 662495 h 662520"/>
              <a:gd name="connsiteX0" fmla="*/ 58493 w 1087844"/>
              <a:gd name="connsiteY0" fmla="*/ 11678 h 662520"/>
              <a:gd name="connsiteX1" fmla="*/ 230407 w 1087844"/>
              <a:gd name="connsiteY1" fmla="*/ 376707 h 662520"/>
              <a:gd name="connsiteX2" fmla="*/ 222859 w 1087844"/>
              <a:gd name="connsiteY2" fmla="*/ 427041 h 662520"/>
              <a:gd name="connsiteX3" fmla="*/ 210457 w 1087844"/>
              <a:gd name="connsiteY3" fmla="*/ 472909 h 662520"/>
              <a:gd name="connsiteX4" fmla="*/ 193347 w 1087844"/>
              <a:gd name="connsiteY4" fmla="*/ 514232 h 662520"/>
              <a:gd name="connsiteX5" fmla="*/ 171675 w 1087844"/>
              <a:gd name="connsiteY5" fmla="*/ 550937 h 662520"/>
              <a:gd name="connsiteX6" fmla="*/ 145588 w 1087844"/>
              <a:gd name="connsiteY6" fmla="*/ 582945 h 662520"/>
              <a:gd name="connsiteX7" fmla="*/ 115230 w 1087844"/>
              <a:gd name="connsiteY7" fmla="*/ 610181 h 662520"/>
              <a:gd name="connsiteX8" fmla="*/ 80749 w 1087844"/>
              <a:gd name="connsiteY8" fmla="*/ 632569 h 662520"/>
              <a:gd name="connsiteX9" fmla="*/ 42290 w 1087844"/>
              <a:gd name="connsiteY9" fmla="*/ 650033 h 662520"/>
              <a:gd name="connsiteX10" fmla="*/ 0 w 1087844"/>
              <a:gd name="connsiteY10" fmla="*/ 662495 h 662520"/>
              <a:gd name="connsiteX11" fmla="*/ 319163 w 1087844"/>
              <a:gd name="connsiteY11" fmla="*/ 662520 h 662520"/>
              <a:gd name="connsiteX12" fmla="*/ 298168 w 1087844"/>
              <a:gd name="connsiteY12" fmla="*/ 658030 h 662520"/>
              <a:gd name="connsiteX13" fmla="*/ 278374 w 1087844"/>
              <a:gd name="connsiteY13" fmla="*/ 652783 h 662520"/>
              <a:gd name="connsiteX14" fmla="*/ 259538 w 1087844"/>
              <a:gd name="connsiteY14" fmla="*/ 646826 h 662520"/>
              <a:gd name="connsiteX15" fmla="*/ 241414 w 1087844"/>
              <a:gd name="connsiteY15" fmla="*/ 640206 h 662520"/>
              <a:gd name="connsiteX16" fmla="*/ 241414 w 1087844"/>
              <a:gd name="connsiteY16" fmla="*/ 516293 h 662520"/>
              <a:gd name="connsiteX17" fmla="*/ 323088 w 1087844"/>
              <a:gd name="connsiteY17" fmla="*/ 516293 h 662520"/>
              <a:gd name="connsiteX18" fmla="*/ 339204 w 1087844"/>
              <a:gd name="connsiteY18" fmla="*/ 539439 h 662520"/>
              <a:gd name="connsiteX19" fmla="*/ 362628 w 1087844"/>
              <a:gd name="connsiteY19" fmla="*/ 559242 h 662520"/>
              <a:gd name="connsiteX20" fmla="*/ 393973 w 1087844"/>
              <a:gd name="connsiteY20" fmla="*/ 573062 h 662520"/>
              <a:gd name="connsiteX21" fmla="*/ 433857 w 1087844"/>
              <a:gd name="connsiteY21" fmla="*/ 578256 h 662520"/>
              <a:gd name="connsiteX22" fmla="*/ 476360 w 1087844"/>
              <a:gd name="connsiteY22" fmla="*/ 571758 h 662520"/>
              <a:gd name="connsiteX23" fmla="*/ 511299 w 1087844"/>
              <a:gd name="connsiteY23" fmla="*/ 552322 h 662520"/>
              <a:gd name="connsiteX24" fmla="*/ 534973 w 1087844"/>
              <a:gd name="connsiteY24" fmla="*/ 520038 h 662520"/>
              <a:gd name="connsiteX25" fmla="*/ 543687 w 1087844"/>
              <a:gd name="connsiteY25" fmla="*/ 474992 h 662520"/>
              <a:gd name="connsiteX26" fmla="*/ 536425 w 1087844"/>
              <a:gd name="connsiteY26" fmla="*/ 430240 h 662520"/>
              <a:gd name="connsiteX27" fmla="*/ 514467 w 1087844"/>
              <a:gd name="connsiteY27" fmla="*/ 398602 h 662520"/>
              <a:gd name="connsiteX28" fmla="*/ 477550 w 1087844"/>
              <a:gd name="connsiteY28" fmla="*/ 379812 h 662520"/>
              <a:gd name="connsiteX29" fmla="*/ 425412 w 1087844"/>
              <a:gd name="connsiteY29" fmla="*/ 373608 h 662520"/>
              <a:gd name="connsiteX30" fmla="*/ 376593 w 1087844"/>
              <a:gd name="connsiteY30" fmla="*/ 373608 h 662520"/>
              <a:gd name="connsiteX31" fmla="*/ 376593 w 1087844"/>
              <a:gd name="connsiteY31" fmla="*/ 286308 h 662520"/>
              <a:gd name="connsiteX32" fmla="*/ 417893 w 1087844"/>
              <a:gd name="connsiteY32" fmla="*/ 286308 h 662520"/>
              <a:gd name="connsiteX33" fmla="*/ 471564 w 1087844"/>
              <a:gd name="connsiteY33" fmla="*/ 280133 h 662520"/>
              <a:gd name="connsiteX34" fmla="*/ 510008 w 1087844"/>
              <a:gd name="connsiteY34" fmla="*/ 261550 h 662520"/>
              <a:gd name="connsiteX35" fmla="*/ 533138 w 1087844"/>
              <a:gd name="connsiteY35" fmla="*/ 230469 h 662520"/>
              <a:gd name="connsiteX36" fmla="*/ 540867 w 1087844"/>
              <a:gd name="connsiteY36" fmla="*/ 186804 h 662520"/>
              <a:gd name="connsiteX37" fmla="*/ 535514 w 1087844"/>
              <a:gd name="connsiteY37" fmla="*/ 149115 h 662520"/>
              <a:gd name="connsiteX38" fmla="*/ 519161 w 1087844"/>
              <a:gd name="connsiteY38" fmla="*/ 121104 h 662520"/>
              <a:gd name="connsiteX39" fmla="*/ 491366 w 1087844"/>
              <a:gd name="connsiteY39" fmla="*/ 103651 h 662520"/>
              <a:gd name="connsiteX40" fmla="*/ 451688 w 1087844"/>
              <a:gd name="connsiteY40" fmla="*/ 97637 h 662520"/>
              <a:gd name="connsiteX41" fmla="*/ 414244 w 1087844"/>
              <a:gd name="connsiteY41" fmla="*/ 102374 h 662520"/>
              <a:gd name="connsiteX42" fmla="*/ 384457 w 1087844"/>
              <a:gd name="connsiteY42" fmla="*/ 115117 h 662520"/>
              <a:gd name="connsiteX43" fmla="*/ 361534 w 1087844"/>
              <a:gd name="connsiteY43" fmla="*/ 133668 h 662520"/>
              <a:gd name="connsiteX44" fmla="*/ 344678 w 1087844"/>
              <a:gd name="connsiteY44" fmla="*/ 155828 h 662520"/>
              <a:gd name="connsiteX45" fmla="*/ 266776 w 1087844"/>
              <a:gd name="connsiteY45" fmla="*/ 155828 h 662520"/>
              <a:gd name="connsiteX46" fmla="*/ 266776 w 1087844"/>
              <a:gd name="connsiteY46" fmla="*/ 33807 h 662520"/>
              <a:gd name="connsiteX47" fmla="*/ 311007 w 1087844"/>
              <a:gd name="connsiteY47" fmla="*/ 19813 h 662520"/>
              <a:gd name="connsiteX48" fmla="*/ 358057 w 1087844"/>
              <a:gd name="connsiteY48" fmla="*/ 9159 h 662520"/>
              <a:gd name="connsiteX49" fmla="*/ 408279 w 1087844"/>
              <a:gd name="connsiteY49" fmla="*/ 2378 h 662520"/>
              <a:gd name="connsiteX50" fmla="*/ 462026 w 1087844"/>
              <a:gd name="connsiteY50" fmla="*/ 0 h 662520"/>
              <a:gd name="connsiteX51" fmla="*/ 517396 w 1087844"/>
              <a:gd name="connsiteY51" fmla="*/ 3158 h 662520"/>
              <a:gd name="connsiteX52" fmla="*/ 565690 w 1087844"/>
              <a:gd name="connsiteY52" fmla="*/ 12853 h 662520"/>
              <a:gd name="connsiteX53" fmla="*/ 606381 w 1087844"/>
              <a:gd name="connsiteY53" fmla="*/ 29412 h 662520"/>
              <a:gd name="connsiteX54" fmla="*/ 638944 w 1087844"/>
              <a:gd name="connsiteY54" fmla="*/ 53163 h 662520"/>
              <a:gd name="connsiteX55" fmla="*/ 662854 w 1087844"/>
              <a:gd name="connsiteY55" fmla="*/ 84435 h 662520"/>
              <a:gd name="connsiteX56" fmla="*/ 677585 w 1087844"/>
              <a:gd name="connsiteY56" fmla="*/ 123555 h 662520"/>
              <a:gd name="connsiteX57" fmla="*/ 682612 w 1087844"/>
              <a:gd name="connsiteY57" fmla="*/ 170853 h 662520"/>
              <a:gd name="connsiteX58" fmla="*/ 676454 w 1087844"/>
              <a:gd name="connsiteY58" fmla="*/ 219568 h 662520"/>
              <a:gd name="connsiteX59" fmla="*/ 658582 w 1087844"/>
              <a:gd name="connsiteY59" fmla="*/ 258234 h 662520"/>
              <a:gd name="connsiteX60" fmla="*/ 629896 w 1087844"/>
              <a:gd name="connsiteY60" fmla="*/ 287843 h 662520"/>
              <a:gd name="connsiteX61" fmla="*/ 591297 w 1087844"/>
              <a:gd name="connsiteY61" fmla="*/ 309388 h 662520"/>
              <a:gd name="connsiteX62" fmla="*/ 543687 w 1087844"/>
              <a:gd name="connsiteY62" fmla="*/ 323862 h 662520"/>
              <a:gd name="connsiteX63" fmla="*/ 543687 w 1087844"/>
              <a:gd name="connsiteY63" fmla="*/ 327609 h 662520"/>
              <a:gd name="connsiteX64" fmla="*/ 597682 w 1087844"/>
              <a:gd name="connsiteY64" fmla="*/ 340566 h 662520"/>
              <a:gd name="connsiteX65" fmla="*/ 639284 w 1087844"/>
              <a:gd name="connsiteY65" fmla="*/ 362534 h 662520"/>
              <a:gd name="connsiteX66" fmla="*/ 668720 w 1087844"/>
              <a:gd name="connsiteY66" fmla="*/ 393513 h 662520"/>
              <a:gd name="connsiteX67" fmla="*/ 686216 w 1087844"/>
              <a:gd name="connsiteY67" fmla="*/ 433502 h 662520"/>
              <a:gd name="connsiteX68" fmla="*/ 691997 w 1087844"/>
              <a:gd name="connsiteY68" fmla="*/ 482498 h 662520"/>
              <a:gd name="connsiteX69" fmla="*/ 686937 w 1087844"/>
              <a:gd name="connsiteY69" fmla="*/ 527743 h 662520"/>
              <a:gd name="connsiteX70" fmla="*/ 671660 w 1087844"/>
              <a:gd name="connsiteY70" fmla="*/ 567021 h 662520"/>
              <a:gd name="connsiteX71" fmla="*/ 647123 w 1087844"/>
              <a:gd name="connsiteY71" fmla="*/ 600232 h 662520"/>
              <a:gd name="connsiteX72" fmla="*/ 614286 w 1087844"/>
              <a:gd name="connsiteY72" fmla="*/ 627278 h 662520"/>
              <a:gd name="connsiteX73" fmla="*/ 574107 w 1087844"/>
              <a:gd name="connsiteY73" fmla="*/ 648061 h 662520"/>
              <a:gd name="connsiteX74" fmla="*/ 527545 w 1087844"/>
              <a:gd name="connsiteY74" fmla="*/ 662482 h 662520"/>
              <a:gd name="connsiteX75" fmla="*/ 1087844 w 1087844"/>
              <a:gd name="connsiteY75" fmla="*/ 662495 h 662520"/>
              <a:gd name="connsiteX0" fmla="*/ 230407 w 1087844"/>
              <a:gd name="connsiteY0" fmla="*/ 376707 h 662520"/>
              <a:gd name="connsiteX1" fmla="*/ 222859 w 1087844"/>
              <a:gd name="connsiteY1" fmla="*/ 427041 h 662520"/>
              <a:gd name="connsiteX2" fmla="*/ 210457 w 1087844"/>
              <a:gd name="connsiteY2" fmla="*/ 472909 h 662520"/>
              <a:gd name="connsiteX3" fmla="*/ 193347 w 1087844"/>
              <a:gd name="connsiteY3" fmla="*/ 514232 h 662520"/>
              <a:gd name="connsiteX4" fmla="*/ 171675 w 1087844"/>
              <a:gd name="connsiteY4" fmla="*/ 550937 h 662520"/>
              <a:gd name="connsiteX5" fmla="*/ 145588 w 1087844"/>
              <a:gd name="connsiteY5" fmla="*/ 582945 h 662520"/>
              <a:gd name="connsiteX6" fmla="*/ 115230 w 1087844"/>
              <a:gd name="connsiteY6" fmla="*/ 610181 h 662520"/>
              <a:gd name="connsiteX7" fmla="*/ 80749 w 1087844"/>
              <a:gd name="connsiteY7" fmla="*/ 632569 h 662520"/>
              <a:gd name="connsiteX8" fmla="*/ 42290 w 1087844"/>
              <a:gd name="connsiteY8" fmla="*/ 650033 h 662520"/>
              <a:gd name="connsiteX9" fmla="*/ 0 w 1087844"/>
              <a:gd name="connsiteY9" fmla="*/ 662495 h 662520"/>
              <a:gd name="connsiteX10" fmla="*/ 319163 w 1087844"/>
              <a:gd name="connsiteY10" fmla="*/ 662520 h 662520"/>
              <a:gd name="connsiteX11" fmla="*/ 298168 w 1087844"/>
              <a:gd name="connsiteY11" fmla="*/ 658030 h 662520"/>
              <a:gd name="connsiteX12" fmla="*/ 278374 w 1087844"/>
              <a:gd name="connsiteY12" fmla="*/ 652783 h 662520"/>
              <a:gd name="connsiteX13" fmla="*/ 259538 w 1087844"/>
              <a:gd name="connsiteY13" fmla="*/ 646826 h 662520"/>
              <a:gd name="connsiteX14" fmla="*/ 241414 w 1087844"/>
              <a:gd name="connsiteY14" fmla="*/ 640206 h 662520"/>
              <a:gd name="connsiteX15" fmla="*/ 241414 w 1087844"/>
              <a:gd name="connsiteY15" fmla="*/ 516293 h 662520"/>
              <a:gd name="connsiteX16" fmla="*/ 323088 w 1087844"/>
              <a:gd name="connsiteY16" fmla="*/ 516293 h 662520"/>
              <a:gd name="connsiteX17" fmla="*/ 339204 w 1087844"/>
              <a:gd name="connsiteY17" fmla="*/ 539439 h 662520"/>
              <a:gd name="connsiteX18" fmla="*/ 362628 w 1087844"/>
              <a:gd name="connsiteY18" fmla="*/ 559242 h 662520"/>
              <a:gd name="connsiteX19" fmla="*/ 393973 w 1087844"/>
              <a:gd name="connsiteY19" fmla="*/ 573062 h 662520"/>
              <a:gd name="connsiteX20" fmla="*/ 433857 w 1087844"/>
              <a:gd name="connsiteY20" fmla="*/ 578256 h 662520"/>
              <a:gd name="connsiteX21" fmla="*/ 476360 w 1087844"/>
              <a:gd name="connsiteY21" fmla="*/ 571758 h 662520"/>
              <a:gd name="connsiteX22" fmla="*/ 511299 w 1087844"/>
              <a:gd name="connsiteY22" fmla="*/ 552322 h 662520"/>
              <a:gd name="connsiteX23" fmla="*/ 534973 w 1087844"/>
              <a:gd name="connsiteY23" fmla="*/ 520038 h 662520"/>
              <a:gd name="connsiteX24" fmla="*/ 543687 w 1087844"/>
              <a:gd name="connsiteY24" fmla="*/ 474992 h 662520"/>
              <a:gd name="connsiteX25" fmla="*/ 536425 w 1087844"/>
              <a:gd name="connsiteY25" fmla="*/ 430240 h 662520"/>
              <a:gd name="connsiteX26" fmla="*/ 514467 w 1087844"/>
              <a:gd name="connsiteY26" fmla="*/ 398602 h 662520"/>
              <a:gd name="connsiteX27" fmla="*/ 477550 w 1087844"/>
              <a:gd name="connsiteY27" fmla="*/ 379812 h 662520"/>
              <a:gd name="connsiteX28" fmla="*/ 425412 w 1087844"/>
              <a:gd name="connsiteY28" fmla="*/ 373608 h 662520"/>
              <a:gd name="connsiteX29" fmla="*/ 376593 w 1087844"/>
              <a:gd name="connsiteY29" fmla="*/ 373608 h 662520"/>
              <a:gd name="connsiteX30" fmla="*/ 376593 w 1087844"/>
              <a:gd name="connsiteY30" fmla="*/ 286308 h 662520"/>
              <a:gd name="connsiteX31" fmla="*/ 417893 w 1087844"/>
              <a:gd name="connsiteY31" fmla="*/ 286308 h 662520"/>
              <a:gd name="connsiteX32" fmla="*/ 471564 w 1087844"/>
              <a:gd name="connsiteY32" fmla="*/ 280133 h 662520"/>
              <a:gd name="connsiteX33" fmla="*/ 510008 w 1087844"/>
              <a:gd name="connsiteY33" fmla="*/ 261550 h 662520"/>
              <a:gd name="connsiteX34" fmla="*/ 533138 w 1087844"/>
              <a:gd name="connsiteY34" fmla="*/ 230469 h 662520"/>
              <a:gd name="connsiteX35" fmla="*/ 540867 w 1087844"/>
              <a:gd name="connsiteY35" fmla="*/ 186804 h 662520"/>
              <a:gd name="connsiteX36" fmla="*/ 535514 w 1087844"/>
              <a:gd name="connsiteY36" fmla="*/ 149115 h 662520"/>
              <a:gd name="connsiteX37" fmla="*/ 519161 w 1087844"/>
              <a:gd name="connsiteY37" fmla="*/ 121104 h 662520"/>
              <a:gd name="connsiteX38" fmla="*/ 491366 w 1087844"/>
              <a:gd name="connsiteY38" fmla="*/ 103651 h 662520"/>
              <a:gd name="connsiteX39" fmla="*/ 451688 w 1087844"/>
              <a:gd name="connsiteY39" fmla="*/ 97637 h 662520"/>
              <a:gd name="connsiteX40" fmla="*/ 414244 w 1087844"/>
              <a:gd name="connsiteY40" fmla="*/ 102374 h 662520"/>
              <a:gd name="connsiteX41" fmla="*/ 384457 w 1087844"/>
              <a:gd name="connsiteY41" fmla="*/ 115117 h 662520"/>
              <a:gd name="connsiteX42" fmla="*/ 361534 w 1087844"/>
              <a:gd name="connsiteY42" fmla="*/ 133668 h 662520"/>
              <a:gd name="connsiteX43" fmla="*/ 344678 w 1087844"/>
              <a:gd name="connsiteY43" fmla="*/ 155828 h 662520"/>
              <a:gd name="connsiteX44" fmla="*/ 266776 w 1087844"/>
              <a:gd name="connsiteY44" fmla="*/ 155828 h 662520"/>
              <a:gd name="connsiteX45" fmla="*/ 266776 w 1087844"/>
              <a:gd name="connsiteY45" fmla="*/ 33807 h 662520"/>
              <a:gd name="connsiteX46" fmla="*/ 311007 w 1087844"/>
              <a:gd name="connsiteY46" fmla="*/ 19813 h 662520"/>
              <a:gd name="connsiteX47" fmla="*/ 358057 w 1087844"/>
              <a:gd name="connsiteY47" fmla="*/ 9159 h 662520"/>
              <a:gd name="connsiteX48" fmla="*/ 408279 w 1087844"/>
              <a:gd name="connsiteY48" fmla="*/ 2378 h 662520"/>
              <a:gd name="connsiteX49" fmla="*/ 462026 w 1087844"/>
              <a:gd name="connsiteY49" fmla="*/ 0 h 662520"/>
              <a:gd name="connsiteX50" fmla="*/ 517396 w 1087844"/>
              <a:gd name="connsiteY50" fmla="*/ 3158 h 662520"/>
              <a:gd name="connsiteX51" fmla="*/ 565690 w 1087844"/>
              <a:gd name="connsiteY51" fmla="*/ 12853 h 662520"/>
              <a:gd name="connsiteX52" fmla="*/ 606381 w 1087844"/>
              <a:gd name="connsiteY52" fmla="*/ 29412 h 662520"/>
              <a:gd name="connsiteX53" fmla="*/ 638944 w 1087844"/>
              <a:gd name="connsiteY53" fmla="*/ 53163 h 662520"/>
              <a:gd name="connsiteX54" fmla="*/ 662854 w 1087844"/>
              <a:gd name="connsiteY54" fmla="*/ 84435 h 662520"/>
              <a:gd name="connsiteX55" fmla="*/ 677585 w 1087844"/>
              <a:gd name="connsiteY55" fmla="*/ 123555 h 662520"/>
              <a:gd name="connsiteX56" fmla="*/ 682612 w 1087844"/>
              <a:gd name="connsiteY56" fmla="*/ 170853 h 662520"/>
              <a:gd name="connsiteX57" fmla="*/ 676454 w 1087844"/>
              <a:gd name="connsiteY57" fmla="*/ 219568 h 662520"/>
              <a:gd name="connsiteX58" fmla="*/ 658582 w 1087844"/>
              <a:gd name="connsiteY58" fmla="*/ 258234 h 662520"/>
              <a:gd name="connsiteX59" fmla="*/ 629896 w 1087844"/>
              <a:gd name="connsiteY59" fmla="*/ 287843 h 662520"/>
              <a:gd name="connsiteX60" fmla="*/ 591297 w 1087844"/>
              <a:gd name="connsiteY60" fmla="*/ 309388 h 662520"/>
              <a:gd name="connsiteX61" fmla="*/ 543687 w 1087844"/>
              <a:gd name="connsiteY61" fmla="*/ 323862 h 662520"/>
              <a:gd name="connsiteX62" fmla="*/ 543687 w 1087844"/>
              <a:gd name="connsiteY62" fmla="*/ 327609 h 662520"/>
              <a:gd name="connsiteX63" fmla="*/ 597682 w 1087844"/>
              <a:gd name="connsiteY63" fmla="*/ 340566 h 662520"/>
              <a:gd name="connsiteX64" fmla="*/ 639284 w 1087844"/>
              <a:gd name="connsiteY64" fmla="*/ 362534 h 662520"/>
              <a:gd name="connsiteX65" fmla="*/ 668720 w 1087844"/>
              <a:gd name="connsiteY65" fmla="*/ 393513 h 662520"/>
              <a:gd name="connsiteX66" fmla="*/ 686216 w 1087844"/>
              <a:gd name="connsiteY66" fmla="*/ 433502 h 662520"/>
              <a:gd name="connsiteX67" fmla="*/ 691997 w 1087844"/>
              <a:gd name="connsiteY67" fmla="*/ 482498 h 662520"/>
              <a:gd name="connsiteX68" fmla="*/ 686937 w 1087844"/>
              <a:gd name="connsiteY68" fmla="*/ 527743 h 662520"/>
              <a:gd name="connsiteX69" fmla="*/ 671660 w 1087844"/>
              <a:gd name="connsiteY69" fmla="*/ 567021 h 662520"/>
              <a:gd name="connsiteX70" fmla="*/ 647123 w 1087844"/>
              <a:gd name="connsiteY70" fmla="*/ 600232 h 662520"/>
              <a:gd name="connsiteX71" fmla="*/ 614286 w 1087844"/>
              <a:gd name="connsiteY71" fmla="*/ 627278 h 662520"/>
              <a:gd name="connsiteX72" fmla="*/ 574107 w 1087844"/>
              <a:gd name="connsiteY72" fmla="*/ 648061 h 662520"/>
              <a:gd name="connsiteX73" fmla="*/ 527545 w 1087844"/>
              <a:gd name="connsiteY73" fmla="*/ 662482 h 662520"/>
              <a:gd name="connsiteX74" fmla="*/ 1087844 w 1087844"/>
              <a:gd name="connsiteY74" fmla="*/ 662495 h 662520"/>
              <a:gd name="connsiteX0" fmla="*/ 222859 w 1087844"/>
              <a:gd name="connsiteY0" fmla="*/ 427041 h 662520"/>
              <a:gd name="connsiteX1" fmla="*/ 210457 w 1087844"/>
              <a:gd name="connsiteY1" fmla="*/ 472909 h 662520"/>
              <a:gd name="connsiteX2" fmla="*/ 193347 w 1087844"/>
              <a:gd name="connsiteY2" fmla="*/ 514232 h 662520"/>
              <a:gd name="connsiteX3" fmla="*/ 171675 w 1087844"/>
              <a:gd name="connsiteY3" fmla="*/ 550937 h 662520"/>
              <a:gd name="connsiteX4" fmla="*/ 145588 w 1087844"/>
              <a:gd name="connsiteY4" fmla="*/ 582945 h 662520"/>
              <a:gd name="connsiteX5" fmla="*/ 115230 w 1087844"/>
              <a:gd name="connsiteY5" fmla="*/ 610181 h 662520"/>
              <a:gd name="connsiteX6" fmla="*/ 80749 w 1087844"/>
              <a:gd name="connsiteY6" fmla="*/ 632569 h 662520"/>
              <a:gd name="connsiteX7" fmla="*/ 42290 w 1087844"/>
              <a:gd name="connsiteY7" fmla="*/ 650033 h 662520"/>
              <a:gd name="connsiteX8" fmla="*/ 0 w 1087844"/>
              <a:gd name="connsiteY8" fmla="*/ 662495 h 662520"/>
              <a:gd name="connsiteX9" fmla="*/ 319163 w 1087844"/>
              <a:gd name="connsiteY9" fmla="*/ 662520 h 662520"/>
              <a:gd name="connsiteX10" fmla="*/ 298168 w 1087844"/>
              <a:gd name="connsiteY10" fmla="*/ 658030 h 662520"/>
              <a:gd name="connsiteX11" fmla="*/ 278374 w 1087844"/>
              <a:gd name="connsiteY11" fmla="*/ 652783 h 662520"/>
              <a:gd name="connsiteX12" fmla="*/ 259538 w 1087844"/>
              <a:gd name="connsiteY12" fmla="*/ 646826 h 662520"/>
              <a:gd name="connsiteX13" fmla="*/ 241414 w 1087844"/>
              <a:gd name="connsiteY13" fmla="*/ 640206 h 662520"/>
              <a:gd name="connsiteX14" fmla="*/ 241414 w 1087844"/>
              <a:gd name="connsiteY14" fmla="*/ 516293 h 662520"/>
              <a:gd name="connsiteX15" fmla="*/ 323088 w 1087844"/>
              <a:gd name="connsiteY15" fmla="*/ 516293 h 662520"/>
              <a:gd name="connsiteX16" fmla="*/ 339204 w 1087844"/>
              <a:gd name="connsiteY16" fmla="*/ 539439 h 662520"/>
              <a:gd name="connsiteX17" fmla="*/ 362628 w 1087844"/>
              <a:gd name="connsiteY17" fmla="*/ 559242 h 662520"/>
              <a:gd name="connsiteX18" fmla="*/ 393973 w 1087844"/>
              <a:gd name="connsiteY18" fmla="*/ 573062 h 662520"/>
              <a:gd name="connsiteX19" fmla="*/ 433857 w 1087844"/>
              <a:gd name="connsiteY19" fmla="*/ 578256 h 662520"/>
              <a:gd name="connsiteX20" fmla="*/ 476360 w 1087844"/>
              <a:gd name="connsiteY20" fmla="*/ 571758 h 662520"/>
              <a:gd name="connsiteX21" fmla="*/ 511299 w 1087844"/>
              <a:gd name="connsiteY21" fmla="*/ 552322 h 662520"/>
              <a:gd name="connsiteX22" fmla="*/ 534973 w 1087844"/>
              <a:gd name="connsiteY22" fmla="*/ 520038 h 662520"/>
              <a:gd name="connsiteX23" fmla="*/ 543687 w 1087844"/>
              <a:gd name="connsiteY23" fmla="*/ 474992 h 662520"/>
              <a:gd name="connsiteX24" fmla="*/ 536425 w 1087844"/>
              <a:gd name="connsiteY24" fmla="*/ 430240 h 662520"/>
              <a:gd name="connsiteX25" fmla="*/ 514467 w 1087844"/>
              <a:gd name="connsiteY25" fmla="*/ 398602 h 662520"/>
              <a:gd name="connsiteX26" fmla="*/ 477550 w 1087844"/>
              <a:gd name="connsiteY26" fmla="*/ 379812 h 662520"/>
              <a:gd name="connsiteX27" fmla="*/ 425412 w 1087844"/>
              <a:gd name="connsiteY27" fmla="*/ 373608 h 662520"/>
              <a:gd name="connsiteX28" fmla="*/ 376593 w 1087844"/>
              <a:gd name="connsiteY28" fmla="*/ 373608 h 662520"/>
              <a:gd name="connsiteX29" fmla="*/ 376593 w 1087844"/>
              <a:gd name="connsiteY29" fmla="*/ 286308 h 662520"/>
              <a:gd name="connsiteX30" fmla="*/ 417893 w 1087844"/>
              <a:gd name="connsiteY30" fmla="*/ 286308 h 662520"/>
              <a:gd name="connsiteX31" fmla="*/ 471564 w 1087844"/>
              <a:gd name="connsiteY31" fmla="*/ 280133 h 662520"/>
              <a:gd name="connsiteX32" fmla="*/ 510008 w 1087844"/>
              <a:gd name="connsiteY32" fmla="*/ 261550 h 662520"/>
              <a:gd name="connsiteX33" fmla="*/ 533138 w 1087844"/>
              <a:gd name="connsiteY33" fmla="*/ 230469 h 662520"/>
              <a:gd name="connsiteX34" fmla="*/ 540867 w 1087844"/>
              <a:gd name="connsiteY34" fmla="*/ 186804 h 662520"/>
              <a:gd name="connsiteX35" fmla="*/ 535514 w 1087844"/>
              <a:gd name="connsiteY35" fmla="*/ 149115 h 662520"/>
              <a:gd name="connsiteX36" fmla="*/ 519161 w 1087844"/>
              <a:gd name="connsiteY36" fmla="*/ 121104 h 662520"/>
              <a:gd name="connsiteX37" fmla="*/ 491366 w 1087844"/>
              <a:gd name="connsiteY37" fmla="*/ 103651 h 662520"/>
              <a:gd name="connsiteX38" fmla="*/ 451688 w 1087844"/>
              <a:gd name="connsiteY38" fmla="*/ 97637 h 662520"/>
              <a:gd name="connsiteX39" fmla="*/ 414244 w 1087844"/>
              <a:gd name="connsiteY39" fmla="*/ 102374 h 662520"/>
              <a:gd name="connsiteX40" fmla="*/ 384457 w 1087844"/>
              <a:gd name="connsiteY40" fmla="*/ 115117 h 662520"/>
              <a:gd name="connsiteX41" fmla="*/ 361534 w 1087844"/>
              <a:gd name="connsiteY41" fmla="*/ 133668 h 662520"/>
              <a:gd name="connsiteX42" fmla="*/ 344678 w 1087844"/>
              <a:gd name="connsiteY42" fmla="*/ 155828 h 662520"/>
              <a:gd name="connsiteX43" fmla="*/ 266776 w 1087844"/>
              <a:gd name="connsiteY43" fmla="*/ 155828 h 662520"/>
              <a:gd name="connsiteX44" fmla="*/ 266776 w 1087844"/>
              <a:gd name="connsiteY44" fmla="*/ 33807 h 662520"/>
              <a:gd name="connsiteX45" fmla="*/ 311007 w 1087844"/>
              <a:gd name="connsiteY45" fmla="*/ 19813 h 662520"/>
              <a:gd name="connsiteX46" fmla="*/ 358057 w 1087844"/>
              <a:gd name="connsiteY46" fmla="*/ 9159 h 662520"/>
              <a:gd name="connsiteX47" fmla="*/ 408279 w 1087844"/>
              <a:gd name="connsiteY47" fmla="*/ 2378 h 662520"/>
              <a:gd name="connsiteX48" fmla="*/ 462026 w 1087844"/>
              <a:gd name="connsiteY48" fmla="*/ 0 h 662520"/>
              <a:gd name="connsiteX49" fmla="*/ 517396 w 1087844"/>
              <a:gd name="connsiteY49" fmla="*/ 3158 h 662520"/>
              <a:gd name="connsiteX50" fmla="*/ 565690 w 1087844"/>
              <a:gd name="connsiteY50" fmla="*/ 12853 h 662520"/>
              <a:gd name="connsiteX51" fmla="*/ 606381 w 1087844"/>
              <a:gd name="connsiteY51" fmla="*/ 29412 h 662520"/>
              <a:gd name="connsiteX52" fmla="*/ 638944 w 1087844"/>
              <a:gd name="connsiteY52" fmla="*/ 53163 h 662520"/>
              <a:gd name="connsiteX53" fmla="*/ 662854 w 1087844"/>
              <a:gd name="connsiteY53" fmla="*/ 84435 h 662520"/>
              <a:gd name="connsiteX54" fmla="*/ 677585 w 1087844"/>
              <a:gd name="connsiteY54" fmla="*/ 123555 h 662520"/>
              <a:gd name="connsiteX55" fmla="*/ 682612 w 1087844"/>
              <a:gd name="connsiteY55" fmla="*/ 170853 h 662520"/>
              <a:gd name="connsiteX56" fmla="*/ 676454 w 1087844"/>
              <a:gd name="connsiteY56" fmla="*/ 219568 h 662520"/>
              <a:gd name="connsiteX57" fmla="*/ 658582 w 1087844"/>
              <a:gd name="connsiteY57" fmla="*/ 258234 h 662520"/>
              <a:gd name="connsiteX58" fmla="*/ 629896 w 1087844"/>
              <a:gd name="connsiteY58" fmla="*/ 287843 h 662520"/>
              <a:gd name="connsiteX59" fmla="*/ 591297 w 1087844"/>
              <a:gd name="connsiteY59" fmla="*/ 309388 h 662520"/>
              <a:gd name="connsiteX60" fmla="*/ 543687 w 1087844"/>
              <a:gd name="connsiteY60" fmla="*/ 323862 h 662520"/>
              <a:gd name="connsiteX61" fmla="*/ 543687 w 1087844"/>
              <a:gd name="connsiteY61" fmla="*/ 327609 h 662520"/>
              <a:gd name="connsiteX62" fmla="*/ 597682 w 1087844"/>
              <a:gd name="connsiteY62" fmla="*/ 340566 h 662520"/>
              <a:gd name="connsiteX63" fmla="*/ 639284 w 1087844"/>
              <a:gd name="connsiteY63" fmla="*/ 362534 h 662520"/>
              <a:gd name="connsiteX64" fmla="*/ 668720 w 1087844"/>
              <a:gd name="connsiteY64" fmla="*/ 393513 h 662520"/>
              <a:gd name="connsiteX65" fmla="*/ 686216 w 1087844"/>
              <a:gd name="connsiteY65" fmla="*/ 433502 h 662520"/>
              <a:gd name="connsiteX66" fmla="*/ 691997 w 1087844"/>
              <a:gd name="connsiteY66" fmla="*/ 482498 h 662520"/>
              <a:gd name="connsiteX67" fmla="*/ 686937 w 1087844"/>
              <a:gd name="connsiteY67" fmla="*/ 527743 h 662520"/>
              <a:gd name="connsiteX68" fmla="*/ 671660 w 1087844"/>
              <a:gd name="connsiteY68" fmla="*/ 567021 h 662520"/>
              <a:gd name="connsiteX69" fmla="*/ 647123 w 1087844"/>
              <a:gd name="connsiteY69" fmla="*/ 600232 h 662520"/>
              <a:gd name="connsiteX70" fmla="*/ 614286 w 1087844"/>
              <a:gd name="connsiteY70" fmla="*/ 627278 h 662520"/>
              <a:gd name="connsiteX71" fmla="*/ 574107 w 1087844"/>
              <a:gd name="connsiteY71" fmla="*/ 648061 h 662520"/>
              <a:gd name="connsiteX72" fmla="*/ 527545 w 1087844"/>
              <a:gd name="connsiteY72" fmla="*/ 662482 h 662520"/>
              <a:gd name="connsiteX73" fmla="*/ 1087844 w 1087844"/>
              <a:gd name="connsiteY73" fmla="*/ 662495 h 662520"/>
              <a:gd name="connsiteX0" fmla="*/ 210457 w 1087844"/>
              <a:gd name="connsiteY0" fmla="*/ 472909 h 662520"/>
              <a:gd name="connsiteX1" fmla="*/ 193347 w 1087844"/>
              <a:gd name="connsiteY1" fmla="*/ 514232 h 662520"/>
              <a:gd name="connsiteX2" fmla="*/ 171675 w 1087844"/>
              <a:gd name="connsiteY2" fmla="*/ 550937 h 662520"/>
              <a:gd name="connsiteX3" fmla="*/ 145588 w 1087844"/>
              <a:gd name="connsiteY3" fmla="*/ 582945 h 662520"/>
              <a:gd name="connsiteX4" fmla="*/ 115230 w 1087844"/>
              <a:gd name="connsiteY4" fmla="*/ 610181 h 662520"/>
              <a:gd name="connsiteX5" fmla="*/ 80749 w 1087844"/>
              <a:gd name="connsiteY5" fmla="*/ 632569 h 662520"/>
              <a:gd name="connsiteX6" fmla="*/ 42290 w 1087844"/>
              <a:gd name="connsiteY6" fmla="*/ 650033 h 662520"/>
              <a:gd name="connsiteX7" fmla="*/ 0 w 1087844"/>
              <a:gd name="connsiteY7" fmla="*/ 662495 h 662520"/>
              <a:gd name="connsiteX8" fmla="*/ 319163 w 1087844"/>
              <a:gd name="connsiteY8" fmla="*/ 662520 h 662520"/>
              <a:gd name="connsiteX9" fmla="*/ 298168 w 1087844"/>
              <a:gd name="connsiteY9" fmla="*/ 658030 h 662520"/>
              <a:gd name="connsiteX10" fmla="*/ 278374 w 1087844"/>
              <a:gd name="connsiteY10" fmla="*/ 652783 h 662520"/>
              <a:gd name="connsiteX11" fmla="*/ 259538 w 1087844"/>
              <a:gd name="connsiteY11" fmla="*/ 646826 h 662520"/>
              <a:gd name="connsiteX12" fmla="*/ 241414 w 1087844"/>
              <a:gd name="connsiteY12" fmla="*/ 640206 h 662520"/>
              <a:gd name="connsiteX13" fmla="*/ 241414 w 1087844"/>
              <a:gd name="connsiteY13" fmla="*/ 516293 h 662520"/>
              <a:gd name="connsiteX14" fmla="*/ 323088 w 1087844"/>
              <a:gd name="connsiteY14" fmla="*/ 516293 h 662520"/>
              <a:gd name="connsiteX15" fmla="*/ 339204 w 1087844"/>
              <a:gd name="connsiteY15" fmla="*/ 539439 h 662520"/>
              <a:gd name="connsiteX16" fmla="*/ 362628 w 1087844"/>
              <a:gd name="connsiteY16" fmla="*/ 559242 h 662520"/>
              <a:gd name="connsiteX17" fmla="*/ 393973 w 1087844"/>
              <a:gd name="connsiteY17" fmla="*/ 573062 h 662520"/>
              <a:gd name="connsiteX18" fmla="*/ 433857 w 1087844"/>
              <a:gd name="connsiteY18" fmla="*/ 578256 h 662520"/>
              <a:gd name="connsiteX19" fmla="*/ 476360 w 1087844"/>
              <a:gd name="connsiteY19" fmla="*/ 571758 h 662520"/>
              <a:gd name="connsiteX20" fmla="*/ 511299 w 1087844"/>
              <a:gd name="connsiteY20" fmla="*/ 552322 h 662520"/>
              <a:gd name="connsiteX21" fmla="*/ 534973 w 1087844"/>
              <a:gd name="connsiteY21" fmla="*/ 520038 h 662520"/>
              <a:gd name="connsiteX22" fmla="*/ 543687 w 1087844"/>
              <a:gd name="connsiteY22" fmla="*/ 474992 h 662520"/>
              <a:gd name="connsiteX23" fmla="*/ 536425 w 1087844"/>
              <a:gd name="connsiteY23" fmla="*/ 430240 h 662520"/>
              <a:gd name="connsiteX24" fmla="*/ 514467 w 1087844"/>
              <a:gd name="connsiteY24" fmla="*/ 398602 h 662520"/>
              <a:gd name="connsiteX25" fmla="*/ 477550 w 1087844"/>
              <a:gd name="connsiteY25" fmla="*/ 379812 h 662520"/>
              <a:gd name="connsiteX26" fmla="*/ 425412 w 1087844"/>
              <a:gd name="connsiteY26" fmla="*/ 373608 h 662520"/>
              <a:gd name="connsiteX27" fmla="*/ 376593 w 1087844"/>
              <a:gd name="connsiteY27" fmla="*/ 373608 h 662520"/>
              <a:gd name="connsiteX28" fmla="*/ 376593 w 1087844"/>
              <a:gd name="connsiteY28" fmla="*/ 286308 h 662520"/>
              <a:gd name="connsiteX29" fmla="*/ 417893 w 1087844"/>
              <a:gd name="connsiteY29" fmla="*/ 286308 h 662520"/>
              <a:gd name="connsiteX30" fmla="*/ 471564 w 1087844"/>
              <a:gd name="connsiteY30" fmla="*/ 280133 h 662520"/>
              <a:gd name="connsiteX31" fmla="*/ 510008 w 1087844"/>
              <a:gd name="connsiteY31" fmla="*/ 261550 h 662520"/>
              <a:gd name="connsiteX32" fmla="*/ 533138 w 1087844"/>
              <a:gd name="connsiteY32" fmla="*/ 230469 h 662520"/>
              <a:gd name="connsiteX33" fmla="*/ 540867 w 1087844"/>
              <a:gd name="connsiteY33" fmla="*/ 186804 h 662520"/>
              <a:gd name="connsiteX34" fmla="*/ 535514 w 1087844"/>
              <a:gd name="connsiteY34" fmla="*/ 149115 h 662520"/>
              <a:gd name="connsiteX35" fmla="*/ 519161 w 1087844"/>
              <a:gd name="connsiteY35" fmla="*/ 121104 h 662520"/>
              <a:gd name="connsiteX36" fmla="*/ 491366 w 1087844"/>
              <a:gd name="connsiteY36" fmla="*/ 103651 h 662520"/>
              <a:gd name="connsiteX37" fmla="*/ 451688 w 1087844"/>
              <a:gd name="connsiteY37" fmla="*/ 97637 h 662520"/>
              <a:gd name="connsiteX38" fmla="*/ 414244 w 1087844"/>
              <a:gd name="connsiteY38" fmla="*/ 102374 h 662520"/>
              <a:gd name="connsiteX39" fmla="*/ 384457 w 1087844"/>
              <a:gd name="connsiteY39" fmla="*/ 115117 h 662520"/>
              <a:gd name="connsiteX40" fmla="*/ 361534 w 1087844"/>
              <a:gd name="connsiteY40" fmla="*/ 133668 h 662520"/>
              <a:gd name="connsiteX41" fmla="*/ 344678 w 1087844"/>
              <a:gd name="connsiteY41" fmla="*/ 155828 h 662520"/>
              <a:gd name="connsiteX42" fmla="*/ 266776 w 1087844"/>
              <a:gd name="connsiteY42" fmla="*/ 155828 h 662520"/>
              <a:gd name="connsiteX43" fmla="*/ 266776 w 1087844"/>
              <a:gd name="connsiteY43" fmla="*/ 33807 h 662520"/>
              <a:gd name="connsiteX44" fmla="*/ 311007 w 1087844"/>
              <a:gd name="connsiteY44" fmla="*/ 19813 h 662520"/>
              <a:gd name="connsiteX45" fmla="*/ 358057 w 1087844"/>
              <a:gd name="connsiteY45" fmla="*/ 9159 h 662520"/>
              <a:gd name="connsiteX46" fmla="*/ 408279 w 1087844"/>
              <a:gd name="connsiteY46" fmla="*/ 2378 h 662520"/>
              <a:gd name="connsiteX47" fmla="*/ 462026 w 1087844"/>
              <a:gd name="connsiteY47" fmla="*/ 0 h 662520"/>
              <a:gd name="connsiteX48" fmla="*/ 517396 w 1087844"/>
              <a:gd name="connsiteY48" fmla="*/ 3158 h 662520"/>
              <a:gd name="connsiteX49" fmla="*/ 565690 w 1087844"/>
              <a:gd name="connsiteY49" fmla="*/ 12853 h 662520"/>
              <a:gd name="connsiteX50" fmla="*/ 606381 w 1087844"/>
              <a:gd name="connsiteY50" fmla="*/ 29412 h 662520"/>
              <a:gd name="connsiteX51" fmla="*/ 638944 w 1087844"/>
              <a:gd name="connsiteY51" fmla="*/ 53163 h 662520"/>
              <a:gd name="connsiteX52" fmla="*/ 662854 w 1087844"/>
              <a:gd name="connsiteY52" fmla="*/ 84435 h 662520"/>
              <a:gd name="connsiteX53" fmla="*/ 677585 w 1087844"/>
              <a:gd name="connsiteY53" fmla="*/ 123555 h 662520"/>
              <a:gd name="connsiteX54" fmla="*/ 682612 w 1087844"/>
              <a:gd name="connsiteY54" fmla="*/ 170853 h 662520"/>
              <a:gd name="connsiteX55" fmla="*/ 676454 w 1087844"/>
              <a:gd name="connsiteY55" fmla="*/ 219568 h 662520"/>
              <a:gd name="connsiteX56" fmla="*/ 658582 w 1087844"/>
              <a:gd name="connsiteY56" fmla="*/ 258234 h 662520"/>
              <a:gd name="connsiteX57" fmla="*/ 629896 w 1087844"/>
              <a:gd name="connsiteY57" fmla="*/ 287843 h 662520"/>
              <a:gd name="connsiteX58" fmla="*/ 591297 w 1087844"/>
              <a:gd name="connsiteY58" fmla="*/ 309388 h 662520"/>
              <a:gd name="connsiteX59" fmla="*/ 543687 w 1087844"/>
              <a:gd name="connsiteY59" fmla="*/ 323862 h 662520"/>
              <a:gd name="connsiteX60" fmla="*/ 543687 w 1087844"/>
              <a:gd name="connsiteY60" fmla="*/ 327609 h 662520"/>
              <a:gd name="connsiteX61" fmla="*/ 597682 w 1087844"/>
              <a:gd name="connsiteY61" fmla="*/ 340566 h 662520"/>
              <a:gd name="connsiteX62" fmla="*/ 639284 w 1087844"/>
              <a:gd name="connsiteY62" fmla="*/ 362534 h 662520"/>
              <a:gd name="connsiteX63" fmla="*/ 668720 w 1087844"/>
              <a:gd name="connsiteY63" fmla="*/ 393513 h 662520"/>
              <a:gd name="connsiteX64" fmla="*/ 686216 w 1087844"/>
              <a:gd name="connsiteY64" fmla="*/ 433502 h 662520"/>
              <a:gd name="connsiteX65" fmla="*/ 691997 w 1087844"/>
              <a:gd name="connsiteY65" fmla="*/ 482498 h 662520"/>
              <a:gd name="connsiteX66" fmla="*/ 686937 w 1087844"/>
              <a:gd name="connsiteY66" fmla="*/ 527743 h 662520"/>
              <a:gd name="connsiteX67" fmla="*/ 671660 w 1087844"/>
              <a:gd name="connsiteY67" fmla="*/ 567021 h 662520"/>
              <a:gd name="connsiteX68" fmla="*/ 647123 w 1087844"/>
              <a:gd name="connsiteY68" fmla="*/ 600232 h 662520"/>
              <a:gd name="connsiteX69" fmla="*/ 614286 w 1087844"/>
              <a:gd name="connsiteY69" fmla="*/ 627278 h 662520"/>
              <a:gd name="connsiteX70" fmla="*/ 574107 w 1087844"/>
              <a:gd name="connsiteY70" fmla="*/ 648061 h 662520"/>
              <a:gd name="connsiteX71" fmla="*/ 527545 w 1087844"/>
              <a:gd name="connsiteY71" fmla="*/ 662482 h 662520"/>
              <a:gd name="connsiteX72" fmla="*/ 1087844 w 1087844"/>
              <a:gd name="connsiteY72" fmla="*/ 662495 h 662520"/>
              <a:gd name="connsiteX0" fmla="*/ 193347 w 1087844"/>
              <a:gd name="connsiteY0" fmla="*/ 514232 h 662520"/>
              <a:gd name="connsiteX1" fmla="*/ 171675 w 1087844"/>
              <a:gd name="connsiteY1" fmla="*/ 550937 h 662520"/>
              <a:gd name="connsiteX2" fmla="*/ 145588 w 1087844"/>
              <a:gd name="connsiteY2" fmla="*/ 582945 h 662520"/>
              <a:gd name="connsiteX3" fmla="*/ 115230 w 1087844"/>
              <a:gd name="connsiteY3" fmla="*/ 610181 h 662520"/>
              <a:gd name="connsiteX4" fmla="*/ 80749 w 1087844"/>
              <a:gd name="connsiteY4" fmla="*/ 632569 h 662520"/>
              <a:gd name="connsiteX5" fmla="*/ 42290 w 1087844"/>
              <a:gd name="connsiteY5" fmla="*/ 650033 h 662520"/>
              <a:gd name="connsiteX6" fmla="*/ 0 w 1087844"/>
              <a:gd name="connsiteY6" fmla="*/ 662495 h 662520"/>
              <a:gd name="connsiteX7" fmla="*/ 319163 w 1087844"/>
              <a:gd name="connsiteY7" fmla="*/ 662520 h 662520"/>
              <a:gd name="connsiteX8" fmla="*/ 298168 w 1087844"/>
              <a:gd name="connsiteY8" fmla="*/ 658030 h 662520"/>
              <a:gd name="connsiteX9" fmla="*/ 278374 w 1087844"/>
              <a:gd name="connsiteY9" fmla="*/ 652783 h 662520"/>
              <a:gd name="connsiteX10" fmla="*/ 259538 w 1087844"/>
              <a:gd name="connsiteY10" fmla="*/ 646826 h 662520"/>
              <a:gd name="connsiteX11" fmla="*/ 241414 w 1087844"/>
              <a:gd name="connsiteY11" fmla="*/ 640206 h 662520"/>
              <a:gd name="connsiteX12" fmla="*/ 241414 w 1087844"/>
              <a:gd name="connsiteY12" fmla="*/ 516293 h 662520"/>
              <a:gd name="connsiteX13" fmla="*/ 323088 w 1087844"/>
              <a:gd name="connsiteY13" fmla="*/ 516293 h 662520"/>
              <a:gd name="connsiteX14" fmla="*/ 339204 w 1087844"/>
              <a:gd name="connsiteY14" fmla="*/ 539439 h 662520"/>
              <a:gd name="connsiteX15" fmla="*/ 362628 w 1087844"/>
              <a:gd name="connsiteY15" fmla="*/ 559242 h 662520"/>
              <a:gd name="connsiteX16" fmla="*/ 393973 w 1087844"/>
              <a:gd name="connsiteY16" fmla="*/ 573062 h 662520"/>
              <a:gd name="connsiteX17" fmla="*/ 433857 w 1087844"/>
              <a:gd name="connsiteY17" fmla="*/ 578256 h 662520"/>
              <a:gd name="connsiteX18" fmla="*/ 476360 w 1087844"/>
              <a:gd name="connsiteY18" fmla="*/ 571758 h 662520"/>
              <a:gd name="connsiteX19" fmla="*/ 511299 w 1087844"/>
              <a:gd name="connsiteY19" fmla="*/ 552322 h 662520"/>
              <a:gd name="connsiteX20" fmla="*/ 534973 w 1087844"/>
              <a:gd name="connsiteY20" fmla="*/ 520038 h 662520"/>
              <a:gd name="connsiteX21" fmla="*/ 543687 w 1087844"/>
              <a:gd name="connsiteY21" fmla="*/ 474992 h 662520"/>
              <a:gd name="connsiteX22" fmla="*/ 536425 w 1087844"/>
              <a:gd name="connsiteY22" fmla="*/ 430240 h 662520"/>
              <a:gd name="connsiteX23" fmla="*/ 514467 w 1087844"/>
              <a:gd name="connsiteY23" fmla="*/ 398602 h 662520"/>
              <a:gd name="connsiteX24" fmla="*/ 477550 w 1087844"/>
              <a:gd name="connsiteY24" fmla="*/ 379812 h 662520"/>
              <a:gd name="connsiteX25" fmla="*/ 425412 w 1087844"/>
              <a:gd name="connsiteY25" fmla="*/ 373608 h 662520"/>
              <a:gd name="connsiteX26" fmla="*/ 376593 w 1087844"/>
              <a:gd name="connsiteY26" fmla="*/ 373608 h 662520"/>
              <a:gd name="connsiteX27" fmla="*/ 376593 w 1087844"/>
              <a:gd name="connsiteY27" fmla="*/ 286308 h 662520"/>
              <a:gd name="connsiteX28" fmla="*/ 417893 w 1087844"/>
              <a:gd name="connsiteY28" fmla="*/ 286308 h 662520"/>
              <a:gd name="connsiteX29" fmla="*/ 471564 w 1087844"/>
              <a:gd name="connsiteY29" fmla="*/ 280133 h 662520"/>
              <a:gd name="connsiteX30" fmla="*/ 510008 w 1087844"/>
              <a:gd name="connsiteY30" fmla="*/ 261550 h 662520"/>
              <a:gd name="connsiteX31" fmla="*/ 533138 w 1087844"/>
              <a:gd name="connsiteY31" fmla="*/ 230469 h 662520"/>
              <a:gd name="connsiteX32" fmla="*/ 540867 w 1087844"/>
              <a:gd name="connsiteY32" fmla="*/ 186804 h 662520"/>
              <a:gd name="connsiteX33" fmla="*/ 535514 w 1087844"/>
              <a:gd name="connsiteY33" fmla="*/ 149115 h 662520"/>
              <a:gd name="connsiteX34" fmla="*/ 519161 w 1087844"/>
              <a:gd name="connsiteY34" fmla="*/ 121104 h 662520"/>
              <a:gd name="connsiteX35" fmla="*/ 491366 w 1087844"/>
              <a:gd name="connsiteY35" fmla="*/ 103651 h 662520"/>
              <a:gd name="connsiteX36" fmla="*/ 451688 w 1087844"/>
              <a:gd name="connsiteY36" fmla="*/ 97637 h 662520"/>
              <a:gd name="connsiteX37" fmla="*/ 414244 w 1087844"/>
              <a:gd name="connsiteY37" fmla="*/ 102374 h 662520"/>
              <a:gd name="connsiteX38" fmla="*/ 384457 w 1087844"/>
              <a:gd name="connsiteY38" fmla="*/ 115117 h 662520"/>
              <a:gd name="connsiteX39" fmla="*/ 361534 w 1087844"/>
              <a:gd name="connsiteY39" fmla="*/ 133668 h 662520"/>
              <a:gd name="connsiteX40" fmla="*/ 344678 w 1087844"/>
              <a:gd name="connsiteY40" fmla="*/ 155828 h 662520"/>
              <a:gd name="connsiteX41" fmla="*/ 266776 w 1087844"/>
              <a:gd name="connsiteY41" fmla="*/ 155828 h 662520"/>
              <a:gd name="connsiteX42" fmla="*/ 266776 w 1087844"/>
              <a:gd name="connsiteY42" fmla="*/ 33807 h 662520"/>
              <a:gd name="connsiteX43" fmla="*/ 311007 w 1087844"/>
              <a:gd name="connsiteY43" fmla="*/ 19813 h 662520"/>
              <a:gd name="connsiteX44" fmla="*/ 358057 w 1087844"/>
              <a:gd name="connsiteY44" fmla="*/ 9159 h 662520"/>
              <a:gd name="connsiteX45" fmla="*/ 408279 w 1087844"/>
              <a:gd name="connsiteY45" fmla="*/ 2378 h 662520"/>
              <a:gd name="connsiteX46" fmla="*/ 462026 w 1087844"/>
              <a:gd name="connsiteY46" fmla="*/ 0 h 662520"/>
              <a:gd name="connsiteX47" fmla="*/ 517396 w 1087844"/>
              <a:gd name="connsiteY47" fmla="*/ 3158 h 662520"/>
              <a:gd name="connsiteX48" fmla="*/ 565690 w 1087844"/>
              <a:gd name="connsiteY48" fmla="*/ 12853 h 662520"/>
              <a:gd name="connsiteX49" fmla="*/ 606381 w 1087844"/>
              <a:gd name="connsiteY49" fmla="*/ 29412 h 662520"/>
              <a:gd name="connsiteX50" fmla="*/ 638944 w 1087844"/>
              <a:gd name="connsiteY50" fmla="*/ 53163 h 662520"/>
              <a:gd name="connsiteX51" fmla="*/ 662854 w 1087844"/>
              <a:gd name="connsiteY51" fmla="*/ 84435 h 662520"/>
              <a:gd name="connsiteX52" fmla="*/ 677585 w 1087844"/>
              <a:gd name="connsiteY52" fmla="*/ 123555 h 662520"/>
              <a:gd name="connsiteX53" fmla="*/ 682612 w 1087844"/>
              <a:gd name="connsiteY53" fmla="*/ 170853 h 662520"/>
              <a:gd name="connsiteX54" fmla="*/ 676454 w 1087844"/>
              <a:gd name="connsiteY54" fmla="*/ 219568 h 662520"/>
              <a:gd name="connsiteX55" fmla="*/ 658582 w 1087844"/>
              <a:gd name="connsiteY55" fmla="*/ 258234 h 662520"/>
              <a:gd name="connsiteX56" fmla="*/ 629896 w 1087844"/>
              <a:gd name="connsiteY56" fmla="*/ 287843 h 662520"/>
              <a:gd name="connsiteX57" fmla="*/ 591297 w 1087844"/>
              <a:gd name="connsiteY57" fmla="*/ 309388 h 662520"/>
              <a:gd name="connsiteX58" fmla="*/ 543687 w 1087844"/>
              <a:gd name="connsiteY58" fmla="*/ 323862 h 662520"/>
              <a:gd name="connsiteX59" fmla="*/ 543687 w 1087844"/>
              <a:gd name="connsiteY59" fmla="*/ 327609 h 662520"/>
              <a:gd name="connsiteX60" fmla="*/ 597682 w 1087844"/>
              <a:gd name="connsiteY60" fmla="*/ 340566 h 662520"/>
              <a:gd name="connsiteX61" fmla="*/ 639284 w 1087844"/>
              <a:gd name="connsiteY61" fmla="*/ 362534 h 662520"/>
              <a:gd name="connsiteX62" fmla="*/ 668720 w 1087844"/>
              <a:gd name="connsiteY62" fmla="*/ 393513 h 662520"/>
              <a:gd name="connsiteX63" fmla="*/ 686216 w 1087844"/>
              <a:gd name="connsiteY63" fmla="*/ 433502 h 662520"/>
              <a:gd name="connsiteX64" fmla="*/ 691997 w 1087844"/>
              <a:gd name="connsiteY64" fmla="*/ 482498 h 662520"/>
              <a:gd name="connsiteX65" fmla="*/ 686937 w 1087844"/>
              <a:gd name="connsiteY65" fmla="*/ 527743 h 662520"/>
              <a:gd name="connsiteX66" fmla="*/ 671660 w 1087844"/>
              <a:gd name="connsiteY66" fmla="*/ 567021 h 662520"/>
              <a:gd name="connsiteX67" fmla="*/ 647123 w 1087844"/>
              <a:gd name="connsiteY67" fmla="*/ 600232 h 662520"/>
              <a:gd name="connsiteX68" fmla="*/ 614286 w 1087844"/>
              <a:gd name="connsiteY68" fmla="*/ 627278 h 662520"/>
              <a:gd name="connsiteX69" fmla="*/ 574107 w 1087844"/>
              <a:gd name="connsiteY69" fmla="*/ 648061 h 662520"/>
              <a:gd name="connsiteX70" fmla="*/ 527545 w 1087844"/>
              <a:gd name="connsiteY70" fmla="*/ 662482 h 662520"/>
              <a:gd name="connsiteX71" fmla="*/ 1087844 w 1087844"/>
              <a:gd name="connsiteY71" fmla="*/ 662495 h 662520"/>
              <a:gd name="connsiteX0" fmla="*/ 171675 w 1087844"/>
              <a:gd name="connsiteY0" fmla="*/ 550937 h 662520"/>
              <a:gd name="connsiteX1" fmla="*/ 145588 w 1087844"/>
              <a:gd name="connsiteY1" fmla="*/ 582945 h 662520"/>
              <a:gd name="connsiteX2" fmla="*/ 115230 w 1087844"/>
              <a:gd name="connsiteY2" fmla="*/ 610181 h 662520"/>
              <a:gd name="connsiteX3" fmla="*/ 80749 w 1087844"/>
              <a:gd name="connsiteY3" fmla="*/ 632569 h 662520"/>
              <a:gd name="connsiteX4" fmla="*/ 42290 w 1087844"/>
              <a:gd name="connsiteY4" fmla="*/ 650033 h 662520"/>
              <a:gd name="connsiteX5" fmla="*/ 0 w 1087844"/>
              <a:gd name="connsiteY5" fmla="*/ 662495 h 662520"/>
              <a:gd name="connsiteX6" fmla="*/ 319163 w 1087844"/>
              <a:gd name="connsiteY6" fmla="*/ 662520 h 662520"/>
              <a:gd name="connsiteX7" fmla="*/ 298168 w 1087844"/>
              <a:gd name="connsiteY7" fmla="*/ 658030 h 662520"/>
              <a:gd name="connsiteX8" fmla="*/ 278374 w 1087844"/>
              <a:gd name="connsiteY8" fmla="*/ 652783 h 662520"/>
              <a:gd name="connsiteX9" fmla="*/ 259538 w 1087844"/>
              <a:gd name="connsiteY9" fmla="*/ 646826 h 662520"/>
              <a:gd name="connsiteX10" fmla="*/ 241414 w 1087844"/>
              <a:gd name="connsiteY10" fmla="*/ 640206 h 662520"/>
              <a:gd name="connsiteX11" fmla="*/ 241414 w 1087844"/>
              <a:gd name="connsiteY11" fmla="*/ 516293 h 662520"/>
              <a:gd name="connsiteX12" fmla="*/ 323088 w 1087844"/>
              <a:gd name="connsiteY12" fmla="*/ 516293 h 662520"/>
              <a:gd name="connsiteX13" fmla="*/ 339204 w 1087844"/>
              <a:gd name="connsiteY13" fmla="*/ 539439 h 662520"/>
              <a:gd name="connsiteX14" fmla="*/ 362628 w 1087844"/>
              <a:gd name="connsiteY14" fmla="*/ 559242 h 662520"/>
              <a:gd name="connsiteX15" fmla="*/ 393973 w 1087844"/>
              <a:gd name="connsiteY15" fmla="*/ 573062 h 662520"/>
              <a:gd name="connsiteX16" fmla="*/ 433857 w 1087844"/>
              <a:gd name="connsiteY16" fmla="*/ 578256 h 662520"/>
              <a:gd name="connsiteX17" fmla="*/ 476360 w 1087844"/>
              <a:gd name="connsiteY17" fmla="*/ 571758 h 662520"/>
              <a:gd name="connsiteX18" fmla="*/ 511299 w 1087844"/>
              <a:gd name="connsiteY18" fmla="*/ 552322 h 662520"/>
              <a:gd name="connsiteX19" fmla="*/ 534973 w 1087844"/>
              <a:gd name="connsiteY19" fmla="*/ 520038 h 662520"/>
              <a:gd name="connsiteX20" fmla="*/ 543687 w 1087844"/>
              <a:gd name="connsiteY20" fmla="*/ 474992 h 662520"/>
              <a:gd name="connsiteX21" fmla="*/ 536425 w 1087844"/>
              <a:gd name="connsiteY21" fmla="*/ 430240 h 662520"/>
              <a:gd name="connsiteX22" fmla="*/ 514467 w 1087844"/>
              <a:gd name="connsiteY22" fmla="*/ 398602 h 662520"/>
              <a:gd name="connsiteX23" fmla="*/ 477550 w 1087844"/>
              <a:gd name="connsiteY23" fmla="*/ 379812 h 662520"/>
              <a:gd name="connsiteX24" fmla="*/ 425412 w 1087844"/>
              <a:gd name="connsiteY24" fmla="*/ 373608 h 662520"/>
              <a:gd name="connsiteX25" fmla="*/ 376593 w 1087844"/>
              <a:gd name="connsiteY25" fmla="*/ 373608 h 662520"/>
              <a:gd name="connsiteX26" fmla="*/ 376593 w 1087844"/>
              <a:gd name="connsiteY26" fmla="*/ 286308 h 662520"/>
              <a:gd name="connsiteX27" fmla="*/ 417893 w 1087844"/>
              <a:gd name="connsiteY27" fmla="*/ 286308 h 662520"/>
              <a:gd name="connsiteX28" fmla="*/ 471564 w 1087844"/>
              <a:gd name="connsiteY28" fmla="*/ 280133 h 662520"/>
              <a:gd name="connsiteX29" fmla="*/ 510008 w 1087844"/>
              <a:gd name="connsiteY29" fmla="*/ 261550 h 662520"/>
              <a:gd name="connsiteX30" fmla="*/ 533138 w 1087844"/>
              <a:gd name="connsiteY30" fmla="*/ 230469 h 662520"/>
              <a:gd name="connsiteX31" fmla="*/ 540867 w 1087844"/>
              <a:gd name="connsiteY31" fmla="*/ 186804 h 662520"/>
              <a:gd name="connsiteX32" fmla="*/ 535514 w 1087844"/>
              <a:gd name="connsiteY32" fmla="*/ 149115 h 662520"/>
              <a:gd name="connsiteX33" fmla="*/ 519161 w 1087844"/>
              <a:gd name="connsiteY33" fmla="*/ 121104 h 662520"/>
              <a:gd name="connsiteX34" fmla="*/ 491366 w 1087844"/>
              <a:gd name="connsiteY34" fmla="*/ 103651 h 662520"/>
              <a:gd name="connsiteX35" fmla="*/ 451688 w 1087844"/>
              <a:gd name="connsiteY35" fmla="*/ 97637 h 662520"/>
              <a:gd name="connsiteX36" fmla="*/ 414244 w 1087844"/>
              <a:gd name="connsiteY36" fmla="*/ 102374 h 662520"/>
              <a:gd name="connsiteX37" fmla="*/ 384457 w 1087844"/>
              <a:gd name="connsiteY37" fmla="*/ 115117 h 662520"/>
              <a:gd name="connsiteX38" fmla="*/ 361534 w 1087844"/>
              <a:gd name="connsiteY38" fmla="*/ 133668 h 662520"/>
              <a:gd name="connsiteX39" fmla="*/ 344678 w 1087844"/>
              <a:gd name="connsiteY39" fmla="*/ 155828 h 662520"/>
              <a:gd name="connsiteX40" fmla="*/ 266776 w 1087844"/>
              <a:gd name="connsiteY40" fmla="*/ 155828 h 662520"/>
              <a:gd name="connsiteX41" fmla="*/ 266776 w 1087844"/>
              <a:gd name="connsiteY41" fmla="*/ 33807 h 662520"/>
              <a:gd name="connsiteX42" fmla="*/ 311007 w 1087844"/>
              <a:gd name="connsiteY42" fmla="*/ 19813 h 662520"/>
              <a:gd name="connsiteX43" fmla="*/ 358057 w 1087844"/>
              <a:gd name="connsiteY43" fmla="*/ 9159 h 662520"/>
              <a:gd name="connsiteX44" fmla="*/ 408279 w 1087844"/>
              <a:gd name="connsiteY44" fmla="*/ 2378 h 662520"/>
              <a:gd name="connsiteX45" fmla="*/ 462026 w 1087844"/>
              <a:gd name="connsiteY45" fmla="*/ 0 h 662520"/>
              <a:gd name="connsiteX46" fmla="*/ 517396 w 1087844"/>
              <a:gd name="connsiteY46" fmla="*/ 3158 h 662520"/>
              <a:gd name="connsiteX47" fmla="*/ 565690 w 1087844"/>
              <a:gd name="connsiteY47" fmla="*/ 12853 h 662520"/>
              <a:gd name="connsiteX48" fmla="*/ 606381 w 1087844"/>
              <a:gd name="connsiteY48" fmla="*/ 29412 h 662520"/>
              <a:gd name="connsiteX49" fmla="*/ 638944 w 1087844"/>
              <a:gd name="connsiteY49" fmla="*/ 53163 h 662520"/>
              <a:gd name="connsiteX50" fmla="*/ 662854 w 1087844"/>
              <a:gd name="connsiteY50" fmla="*/ 84435 h 662520"/>
              <a:gd name="connsiteX51" fmla="*/ 677585 w 1087844"/>
              <a:gd name="connsiteY51" fmla="*/ 123555 h 662520"/>
              <a:gd name="connsiteX52" fmla="*/ 682612 w 1087844"/>
              <a:gd name="connsiteY52" fmla="*/ 170853 h 662520"/>
              <a:gd name="connsiteX53" fmla="*/ 676454 w 1087844"/>
              <a:gd name="connsiteY53" fmla="*/ 219568 h 662520"/>
              <a:gd name="connsiteX54" fmla="*/ 658582 w 1087844"/>
              <a:gd name="connsiteY54" fmla="*/ 258234 h 662520"/>
              <a:gd name="connsiteX55" fmla="*/ 629896 w 1087844"/>
              <a:gd name="connsiteY55" fmla="*/ 287843 h 662520"/>
              <a:gd name="connsiteX56" fmla="*/ 591297 w 1087844"/>
              <a:gd name="connsiteY56" fmla="*/ 309388 h 662520"/>
              <a:gd name="connsiteX57" fmla="*/ 543687 w 1087844"/>
              <a:gd name="connsiteY57" fmla="*/ 323862 h 662520"/>
              <a:gd name="connsiteX58" fmla="*/ 543687 w 1087844"/>
              <a:gd name="connsiteY58" fmla="*/ 327609 h 662520"/>
              <a:gd name="connsiteX59" fmla="*/ 597682 w 1087844"/>
              <a:gd name="connsiteY59" fmla="*/ 340566 h 662520"/>
              <a:gd name="connsiteX60" fmla="*/ 639284 w 1087844"/>
              <a:gd name="connsiteY60" fmla="*/ 362534 h 662520"/>
              <a:gd name="connsiteX61" fmla="*/ 668720 w 1087844"/>
              <a:gd name="connsiteY61" fmla="*/ 393513 h 662520"/>
              <a:gd name="connsiteX62" fmla="*/ 686216 w 1087844"/>
              <a:gd name="connsiteY62" fmla="*/ 433502 h 662520"/>
              <a:gd name="connsiteX63" fmla="*/ 691997 w 1087844"/>
              <a:gd name="connsiteY63" fmla="*/ 482498 h 662520"/>
              <a:gd name="connsiteX64" fmla="*/ 686937 w 1087844"/>
              <a:gd name="connsiteY64" fmla="*/ 527743 h 662520"/>
              <a:gd name="connsiteX65" fmla="*/ 671660 w 1087844"/>
              <a:gd name="connsiteY65" fmla="*/ 567021 h 662520"/>
              <a:gd name="connsiteX66" fmla="*/ 647123 w 1087844"/>
              <a:gd name="connsiteY66" fmla="*/ 600232 h 662520"/>
              <a:gd name="connsiteX67" fmla="*/ 614286 w 1087844"/>
              <a:gd name="connsiteY67" fmla="*/ 627278 h 662520"/>
              <a:gd name="connsiteX68" fmla="*/ 574107 w 1087844"/>
              <a:gd name="connsiteY68" fmla="*/ 648061 h 662520"/>
              <a:gd name="connsiteX69" fmla="*/ 527545 w 1087844"/>
              <a:gd name="connsiteY69" fmla="*/ 662482 h 662520"/>
              <a:gd name="connsiteX70" fmla="*/ 1087844 w 1087844"/>
              <a:gd name="connsiteY70" fmla="*/ 662495 h 662520"/>
              <a:gd name="connsiteX0" fmla="*/ 145588 w 1087844"/>
              <a:gd name="connsiteY0" fmla="*/ 582945 h 662520"/>
              <a:gd name="connsiteX1" fmla="*/ 115230 w 1087844"/>
              <a:gd name="connsiteY1" fmla="*/ 610181 h 662520"/>
              <a:gd name="connsiteX2" fmla="*/ 80749 w 1087844"/>
              <a:gd name="connsiteY2" fmla="*/ 632569 h 662520"/>
              <a:gd name="connsiteX3" fmla="*/ 42290 w 1087844"/>
              <a:gd name="connsiteY3" fmla="*/ 650033 h 662520"/>
              <a:gd name="connsiteX4" fmla="*/ 0 w 1087844"/>
              <a:gd name="connsiteY4" fmla="*/ 662495 h 662520"/>
              <a:gd name="connsiteX5" fmla="*/ 319163 w 1087844"/>
              <a:gd name="connsiteY5" fmla="*/ 662520 h 662520"/>
              <a:gd name="connsiteX6" fmla="*/ 298168 w 1087844"/>
              <a:gd name="connsiteY6" fmla="*/ 658030 h 662520"/>
              <a:gd name="connsiteX7" fmla="*/ 278374 w 1087844"/>
              <a:gd name="connsiteY7" fmla="*/ 652783 h 662520"/>
              <a:gd name="connsiteX8" fmla="*/ 259538 w 1087844"/>
              <a:gd name="connsiteY8" fmla="*/ 646826 h 662520"/>
              <a:gd name="connsiteX9" fmla="*/ 241414 w 1087844"/>
              <a:gd name="connsiteY9" fmla="*/ 640206 h 662520"/>
              <a:gd name="connsiteX10" fmla="*/ 241414 w 1087844"/>
              <a:gd name="connsiteY10" fmla="*/ 516293 h 662520"/>
              <a:gd name="connsiteX11" fmla="*/ 323088 w 1087844"/>
              <a:gd name="connsiteY11" fmla="*/ 516293 h 662520"/>
              <a:gd name="connsiteX12" fmla="*/ 339204 w 1087844"/>
              <a:gd name="connsiteY12" fmla="*/ 539439 h 662520"/>
              <a:gd name="connsiteX13" fmla="*/ 362628 w 1087844"/>
              <a:gd name="connsiteY13" fmla="*/ 559242 h 662520"/>
              <a:gd name="connsiteX14" fmla="*/ 393973 w 1087844"/>
              <a:gd name="connsiteY14" fmla="*/ 573062 h 662520"/>
              <a:gd name="connsiteX15" fmla="*/ 433857 w 1087844"/>
              <a:gd name="connsiteY15" fmla="*/ 578256 h 662520"/>
              <a:gd name="connsiteX16" fmla="*/ 476360 w 1087844"/>
              <a:gd name="connsiteY16" fmla="*/ 571758 h 662520"/>
              <a:gd name="connsiteX17" fmla="*/ 511299 w 1087844"/>
              <a:gd name="connsiteY17" fmla="*/ 552322 h 662520"/>
              <a:gd name="connsiteX18" fmla="*/ 534973 w 1087844"/>
              <a:gd name="connsiteY18" fmla="*/ 520038 h 662520"/>
              <a:gd name="connsiteX19" fmla="*/ 543687 w 1087844"/>
              <a:gd name="connsiteY19" fmla="*/ 474992 h 662520"/>
              <a:gd name="connsiteX20" fmla="*/ 536425 w 1087844"/>
              <a:gd name="connsiteY20" fmla="*/ 430240 h 662520"/>
              <a:gd name="connsiteX21" fmla="*/ 514467 w 1087844"/>
              <a:gd name="connsiteY21" fmla="*/ 398602 h 662520"/>
              <a:gd name="connsiteX22" fmla="*/ 477550 w 1087844"/>
              <a:gd name="connsiteY22" fmla="*/ 379812 h 662520"/>
              <a:gd name="connsiteX23" fmla="*/ 425412 w 1087844"/>
              <a:gd name="connsiteY23" fmla="*/ 373608 h 662520"/>
              <a:gd name="connsiteX24" fmla="*/ 376593 w 1087844"/>
              <a:gd name="connsiteY24" fmla="*/ 373608 h 662520"/>
              <a:gd name="connsiteX25" fmla="*/ 376593 w 1087844"/>
              <a:gd name="connsiteY25" fmla="*/ 286308 h 662520"/>
              <a:gd name="connsiteX26" fmla="*/ 417893 w 1087844"/>
              <a:gd name="connsiteY26" fmla="*/ 286308 h 662520"/>
              <a:gd name="connsiteX27" fmla="*/ 471564 w 1087844"/>
              <a:gd name="connsiteY27" fmla="*/ 280133 h 662520"/>
              <a:gd name="connsiteX28" fmla="*/ 510008 w 1087844"/>
              <a:gd name="connsiteY28" fmla="*/ 261550 h 662520"/>
              <a:gd name="connsiteX29" fmla="*/ 533138 w 1087844"/>
              <a:gd name="connsiteY29" fmla="*/ 230469 h 662520"/>
              <a:gd name="connsiteX30" fmla="*/ 540867 w 1087844"/>
              <a:gd name="connsiteY30" fmla="*/ 186804 h 662520"/>
              <a:gd name="connsiteX31" fmla="*/ 535514 w 1087844"/>
              <a:gd name="connsiteY31" fmla="*/ 149115 h 662520"/>
              <a:gd name="connsiteX32" fmla="*/ 519161 w 1087844"/>
              <a:gd name="connsiteY32" fmla="*/ 121104 h 662520"/>
              <a:gd name="connsiteX33" fmla="*/ 491366 w 1087844"/>
              <a:gd name="connsiteY33" fmla="*/ 103651 h 662520"/>
              <a:gd name="connsiteX34" fmla="*/ 451688 w 1087844"/>
              <a:gd name="connsiteY34" fmla="*/ 97637 h 662520"/>
              <a:gd name="connsiteX35" fmla="*/ 414244 w 1087844"/>
              <a:gd name="connsiteY35" fmla="*/ 102374 h 662520"/>
              <a:gd name="connsiteX36" fmla="*/ 384457 w 1087844"/>
              <a:gd name="connsiteY36" fmla="*/ 115117 h 662520"/>
              <a:gd name="connsiteX37" fmla="*/ 361534 w 1087844"/>
              <a:gd name="connsiteY37" fmla="*/ 133668 h 662520"/>
              <a:gd name="connsiteX38" fmla="*/ 344678 w 1087844"/>
              <a:gd name="connsiteY38" fmla="*/ 155828 h 662520"/>
              <a:gd name="connsiteX39" fmla="*/ 266776 w 1087844"/>
              <a:gd name="connsiteY39" fmla="*/ 155828 h 662520"/>
              <a:gd name="connsiteX40" fmla="*/ 266776 w 1087844"/>
              <a:gd name="connsiteY40" fmla="*/ 33807 h 662520"/>
              <a:gd name="connsiteX41" fmla="*/ 311007 w 1087844"/>
              <a:gd name="connsiteY41" fmla="*/ 19813 h 662520"/>
              <a:gd name="connsiteX42" fmla="*/ 358057 w 1087844"/>
              <a:gd name="connsiteY42" fmla="*/ 9159 h 662520"/>
              <a:gd name="connsiteX43" fmla="*/ 408279 w 1087844"/>
              <a:gd name="connsiteY43" fmla="*/ 2378 h 662520"/>
              <a:gd name="connsiteX44" fmla="*/ 462026 w 1087844"/>
              <a:gd name="connsiteY44" fmla="*/ 0 h 662520"/>
              <a:gd name="connsiteX45" fmla="*/ 517396 w 1087844"/>
              <a:gd name="connsiteY45" fmla="*/ 3158 h 662520"/>
              <a:gd name="connsiteX46" fmla="*/ 565690 w 1087844"/>
              <a:gd name="connsiteY46" fmla="*/ 12853 h 662520"/>
              <a:gd name="connsiteX47" fmla="*/ 606381 w 1087844"/>
              <a:gd name="connsiteY47" fmla="*/ 29412 h 662520"/>
              <a:gd name="connsiteX48" fmla="*/ 638944 w 1087844"/>
              <a:gd name="connsiteY48" fmla="*/ 53163 h 662520"/>
              <a:gd name="connsiteX49" fmla="*/ 662854 w 1087844"/>
              <a:gd name="connsiteY49" fmla="*/ 84435 h 662520"/>
              <a:gd name="connsiteX50" fmla="*/ 677585 w 1087844"/>
              <a:gd name="connsiteY50" fmla="*/ 123555 h 662520"/>
              <a:gd name="connsiteX51" fmla="*/ 682612 w 1087844"/>
              <a:gd name="connsiteY51" fmla="*/ 170853 h 662520"/>
              <a:gd name="connsiteX52" fmla="*/ 676454 w 1087844"/>
              <a:gd name="connsiteY52" fmla="*/ 219568 h 662520"/>
              <a:gd name="connsiteX53" fmla="*/ 658582 w 1087844"/>
              <a:gd name="connsiteY53" fmla="*/ 258234 h 662520"/>
              <a:gd name="connsiteX54" fmla="*/ 629896 w 1087844"/>
              <a:gd name="connsiteY54" fmla="*/ 287843 h 662520"/>
              <a:gd name="connsiteX55" fmla="*/ 591297 w 1087844"/>
              <a:gd name="connsiteY55" fmla="*/ 309388 h 662520"/>
              <a:gd name="connsiteX56" fmla="*/ 543687 w 1087844"/>
              <a:gd name="connsiteY56" fmla="*/ 323862 h 662520"/>
              <a:gd name="connsiteX57" fmla="*/ 543687 w 1087844"/>
              <a:gd name="connsiteY57" fmla="*/ 327609 h 662520"/>
              <a:gd name="connsiteX58" fmla="*/ 597682 w 1087844"/>
              <a:gd name="connsiteY58" fmla="*/ 340566 h 662520"/>
              <a:gd name="connsiteX59" fmla="*/ 639284 w 1087844"/>
              <a:gd name="connsiteY59" fmla="*/ 362534 h 662520"/>
              <a:gd name="connsiteX60" fmla="*/ 668720 w 1087844"/>
              <a:gd name="connsiteY60" fmla="*/ 393513 h 662520"/>
              <a:gd name="connsiteX61" fmla="*/ 686216 w 1087844"/>
              <a:gd name="connsiteY61" fmla="*/ 433502 h 662520"/>
              <a:gd name="connsiteX62" fmla="*/ 691997 w 1087844"/>
              <a:gd name="connsiteY62" fmla="*/ 482498 h 662520"/>
              <a:gd name="connsiteX63" fmla="*/ 686937 w 1087844"/>
              <a:gd name="connsiteY63" fmla="*/ 527743 h 662520"/>
              <a:gd name="connsiteX64" fmla="*/ 671660 w 1087844"/>
              <a:gd name="connsiteY64" fmla="*/ 567021 h 662520"/>
              <a:gd name="connsiteX65" fmla="*/ 647123 w 1087844"/>
              <a:gd name="connsiteY65" fmla="*/ 600232 h 662520"/>
              <a:gd name="connsiteX66" fmla="*/ 614286 w 1087844"/>
              <a:gd name="connsiteY66" fmla="*/ 627278 h 662520"/>
              <a:gd name="connsiteX67" fmla="*/ 574107 w 1087844"/>
              <a:gd name="connsiteY67" fmla="*/ 648061 h 662520"/>
              <a:gd name="connsiteX68" fmla="*/ 527545 w 1087844"/>
              <a:gd name="connsiteY68" fmla="*/ 662482 h 662520"/>
              <a:gd name="connsiteX69" fmla="*/ 1087844 w 1087844"/>
              <a:gd name="connsiteY69" fmla="*/ 662495 h 662520"/>
              <a:gd name="connsiteX0" fmla="*/ 115230 w 1087844"/>
              <a:gd name="connsiteY0" fmla="*/ 610181 h 662520"/>
              <a:gd name="connsiteX1" fmla="*/ 80749 w 1087844"/>
              <a:gd name="connsiteY1" fmla="*/ 632569 h 662520"/>
              <a:gd name="connsiteX2" fmla="*/ 42290 w 1087844"/>
              <a:gd name="connsiteY2" fmla="*/ 650033 h 662520"/>
              <a:gd name="connsiteX3" fmla="*/ 0 w 1087844"/>
              <a:gd name="connsiteY3" fmla="*/ 662495 h 662520"/>
              <a:gd name="connsiteX4" fmla="*/ 319163 w 1087844"/>
              <a:gd name="connsiteY4" fmla="*/ 662520 h 662520"/>
              <a:gd name="connsiteX5" fmla="*/ 298168 w 1087844"/>
              <a:gd name="connsiteY5" fmla="*/ 658030 h 662520"/>
              <a:gd name="connsiteX6" fmla="*/ 278374 w 1087844"/>
              <a:gd name="connsiteY6" fmla="*/ 652783 h 662520"/>
              <a:gd name="connsiteX7" fmla="*/ 259538 w 1087844"/>
              <a:gd name="connsiteY7" fmla="*/ 646826 h 662520"/>
              <a:gd name="connsiteX8" fmla="*/ 241414 w 1087844"/>
              <a:gd name="connsiteY8" fmla="*/ 640206 h 662520"/>
              <a:gd name="connsiteX9" fmla="*/ 241414 w 1087844"/>
              <a:gd name="connsiteY9" fmla="*/ 516293 h 662520"/>
              <a:gd name="connsiteX10" fmla="*/ 323088 w 1087844"/>
              <a:gd name="connsiteY10" fmla="*/ 516293 h 662520"/>
              <a:gd name="connsiteX11" fmla="*/ 339204 w 1087844"/>
              <a:gd name="connsiteY11" fmla="*/ 539439 h 662520"/>
              <a:gd name="connsiteX12" fmla="*/ 362628 w 1087844"/>
              <a:gd name="connsiteY12" fmla="*/ 559242 h 662520"/>
              <a:gd name="connsiteX13" fmla="*/ 393973 w 1087844"/>
              <a:gd name="connsiteY13" fmla="*/ 573062 h 662520"/>
              <a:gd name="connsiteX14" fmla="*/ 433857 w 1087844"/>
              <a:gd name="connsiteY14" fmla="*/ 578256 h 662520"/>
              <a:gd name="connsiteX15" fmla="*/ 476360 w 1087844"/>
              <a:gd name="connsiteY15" fmla="*/ 571758 h 662520"/>
              <a:gd name="connsiteX16" fmla="*/ 511299 w 1087844"/>
              <a:gd name="connsiteY16" fmla="*/ 552322 h 662520"/>
              <a:gd name="connsiteX17" fmla="*/ 534973 w 1087844"/>
              <a:gd name="connsiteY17" fmla="*/ 520038 h 662520"/>
              <a:gd name="connsiteX18" fmla="*/ 543687 w 1087844"/>
              <a:gd name="connsiteY18" fmla="*/ 474992 h 662520"/>
              <a:gd name="connsiteX19" fmla="*/ 536425 w 1087844"/>
              <a:gd name="connsiteY19" fmla="*/ 430240 h 662520"/>
              <a:gd name="connsiteX20" fmla="*/ 514467 w 1087844"/>
              <a:gd name="connsiteY20" fmla="*/ 398602 h 662520"/>
              <a:gd name="connsiteX21" fmla="*/ 477550 w 1087844"/>
              <a:gd name="connsiteY21" fmla="*/ 379812 h 662520"/>
              <a:gd name="connsiteX22" fmla="*/ 425412 w 1087844"/>
              <a:gd name="connsiteY22" fmla="*/ 373608 h 662520"/>
              <a:gd name="connsiteX23" fmla="*/ 376593 w 1087844"/>
              <a:gd name="connsiteY23" fmla="*/ 373608 h 662520"/>
              <a:gd name="connsiteX24" fmla="*/ 376593 w 1087844"/>
              <a:gd name="connsiteY24" fmla="*/ 286308 h 662520"/>
              <a:gd name="connsiteX25" fmla="*/ 417893 w 1087844"/>
              <a:gd name="connsiteY25" fmla="*/ 286308 h 662520"/>
              <a:gd name="connsiteX26" fmla="*/ 471564 w 1087844"/>
              <a:gd name="connsiteY26" fmla="*/ 280133 h 662520"/>
              <a:gd name="connsiteX27" fmla="*/ 510008 w 1087844"/>
              <a:gd name="connsiteY27" fmla="*/ 261550 h 662520"/>
              <a:gd name="connsiteX28" fmla="*/ 533138 w 1087844"/>
              <a:gd name="connsiteY28" fmla="*/ 230469 h 662520"/>
              <a:gd name="connsiteX29" fmla="*/ 540867 w 1087844"/>
              <a:gd name="connsiteY29" fmla="*/ 186804 h 662520"/>
              <a:gd name="connsiteX30" fmla="*/ 535514 w 1087844"/>
              <a:gd name="connsiteY30" fmla="*/ 149115 h 662520"/>
              <a:gd name="connsiteX31" fmla="*/ 519161 w 1087844"/>
              <a:gd name="connsiteY31" fmla="*/ 121104 h 662520"/>
              <a:gd name="connsiteX32" fmla="*/ 491366 w 1087844"/>
              <a:gd name="connsiteY32" fmla="*/ 103651 h 662520"/>
              <a:gd name="connsiteX33" fmla="*/ 451688 w 1087844"/>
              <a:gd name="connsiteY33" fmla="*/ 97637 h 662520"/>
              <a:gd name="connsiteX34" fmla="*/ 414244 w 1087844"/>
              <a:gd name="connsiteY34" fmla="*/ 102374 h 662520"/>
              <a:gd name="connsiteX35" fmla="*/ 384457 w 1087844"/>
              <a:gd name="connsiteY35" fmla="*/ 115117 h 662520"/>
              <a:gd name="connsiteX36" fmla="*/ 361534 w 1087844"/>
              <a:gd name="connsiteY36" fmla="*/ 133668 h 662520"/>
              <a:gd name="connsiteX37" fmla="*/ 344678 w 1087844"/>
              <a:gd name="connsiteY37" fmla="*/ 155828 h 662520"/>
              <a:gd name="connsiteX38" fmla="*/ 266776 w 1087844"/>
              <a:gd name="connsiteY38" fmla="*/ 155828 h 662520"/>
              <a:gd name="connsiteX39" fmla="*/ 266776 w 1087844"/>
              <a:gd name="connsiteY39" fmla="*/ 33807 h 662520"/>
              <a:gd name="connsiteX40" fmla="*/ 311007 w 1087844"/>
              <a:gd name="connsiteY40" fmla="*/ 19813 h 662520"/>
              <a:gd name="connsiteX41" fmla="*/ 358057 w 1087844"/>
              <a:gd name="connsiteY41" fmla="*/ 9159 h 662520"/>
              <a:gd name="connsiteX42" fmla="*/ 408279 w 1087844"/>
              <a:gd name="connsiteY42" fmla="*/ 2378 h 662520"/>
              <a:gd name="connsiteX43" fmla="*/ 462026 w 1087844"/>
              <a:gd name="connsiteY43" fmla="*/ 0 h 662520"/>
              <a:gd name="connsiteX44" fmla="*/ 517396 w 1087844"/>
              <a:gd name="connsiteY44" fmla="*/ 3158 h 662520"/>
              <a:gd name="connsiteX45" fmla="*/ 565690 w 1087844"/>
              <a:gd name="connsiteY45" fmla="*/ 12853 h 662520"/>
              <a:gd name="connsiteX46" fmla="*/ 606381 w 1087844"/>
              <a:gd name="connsiteY46" fmla="*/ 29412 h 662520"/>
              <a:gd name="connsiteX47" fmla="*/ 638944 w 1087844"/>
              <a:gd name="connsiteY47" fmla="*/ 53163 h 662520"/>
              <a:gd name="connsiteX48" fmla="*/ 662854 w 1087844"/>
              <a:gd name="connsiteY48" fmla="*/ 84435 h 662520"/>
              <a:gd name="connsiteX49" fmla="*/ 677585 w 1087844"/>
              <a:gd name="connsiteY49" fmla="*/ 123555 h 662520"/>
              <a:gd name="connsiteX50" fmla="*/ 682612 w 1087844"/>
              <a:gd name="connsiteY50" fmla="*/ 170853 h 662520"/>
              <a:gd name="connsiteX51" fmla="*/ 676454 w 1087844"/>
              <a:gd name="connsiteY51" fmla="*/ 219568 h 662520"/>
              <a:gd name="connsiteX52" fmla="*/ 658582 w 1087844"/>
              <a:gd name="connsiteY52" fmla="*/ 258234 h 662520"/>
              <a:gd name="connsiteX53" fmla="*/ 629896 w 1087844"/>
              <a:gd name="connsiteY53" fmla="*/ 287843 h 662520"/>
              <a:gd name="connsiteX54" fmla="*/ 591297 w 1087844"/>
              <a:gd name="connsiteY54" fmla="*/ 309388 h 662520"/>
              <a:gd name="connsiteX55" fmla="*/ 543687 w 1087844"/>
              <a:gd name="connsiteY55" fmla="*/ 323862 h 662520"/>
              <a:gd name="connsiteX56" fmla="*/ 543687 w 1087844"/>
              <a:gd name="connsiteY56" fmla="*/ 327609 h 662520"/>
              <a:gd name="connsiteX57" fmla="*/ 597682 w 1087844"/>
              <a:gd name="connsiteY57" fmla="*/ 340566 h 662520"/>
              <a:gd name="connsiteX58" fmla="*/ 639284 w 1087844"/>
              <a:gd name="connsiteY58" fmla="*/ 362534 h 662520"/>
              <a:gd name="connsiteX59" fmla="*/ 668720 w 1087844"/>
              <a:gd name="connsiteY59" fmla="*/ 393513 h 662520"/>
              <a:gd name="connsiteX60" fmla="*/ 686216 w 1087844"/>
              <a:gd name="connsiteY60" fmla="*/ 433502 h 662520"/>
              <a:gd name="connsiteX61" fmla="*/ 691997 w 1087844"/>
              <a:gd name="connsiteY61" fmla="*/ 482498 h 662520"/>
              <a:gd name="connsiteX62" fmla="*/ 686937 w 1087844"/>
              <a:gd name="connsiteY62" fmla="*/ 527743 h 662520"/>
              <a:gd name="connsiteX63" fmla="*/ 671660 w 1087844"/>
              <a:gd name="connsiteY63" fmla="*/ 567021 h 662520"/>
              <a:gd name="connsiteX64" fmla="*/ 647123 w 1087844"/>
              <a:gd name="connsiteY64" fmla="*/ 600232 h 662520"/>
              <a:gd name="connsiteX65" fmla="*/ 614286 w 1087844"/>
              <a:gd name="connsiteY65" fmla="*/ 627278 h 662520"/>
              <a:gd name="connsiteX66" fmla="*/ 574107 w 1087844"/>
              <a:gd name="connsiteY66" fmla="*/ 648061 h 662520"/>
              <a:gd name="connsiteX67" fmla="*/ 527545 w 1087844"/>
              <a:gd name="connsiteY67" fmla="*/ 662482 h 662520"/>
              <a:gd name="connsiteX68" fmla="*/ 1087844 w 1087844"/>
              <a:gd name="connsiteY68" fmla="*/ 662495 h 662520"/>
              <a:gd name="connsiteX0" fmla="*/ 80749 w 1087844"/>
              <a:gd name="connsiteY0" fmla="*/ 632569 h 662520"/>
              <a:gd name="connsiteX1" fmla="*/ 42290 w 1087844"/>
              <a:gd name="connsiteY1" fmla="*/ 650033 h 662520"/>
              <a:gd name="connsiteX2" fmla="*/ 0 w 1087844"/>
              <a:gd name="connsiteY2" fmla="*/ 662495 h 662520"/>
              <a:gd name="connsiteX3" fmla="*/ 319163 w 1087844"/>
              <a:gd name="connsiteY3" fmla="*/ 662520 h 662520"/>
              <a:gd name="connsiteX4" fmla="*/ 298168 w 1087844"/>
              <a:gd name="connsiteY4" fmla="*/ 658030 h 662520"/>
              <a:gd name="connsiteX5" fmla="*/ 278374 w 1087844"/>
              <a:gd name="connsiteY5" fmla="*/ 652783 h 662520"/>
              <a:gd name="connsiteX6" fmla="*/ 259538 w 1087844"/>
              <a:gd name="connsiteY6" fmla="*/ 646826 h 662520"/>
              <a:gd name="connsiteX7" fmla="*/ 241414 w 1087844"/>
              <a:gd name="connsiteY7" fmla="*/ 640206 h 662520"/>
              <a:gd name="connsiteX8" fmla="*/ 241414 w 1087844"/>
              <a:gd name="connsiteY8" fmla="*/ 516293 h 662520"/>
              <a:gd name="connsiteX9" fmla="*/ 323088 w 1087844"/>
              <a:gd name="connsiteY9" fmla="*/ 516293 h 662520"/>
              <a:gd name="connsiteX10" fmla="*/ 339204 w 1087844"/>
              <a:gd name="connsiteY10" fmla="*/ 539439 h 662520"/>
              <a:gd name="connsiteX11" fmla="*/ 362628 w 1087844"/>
              <a:gd name="connsiteY11" fmla="*/ 559242 h 662520"/>
              <a:gd name="connsiteX12" fmla="*/ 393973 w 1087844"/>
              <a:gd name="connsiteY12" fmla="*/ 573062 h 662520"/>
              <a:gd name="connsiteX13" fmla="*/ 433857 w 1087844"/>
              <a:gd name="connsiteY13" fmla="*/ 578256 h 662520"/>
              <a:gd name="connsiteX14" fmla="*/ 476360 w 1087844"/>
              <a:gd name="connsiteY14" fmla="*/ 571758 h 662520"/>
              <a:gd name="connsiteX15" fmla="*/ 511299 w 1087844"/>
              <a:gd name="connsiteY15" fmla="*/ 552322 h 662520"/>
              <a:gd name="connsiteX16" fmla="*/ 534973 w 1087844"/>
              <a:gd name="connsiteY16" fmla="*/ 520038 h 662520"/>
              <a:gd name="connsiteX17" fmla="*/ 543687 w 1087844"/>
              <a:gd name="connsiteY17" fmla="*/ 474992 h 662520"/>
              <a:gd name="connsiteX18" fmla="*/ 536425 w 1087844"/>
              <a:gd name="connsiteY18" fmla="*/ 430240 h 662520"/>
              <a:gd name="connsiteX19" fmla="*/ 514467 w 1087844"/>
              <a:gd name="connsiteY19" fmla="*/ 398602 h 662520"/>
              <a:gd name="connsiteX20" fmla="*/ 477550 w 1087844"/>
              <a:gd name="connsiteY20" fmla="*/ 379812 h 662520"/>
              <a:gd name="connsiteX21" fmla="*/ 425412 w 1087844"/>
              <a:gd name="connsiteY21" fmla="*/ 373608 h 662520"/>
              <a:gd name="connsiteX22" fmla="*/ 376593 w 1087844"/>
              <a:gd name="connsiteY22" fmla="*/ 373608 h 662520"/>
              <a:gd name="connsiteX23" fmla="*/ 376593 w 1087844"/>
              <a:gd name="connsiteY23" fmla="*/ 286308 h 662520"/>
              <a:gd name="connsiteX24" fmla="*/ 417893 w 1087844"/>
              <a:gd name="connsiteY24" fmla="*/ 286308 h 662520"/>
              <a:gd name="connsiteX25" fmla="*/ 471564 w 1087844"/>
              <a:gd name="connsiteY25" fmla="*/ 280133 h 662520"/>
              <a:gd name="connsiteX26" fmla="*/ 510008 w 1087844"/>
              <a:gd name="connsiteY26" fmla="*/ 261550 h 662520"/>
              <a:gd name="connsiteX27" fmla="*/ 533138 w 1087844"/>
              <a:gd name="connsiteY27" fmla="*/ 230469 h 662520"/>
              <a:gd name="connsiteX28" fmla="*/ 540867 w 1087844"/>
              <a:gd name="connsiteY28" fmla="*/ 186804 h 662520"/>
              <a:gd name="connsiteX29" fmla="*/ 535514 w 1087844"/>
              <a:gd name="connsiteY29" fmla="*/ 149115 h 662520"/>
              <a:gd name="connsiteX30" fmla="*/ 519161 w 1087844"/>
              <a:gd name="connsiteY30" fmla="*/ 121104 h 662520"/>
              <a:gd name="connsiteX31" fmla="*/ 491366 w 1087844"/>
              <a:gd name="connsiteY31" fmla="*/ 103651 h 662520"/>
              <a:gd name="connsiteX32" fmla="*/ 451688 w 1087844"/>
              <a:gd name="connsiteY32" fmla="*/ 97637 h 662520"/>
              <a:gd name="connsiteX33" fmla="*/ 414244 w 1087844"/>
              <a:gd name="connsiteY33" fmla="*/ 102374 h 662520"/>
              <a:gd name="connsiteX34" fmla="*/ 384457 w 1087844"/>
              <a:gd name="connsiteY34" fmla="*/ 115117 h 662520"/>
              <a:gd name="connsiteX35" fmla="*/ 361534 w 1087844"/>
              <a:gd name="connsiteY35" fmla="*/ 133668 h 662520"/>
              <a:gd name="connsiteX36" fmla="*/ 344678 w 1087844"/>
              <a:gd name="connsiteY36" fmla="*/ 155828 h 662520"/>
              <a:gd name="connsiteX37" fmla="*/ 266776 w 1087844"/>
              <a:gd name="connsiteY37" fmla="*/ 155828 h 662520"/>
              <a:gd name="connsiteX38" fmla="*/ 266776 w 1087844"/>
              <a:gd name="connsiteY38" fmla="*/ 33807 h 662520"/>
              <a:gd name="connsiteX39" fmla="*/ 311007 w 1087844"/>
              <a:gd name="connsiteY39" fmla="*/ 19813 h 662520"/>
              <a:gd name="connsiteX40" fmla="*/ 358057 w 1087844"/>
              <a:gd name="connsiteY40" fmla="*/ 9159 h 662520"/>
              <a:gd name="connsiteX41" fmla="*/ 408279 w 1087844"/>
              <a:gd name="connsiteY41" fmla="*/ 2378 h 662520"/>
              <a:gd name="connsiteX42" fmla="*/ 462026 w 1087844"/>
              <a:gd name="connsiteY42" fmla="*/ 0 h 662520"/>
              <a:gd name="connsiteX43" fmla="*/ 517396 w 1087844"/>
              <a:gd name="connsiteY43" fmla="*/ 3158 h 662520"/>
              <a:gd name="connsiteX44" fmla="*/ 565690 w 1087844"/>
              <a:gd name="connsiteY44" fmla="*/ 12853 h 662520"/>
              <a:gd name="connsiteX45" fmla="*/ 606381 w 1087844"/>
              <a:gd name="connsiteY45" fmla="*/ 29412 h 662520"/>
              <a:gd name="connsiteX46" fmla="*/ 638944 w 1087844"/>
              <a:gd name="connsiteY46" fmla="*/ 53163 h 662520"/>
              <a:gd name="connsiteX47" fmla="*/ 662854 w 1087844"/>
              <a:gd name="connsiteY47" fmla="*/ 84435 h 662520"/>
              <a:gd name="connsiteX48" fmla="*/ 677585 w 1087844"/>
              <a:gd name="connsiteY48" fmla="*/ 123555 h 662520"/>
              <a:gd name="connsiteX49" fmla="*/ 682612 w 1087844"/>
              <a:gd name="connsiteY49" fmla="*/ 170853 h 662520"/>
              <a:gd name="connsiteX50" fmla="*/ 676454 w 1087844"/>
              <a:gd name="connsiteY50" fmla="*/ 219568 h 662520"/>
              <a:gd name="connsiteX51" fmla="*/ 658582 w 1087844"/>
              <a:gd name="connsiteY51" fmla="*/ 258234 h 662520"/>
              <a:gd name="connsiteX52" fmla="*/ 629896 w 1087844"/>
              <a:gd name="connsiteY52" fmla="*/ 287843 h 662520"/>
              <a:gd name="connsiteX53" fmla="*/ 591297 w 1087844"/>
              <a:gd name="connsiteY53" fmla="*/ 309388 h 662520"/>
              <a:gd name="connsiteX54" fmla="*/ 543687 w 1087844"/>
              <a:gd name="connsiteY54" fmla="*/ 323862 h 662520"/>
              <a:gd name="connsiteX55" fmla="*/ 543687 w 1087844"/>
              <a:gd name="connsiteY55" fmla="*/ 327609 h 662520"/>
              <a:gd name="connsiteX56" fmla="*/ 597682 w 1087844"/>
              <a:gd name="connsiteY56" fmla="*/ 340566 h 662520"/>
              <a:gd name="connsiteX57" fmla="*/ 639284 w 1087844"/>
              <a:gd name="connsiteY57" fmla="*/ 362534 h 662520"/>
              <a:gd name="connsiteX58" fmla="*/ 668720 w 1087844"/>
              <a:gd name="connsiteY58" fmla="*/ 393513 h 662520"/>
              <a:gd name="connsiteX59" fmla="*/ 686216 w 1087844"/>
              <a:gd name="connsiteY59" fmla="*/ 433502 h 662520"/>
              <a:gd name="connsiteX60" fmla="*/ 691997 w 1087844"/>
              <a:gd name="connsiteY60" fmla="*/ 482498 h 662520"/>
              <a:gd name="connsiteX61" fmla="*/ 686937 w 1087844"/>
              <a:gd name="connsiteY61" fmla="*/ 527743 h 662520"/>
              <a:gd name="connsiteX62" fmla="*/ 671660 w 1087844"/>
              <a:gd name="connsiteY62" fmla="*/ 567021 h 662520"/>
              <a:gd name="connsiteX63" fmla="*/ 647123 w 1087844"/>
              <a:gd name="connsiteY63" fmla="*/ 600232 h 662520"/>
              <a:gd name="connsiteX64" fmla="*/ 614286 w 1087844"/>
              <a:gd name="connsiteY64" fmla="*/ 627278 h 662520"/>
              <a:gd name="connsiteX65" fmla="*/ 574107 w 1087844"/>
              <a:gd name="connsiteY65" fmla="*/ 648061 h 662520"/>
              <a:gd name="connsiteX66" fmla="*/ 527545 w 1087844"/>
              <a:gd name="connsiteY66" fmla="*/ 662482 h 662520"/>
              <a:gd name="connsiteX67" fmla="*/ 1087844 w 1087844"/>
              <a:gd name="connsiteY67" fmla="*/ 662495 h 662520"/>
              <a:gd name="connsiteX0" fmla="*/ 75981 w 1087844"/>
              <a:gd name="connsiteY0" fmla="*/ 630183 h 662520"/>
              <a:gd name="connsiteX1" fmla="*/ 42290 w 1087844"/>
              <a:gd name="connsiteY1" fmla="*/ 650033 h 662520"/>
              <a:gd name="connsiteX2" fmla="*/ 0 w 1087844"/>
              <a:gd name="connsiteY2" fmla="*/ 662495 h 662520"/>
              <a:gd name="connsiteX3" fmla="*/ 319163 w 1087844"/>
              <a:gd name="connsiteY3" fmla="*/ 662520 h 662520"/>
              <a:gd name="connsiteX4" fmla="*/ 298168 w 1087844"/>
              <a:gd name="connsiteY4" fmla="*/ 658030 h 662520"/>
              <a:gd name="connsiteX5" fmla="*/ 278374 w 1087844"/>
              <a:gd name="connsiteY5" fmla="*/ 652783 h 662520"/>
              <a:gd name="connsiteX6" fmla="*/ 259538 w 1087844"/>
              <a:gd name="connsiteY6" fmla="*/ 646826 h 662520"/>
              <a:gd name="connsiteX7" fmla="*/ 241414 w 1087844"/>
              <a:gd name="connsiteY7" fmla="*/ 640206 h 662520"/>
              <a:gd name="connsiteX8" fmla="*/ 241414 w 1087844"/>
              <a:gd name="connsiteY8" fmla="*/ 516293 h 662520"/>
              <a:gd name="connsiteX9" fmla="*/ 323088 w 1087844"/>
              <a:gd name="connsiteY9" fmla="*/ 516293 h 662520"/>
              <a:gd name="connsiteX10" fmla="*/ 339204 w 1087844"/>
              <a:gd name="connsiteY10" fmla="*/ 539439 h 662520"/>
              <a:gd name="connsiteX11" fmla="*/ 362628 w 1087844"/>
              <a:gd name="connsiteY11" fmla="*/ 559242 h 662520"/>
              <a:gd name="connsiteX12" fmla="*/ 393973 w 1087844"/>
              <a:gd name="connsiteY12" fmla="*/ 573062 h 662520"/>
              <a:gd name="connsiteX13" fmla="*/ 433857 w 1087844"/>
              <a:gd name="connsiteY13" fmla="*/ 578256 h 662520"/>
              <a:gd name="connsiteX14" fmla="*/ 476360 w 1087844"/>
              <a:gd name="connsiteY14" fmla="*/ 571758 h 662520"/>
              <a:gd name="connsiteX15" fmla="*/ 511299 w 1087844"/>
              <a:gd name="connsiteY15" fmla="*/ 552322 h 662520"/>
              <a:gd name="connsiteX16" fmla="*/ 534973 w 1087844"/>
              <a:gd name="connsiteY16" fmla="*/ 520038 h 662520"/>
              <a:gd name="connsiteX17" fmla="*/ 543687 w 1087844"/>
              <a:gd name="connsiteY17" fmla="*/ 474992 h 662520"/>
              <a:gd name="connsiteX18" fmla="*/ 536425 w 1087844"/>
              <a:gd name="connsiteY18" fmla="*/ 430240 h 662520"/>
              <a:gd name="connsiteX19" fmla="*/ 514467 w 1087844"/>
              <a:gd name="connsiteY19" fmla="*/ 398602 h 662520"/>
              <a:gd name="connsiteX20" fmla="*/ 477550 w 1087844"/>
              <a:gd name="connsiteY20" fmla="*/ 379812 h 662520"/>
              <a:gd name="connsiteX21" fmla="*/ 425412 w 1087844"/>
              <a:gd name="connsiteY21" fmla="*/ 373608 h 662520"/>
              <a:gd name="connsiteX22" fmla="*/ 376593 w 1087844"/>
              <a:gd name="connsiteY22" fmla="*/ 373608 h 662520"/>
              <a:gd name="connsiteX23" fmla="*/ 376593 w 1087844"/>
              <a:gd name="connsiteY23" fmla="*/ 286308 h 662520"/>
              <a:gd name="connsiteX24" fmla="*/ 417893 w 1087844"/>
              <a:gd name="connsiteY24" fmla="*/ 286308 h 662520"/>
              <a:gd name="connsiteX25" fmla="*/ 471564 w 1087844"/>
              <a:gd name="connsiteY25" fmla="*/ 280133 h 662520"/>
              <a:gd name="connsiteX26" fmla="*/ 510008 w 1087844"/>
              <a:gd name="connsiteY26" fmla="*/ 261550 h 662520"/>
              <a:gd name="connsiteX27" fmla="*/ 533138 w 1087844"/>
              <a:gd name="connsiteY27" fmla="*/ 230469 h 662520"/>
              <a:gd name="connsiteX28" fmla="*/ 540867 w 1087844"/>
              <a:gd name="connsiteY28" fmla="*/ 186804 h 662520"/>
              <a:gd name="connsiteX29" fmla="*/ 535514 w 1087844"/>
              <a:gd name="connsiteY29" fmla="*/ 149115 h 662520"/>
              <a:gd name="connsiteX30" fmla="*/ 519161 w 1087844"/>
              <a:gd name="connsiteY30" fmla="*/ 121104 h 662520"/>
              <a:gd name="connsiteX31" fmla="*/ 491366 w 1087844"/>
              <a:gd name="connsiteY31" fmla="*/ 103651 h 662520"/>
              <a:gd name="connsiteX32" fmla="*/ 451688 w 1087844"/>
              <a:gd name="connsiteY32" fmla="*/ 97637 h 662520"/>
              <a:gd name="connsiteX33" fmla="*/ 414244 w 1087844"/>
              <a:gd name="connsiteY33" fmla="*/ 102374 h 662520"/>
              <a:gd name="connsiteX34" fmla="*/ 384457 w 1087844"/>
              <a:gd name="connsiteY34" fmla="*/ 115117 h 662520"/>
              <a:gd name="connsiteX35" fmla="*/ 361534 w 1087844"/>
              <a:gd name="connsiteY35" fmla="*/ 133668 h 662520"/>
              <a:gd name="connsiteX36" fmla="*/ 344678 w 1087844"/>
              <a:gd name="connsiteY36" fmla="*/ 155828 h 662520"/>
              <a:gd name="connsiteX37" fmla="*/ 266776 w 1087844"/>
              <a:gd name="connsiteY37" fmla="*/ 155828 h 662520"/>
              <a:gd name="connsiteX38" fmla="*/ 266776 w 1087844"/>
              <a:gd name="connsiteY38" fmla="*/ 33807 h 662520"/>
              <a:gd name="connsiteX39" fmla="*/ 311007 w 1087844"/>
              <a:gd name="connsiteY39" fmla="*/ 19813 h 662520"/>
              <a:gd name="connsiteX40" fmla="*/ 358057 w 1087844"/>
              <a:gd name="connsiteY40" fmla="*/ 9159 h 662520"/>
              <a:gd name="connsiteX41" fmla="*/ 408279 w 1087844"/>
              <a:gd name="connsiteY41" fmla="*/ 2378 h 662520"/>
              <a:gd name="connsiteX42" fmla="*/ 462026 w 1087844"/>
              <a:gd name="connsiteY42" fmla="*/ 0 h 662520"/>
              <a:gd name="connsiteX43" fmla="*/ 517396 w 1087844"/>
              <a:gd name="connsiteY43" fmla="*/ 3158 h 662520"/>
              <a:gd name="connsiteX44" fmla="*/ 565690 w 1087844"/>
              <a:gd name="connsiteY44" fmla="*/ 12853 h 662520"/>
              <a:gd name="connsiteX45" fmla="*/ 606381 w 1087844"/>
              <a:gd name="connsiteY45" fmla="*/ 29412 h 662520"/>
              <a:gd name="connsiteX46" fmla="*/ 638944 w 1087844"/>
              <a:gd name="connsiteY46" fmla="*/ 53163 h 662520"/>
              <a:gd name="connsiteX47" fmla="*/ 662854 w 1087844"/>
              <a:gd name="connsiteY47" fmla="*/ 84435 h 662520"/>
              <a:gd name="connsiteX48" fmla="*/ 677585 w 1087844"/>
              <a:gd name="connsiteY48" fmla="*/ 123555 h 662520"/>
              <a:gd name="connsiteX49" fmla="*/ 682612 w 1087844"/>
              <a:gd name="connsiteY49" fmla="*/ 170853 h 662520"/>
              <a:gd name="connsiteX50" fmla="*/ 676454 w 1087844"/>
              <a:gd name="connsiteY50" fmla="*/ 219568 h 662520"/>
              <a:gd name="connsiteX51" fmla="*/ 658582 w 1087844"/>
              <a:gd name="connsiteY51" fmla="*/ 258234 h 662520"/>
              <a:gd name="connsiteX52" fmla="*/ 629896 w 1087844"/>
              <a:gd name="connsiteY52" fmla="*/ 287843 h 662520"/>
              <a:gd name="connsiteX53" fmla="*/ 591297 w 1087844"/>
              <a:gd name="connsiteY53" fmla="*/ 309388 h 662520"/>
              <a:gd name="connsiteX54" fmla="*/ 543687 w 1087844"/>
              <a:gd name="connsiteY54" fmla="*/ 323862 h 662520"/>
              <a:gd name="connsiteX55" fmla="*/ 543687 w 1087844"/>
              <a:gd name="connsiteY55" fmla="*/ 327609 h 662520"/>
              <a:gd name="connsiteX56" fmla="*/ 597682 w 1087844"/>
              <a:gd name="connsiteY56" fmla="*/ 340566 h 662520"/>
              <a:gd name="connsiteX57" fmla="*/ 639284 w 1087844"/>
              <a:gd name="connsiteY57" fmla="*/ 362534 h 662520"/>
              <a:gd name="connsiteX58" fmla="*/ 668720 w 1087844"/>
              <a:gd name="connsiteY58" fmla="*/ 393513 h 662520"/>
              <a:gd name="connsiteX59" fmla="*/ 686216 w 1087844"/>
              <a:gd name="connsiteY59" fmla="*/ 433502 h 662520"/>
              <a:gd name="connsiteX60" fmla="*/ 691997 w 1087844"/>
              <a:gd name="connsiteY60" fmla="*/ 482498 h 662520"/>
              <a:gd name="connsiteX61" fmla="*/ 686937 w 1087844"/>
              <a:gd name="connsiteY61" fmla="*/ 527743 h 662520"/>
              <a:gd name="connsiteX62" fmla="*/ 671660 w 1087844"/>
              <a:gd name="connsiteY62" fmla="*/ 567021 h 662520"/>
              <a:gd name="connsiteX63" fmla="*/ 647123 w 1087844"/>
              <a:gd name="connsiteY63" fmla="*/ 600232 h 662520"/>
              <a:gd name="connsiteX64" fmla="*/ 614286 w 1087844"/>
              <a:gd name="connsiteY64" fmla="*/ 627278 h 662520"/>
              <a:gd name="connsiteX65" fmla="*/ 574107 w 1087844"/>
              <a:gd name="connsiteY65" fmla="*/ 648061 h 662520"/>
              <a:gd name="connsiteX66" fmla="*/ 527545 w 1087844"/>
              <a:gd name="connsiteY66" fmla="*/ 662482 h 662520"/>
              <a:gd name="connsiteX67" fmla="*/ 1087844 w 1087844"/>
              <a:gd name="connsiteY67" fmla="*/ 662495 h 662520"/>
              <a:gd name="connsiteX0" fmla="*/ 42290 w 1087844"/>
              <a:gd name="connsiteY0" fmla="*/ 650033 h 662520"/>
              <a:gd name="connsiteX1" fmla="*/ 0 w 1087844"/>
              <a:gd name="connsiteY1" fmla="*/ 662495 h 662520"/>
              <a:gd name="connsiteX2" fmla="*/ 319163 w 1087844"/>
              <a:gd name="connsiteY2" fmla="*/ 662520 h 662520"/>
              <a:gd name="connsiteX3" fmla="*/ 298168 w 1087844"/>
              <a:gd name="connsiteY3" fmla="*/ 658030 h 662520"/>
              <a:gd name="connsiteX4" fmla="*/ 278374 w 1087844"/>
              <a:gd name="connsiteY4" fmla="*/ 652783 h 662520"/>
              <a:gd name="connsiteX5" fmla="*/ 259538 w 1087844"/>
              <a:gd name="connsiteY5" fmla="*/ 646826 h 662520"/>
              <a:gd name="connsiteX6" fmla="*/ 241414 w 1087844"/>
              <a:gd name="connsiteY6" fmla="*/ 640206 h 662520"/>
              <a:gd name="connsiteX7" fmla="*/ 241414 w 1087844"/>
              <a:gd name="connsiteY7" fmla="*/ 516293 h 662520"/>
              <a:gd name="connsiteX8" fmla="*/ 323088 w 1087844"/>
              <a:gd name="connsiteY8" fmla="*/ 516293 h 662520"/>
              <a:gd name="connsiteX9" fmla="*/ 339204 w 1087844"/>
              <a:gd name="connsiteY9" fmla="*/ 539439 h 662520"/>
              <a:gd name="connsiteX10" fmla="*/ 362628 w 1087844"/>
              <a:gd name="connsiteY10" fmla="*/ 559242 h 662520"/>
              <a:gd name="connsiteX11" fmla="*/ 393973 w 1087844"/>
              <a:gd name="connsiteY11" fmla="*/ 573062 h 662520"/>
              <a:gd name="connsiteX12" fmla="*/ 433857 w 1087844"/>
              <a:gd name="connsiteY12" fmla="*/ 578256 h 662520"/>
              <a:gd name="connsiteX13" fmla="*/ 476360 w 1087844"/>
              <a:gd name="connsiteY13" fmla="*/ 571758 h 662520"/>
              <a:gd name="connsiteX14" fmla="*/ 511299 w 1087844"/>
              <a:gd name="connsiteY14" fmla="*/ 552322 h 662520"/>
              <a:gd name="connsiteX15" fmla="*/ 534973 w 1087844"/>
              <a:gd name="connsiteY15" fmla="*/ 520038 h 662520"/>
              <a:gd name="connsiteX16" fmla="*/ 543687 w 1087844"/>
              <a:gd name="connsiteY16" fmla="*/ 474992 h 662520"/>
              <a:gd name="connsiteX17" fmla="*/ 536425 w 1087844"/>
              <a:gd name="connsiteY17" fmla="*/ 430240 h 662520"/>
              <a:gd name="connsiteX18" fmla="*/ 514467 w 1087844"/>
              <a:gd name="connsiteY18" fmla="*/ 398602 h 662520"/>
              <a:gd name="connsiteX19" fmla="*/ 477550 w 1087844"/>
              <a:gd name="connsiteY19" fmla="*/ 379812 h 662520"/>
              <a:gd name="connsiteX20" fmla="*/ 425412 w 1087844"/>
              <a:gd name="connsiteY20" fmla="*/ 373608 h 662520"/>
              <a:gd name="connsiteX21" fmla="*/ 376593 w 1087844"/>
              <a:gd name="connsiteY21" fmla="*/ 373608 h 662520"/>
              <a:gd name="connsiteX22" fmla="*/ 376593 w 1087844"/>
              <a:gd name="connsiteY22" fmla="*/ 286308 h 662520"/>
              <a:gd name="connsiteX23" fmla="*/ 417893 w 1087844"/>
              <a:gd name="connsiteY23" fmla="*/ 286308 h 662520"/>
              <a:gd name="connsiteX24" fmla="*/ 471564 w 1087844"/>
              <a:gd name="connsiteY24" fmla="*/ 280133 h 662520"/>
              <a:gd name="connsiteX25" fmla="*/ 510008 w 1087844"/>
              <a:gd name="connsiteY25" fmla="*/ 261550 h 662520"/>
              <a:gd name="connsiteX26" fmla="*/ 533138 w 1087844"/>
              <a:gd name="connsiteY26" fmla="*/ 230469 h 662520"/>
              <a:gd name="connsiteX27" fmla="*/ 540867 w 1087844"/>
              <a:gd name="connsiteY27" fmla="*/ 186804 h 662520"/>
              <a:gd name="connsiteX28" fmla="*/ 535514 w 1087844"/>
              <a:gd name="connsiteY28" fmla="*/ 149115 h 662520"/>
              <a:gd name="connsiteX29" fmla="*/ 519161 w 1087844"/>
              <a:gd name="connsiteY29" fmla="*/ 121104 h 662520"/>
              <a:gd name="connsiteX30" fmla="*/ 491366 w 1087844"/>
              <a:gd name="connsiteY30" fmla="*/ 103651 h 662520"/>
              <a:gd name="connsiteX31" fmla="*/ 451688 w 1087844"/>
              <a:gd name="connsiteY31" fmla="*/ 97637 h 662520"/>
              <a:gd name="connsiteX32" fmla="*/ 414244 w 1087844"/>
              <a:gd name="connsiteY32" fmla="*/ 102374 h 662520"/>
              <a:gd name="connsiteX33" fmla="*/ 384457 w 1087844"/>
              <a:gd name="connsiteY33" fmla="*/ 115117 h 662520"/>
              <a:gd name="connsiteX34" fmla="*/ 361534 w 1087844"/>
              <a:gd name="connsiteY34" fmla="*/ 133668 h 662520"/>
              <a:gd name="connsiteX35" fmla="*/ 344678 w 1087844"/>
              <a:gd name="connsiteY35" fmla="*/ 155828 h 662520"/>
              <a:gd name="connsiteX36" fmla="*/ 266776 w 1087844"/>
              <a:gd name="connsiteY36" fmla="*/ 155828 h 662520"/>
              <a:gd name="connsiteX37" fmla="*/ 266776 w 1087844"/>
              <a:gd name="connsiteY37" fmla="*/ 33807 h 662520"/>
              <a:gd name="connsiteX38" fmla="*/ 311007 w 1087844"/>
              <a:gd name="connsiteY38" fmla="*/ 19813 h 662520"/>
              <a:gd name="connsiteX39" fmla="*/ 358057 w 1087844"/>
              <a:gd name="connsiteY39" fmla="*/ 9159 h 662520"/>
              <a:gd name="connsiteX40" fmla="*/ 408279 w 1087844"/>
              <a:gd name="connsiteY40" fmla="*/ 2378 h 662520"/>
              <a:gd name="connsiteX41" fmla="*/ 462026 w 1087844"/>
              <a:gd name="connsiteY41" fmla="*/ 0 h 662520"/>
              <a:gd name="connsiteX42" fmla="*/ 517396 w 1087844"/>
              <a:gd name="connsiteY42" fmla="*/ 3158 h 662520"/>
              <a:gd name="connsiteX43" fmla="*/ 565690 w 1087844"/>
              <a:gd name="connsiteY43" fmla="*/ 12853 h 662520"/>
              <a:gd name="connsiteX44" fmla="*/ 606381 w 1087844"/>
              <a:gd name="connsiteY44" fmla="*/ 29412 h 662520"/>
              <a:gd name="connsiteX45" fmla="*/ 638944 w 1087844"/>
              <a:gd name="connsiteY45" fmla="*/ 53163 h 662520"/>
              <a:gd name="connsiteX46" fmla="*/ 662854 w 1087844"/>
              <a:gd name="connsiteY46" fmla="*/ 84435 h 662520"/>
              <a:gd name="connsiteX47" fmla="*/ 677585 w 1087844"/>
              <a:gd name="connsiteY47" fmla="*/ 123555 h 662520"/>
              <a:gd name="connsiteX48" fmla="*/ 682612 w 1087844"/>
              <a:gd name="connsiteY48" fmla="*/ 170853 h 662520"/>
              <a:gd name="connsiteX49" fmla="*/ 676454 w 1087844"/>
              <a:gd name="connsiteY49" fmla="*/ 219568 h 662520"/>
              <a:gd name="connsiteX50" fmla="*/ 658582 w 1087844"/>
              <a:gd name="connsiteY50" fmla="*/ 258234 h 662520"/>
              <a:gd name="connsiteX51" fmla="*/ 629896 w 1087844"/>
              <a:gd name="connsiteY51" fmla="*/ 287843 h 662520"/>
              <a:gd name="connsiteX52" fmla="*/ 591297 w 1087844"/>
              <a:gd name="connsiteY52" fmla="*/ 309388 h 662520"/>
              <a:gd name="connsiteX53" fmla="*/ 543687 w 1087844"/>
              <a:gd name="connsiteY53" fmla="*/ 323862 h 662520"/>
              <a:gd name="connsiteX54" fmla="*/ 543687 w 1087844"/>
              <a:gd name="connsiteY54" fmla="*/ 327609 h 662520"/>
              <a:gd name="connsiteX55" fmla="*/ 597682 w 1087844"/>
              <a:gd name="connsiteY55" fmla="*/ 340566 h 662520"/>
              <a:gd name="connsiteX56" fmla="*/ 639284 w 1087844"/>
              <a:gd name="connsiteY56" fmla="*/ 362534 h 662520"/>
              <a:gd name="connsiteX57" fmla="*/ 668720 w 1087844"/>
              <a:gd name="connsiteY57" fmla="*/ 393513 h 662520"/>
              <a:gd name="connsiteX58" fmla="*/ 686216 w 1087844"/>
              <a:gd name="connsiteY58" fmla="*/ 433502 h 662520"/>
              <a:gd name="connsiteX59" fmla="*/ 691997 w 1087844"/>
              <a:gd name="connsiteY59" fmla="*/ 482498 h 662520"/>
              <a:gd name="connsiteX60" fmla="*/ 686937 w 1087844"/>
              <a:gd name="connsiteY60" fmla="*/ 527743 h 662520"/>
              <a:gd name="connsiteX61" fmla="*/ 671660 w 1087844"/>
              <a:gd name="connsiteY61" fmla="*/ 567021 h 662520"/>
              <a:gd name="connsiteX62" fmla="*/ 647123 w 1087844"/>
              <a:gd name="connsiteY62" fmla="*/ 600232 h 662520"/>
              <a:gd name="connsiteX63" fmla="*/ 614286 w 1087844"/>
              <a:gd name="connsiteY63" fmla="*/ 627278 h 662520"/>
              <a:gd name="connsiteX64" fmla="*/ 574107 w 1087844"/>
              <a:gd name="connsiteY64" fmla="*/ 648061 h 662520"/>
              <a:gd name="connsiteX65" fmla="*/ 527545 w 1087844"/>
              <a:gd name="connsiteY65" fmla="*/ 662482 h 662520"/>
              <a:gd name="connsiteX66" fmla="*/ 1087844 w 1087844"/>
              <a:gd name="connsiteY66" fmla="*/ 662495 h 662520"/>
              <a:gd name="connsiteX0" fmla="*/ 0 w 1087844"/>
              <a:gd name="connsiteY0" fmla="*/ 662495 h 662520"/>
              <a:gd name="connsiteX1" fmla="*/ 319163 w 1087844"/>
              <a:gd name="connsiteY1" fmla="*/ 662520 h 662520"/>
              <a:gd name="connsiteX2" fmla="*/ 298168 w 1087844"/>
              <a:gd name="connsiteY2" fmla="*/ 658030 h 662520"/>
              <a:gd name="connsiteX3" fmla="*/ 278374 w 1087844"/>
              <a:gd name="connsiteY3" fmla="*/ 652783 h 662520"/>
              <a:gd name="connsiteX4" fmla="*/ 259538 w 1087844"/>
              <a:gd name="connsiteY4" fmla="*/ 646826 h 662520"/>
              <a:gd name="connsiteX5" fmla="*/ 241414 w 1087844"/>
              <a:gd name="connsiteY5" fmla="*/ 640206 h 662520"/>
              <a:gd name="connsiteX6" fmla="*/ 241414 w 1087844"/>
              <a:gd name="connsiteY6" fmla="*/ 516293 h 662520"/>
              <a:gd name="connsiteX7" fmla="*/ 323088 w 1087844"/>
              <a:gd name="connsiteY7" fmla="*/ 516293 h 662520"/>
              <a:gd name="connsiteX8" fmla="*/ 339204 w 1087844"/>
              <a:gd name="connsiteY8" fmla="*/ 539439 h 662520"/>
              <a:gd name="connsiteX9" fmla="*/ 362628 w 1087844"/>
              <a:gd name="connsiteY9" fmla="*/ 559242 h 662520"/>
              <a:gd name="connsiteX10" fmla="*/ 393973 w 1087844"/>
              <a:gd name="connsiteY10" fmla="*/ 573062 h 662520"/>
              <a:gd name="connsiteX11" fmla="*/ 433857 w 1087844"/>
              <a:gd name="connsiteY11" fmla="*/ 578256 h 662520"/>
              <a:gd name="connsiteX12" fmla="*/ 476360 w 1087844"/>
              <a:gd name="connsiteY12" fmla="*/ 571758 h 662520"/>
              <a:gd name="connsiteX13" fmla="*/ 511299 w 1087844"/>
              <a:gd name="connsiteY13" fmla="*/ 552322 h 662520"/>
              <a:gd name="connsiteX14" fmla="*/ 534973 w 1087844"/>
              <a:gd name="connsiteY14" fmla="*/ 520038 h 662520"/>
              <a:gd name="connsiteX15" fmla="*/ 543687 w 1087844"/>
              <a:gd name="connsiteY15" fmla="*/ 474992 h 662520"/>
              <a:gd name="connsiteX16" fmla="*/ 536425 w 1087844"/>
              <a:gd name="connsiteY16" fmla="*/ 430240 h 662520"/>
              <a:gd name="connsiteX17" fmla="*/ 514467 w 1087844"/>
              <a:gd name="connsiteY17" fmla="*/ 398602 h 662520"/>
              <a:gd name="connsiteX18" fmla="*/ 477550 w 1087844"/>
              <a:gd name="connsiteY18" fmla="*/ 379812 h 662520"/>
              <a:gd name="connsiteX19" fmla="*/ 425412 w 1087844"/>
              <a:gd name="connsiteY19" fmla="*/ 373608 h 662520"/>
              <a:gd name="connsiteX20" fmla="*/ 376593 w 1087844"/>
              <a:gd name="connsiteY20" fmla="*/ 373608 h 662520"/>
              <a:gd name="connsiteX21" fmla="*/ 376593 w 1087844"/>
              <a:gd name="connsiteY21" fmla="*/ 286308 h 662520"/>
              <a:gd name="connsiteX22" fmla="*/ 417893 w 1087844"/>
              <a:gd name="connsiteY22" fmla="*/ 286308 h 662520"/>
              <a:gd name="connsiteX23" fmla="*/ 471564 w 1087844"/>
              <a:gd name="connsiteY23" fmla="*/ 280133 h 662520"/>
              <a:gd name="connsiteX24" fmla="*/ 510008 w 1087844"/>
              <a:gd name="connsiteY24" fmla="*/ 261550 h 662520"/>
              <a:gd name="connsiteX25" fmla="*/ 533138 w 1087844"/>
              <a:gd name="connsiteY25" fmla="*/ 230469 h 662520"/>
              <a:gd name="connsiteX26" fmla="*/ 540867 w 1087844"/>
              <a:gd name="connsiteY26" fmla="*/ 186804 h 662520"/>
              <a:gd name="connsiteX27" fmla="*/ 535514 w 1087844"/>
              <a:gd name="connsiteY27" fmla="*/ 149115 h 662520"/>
              <a:gd name="connsiteX28" fmla="*/ 519161 w 1087844"/>
              <a:gd name="connsiteY28" fmla="*/ 121104 h 662520"/>
              <a:gd name="connsiteX29" fmla="*/ 491366 w 1087844"/>
              <a:gd name="connsiteY29" fmla="*/ 103651 h 662520"/>
              <a:gd name="connsiteX30" fmla="*/ 451688 w 1087844"/>
              <a:gd name="connsiteY30" fmla="*/ 97637 h 662520"/>
              <a:gd name="connsiteX31" fmla="*/ 414244 w 1087844"/>
              <a:gd name="connsiteY31" fmla="*/ 102374 h 662520"/>
              <a:gd name="connsiteX32" fmla="*/ 384457 w 1087844"/>
              <a:gd name="connsiteY32" fmla="*/ 115117 h 662520"/>
              <a:gd name="connsiteX33" fmla="*/ 361534 w 1087844"/>
              <a:gd name="connsiteY33" fmla="*/ 133668 h 662520"/>
              <a:gd name="connsiteX34" fmla="*/ 344678 w 1087844"/>
              <a:gd name="connsiteY34" fmla="*/ 155828 h 662520"/>
              <a:gd name="connsiteX35" fmla="*/ 266776 w 1087844"/>
              <a:gd name="connsiteY35" fmla="*/ 155828 h 662520"/>
              <a:gd name="connsiteX36" fmla="*/ 266776 w 1087844"/>
              <a:gd name="connsiteY36" fmla="*/ 33807 h 662520"/>
              <a:gd name="connsiteX37" fmla="*/ 311007 w 1087844"/>
              <a:gd name="connsiteY37" fmla="*/ 19813 h 662520"/>
              <a:gd name="connsiteX38" fmla="*/ 358057 w 1087844"/>
              <a:gd name="connsiteY38" fmla="*/ 9159 h 662520"/>
              <a:gd name="connsiteX39" fmla="*/ 408279 w 1087844"/>
              <a:gd name="connsiteY39" fmla="*/ 2378 h 662520"/>
              <a:gd name="connsiteX40" fmla="*/ 462026 w 1087844"/>
              <a:gd name="connsiteY40" fmla="*/ 0 h 662520"/>
              <a:gd name="connsiteX41" fmla="*/ 517396 w 1087844"/>
              <a:gd name="connsiteY41" fmla="*/ 3158 h 662520"/>
              <a:gd name="connsiteX42" fmla="*/ 565690 w 1087844"/>
              <a:gd name="connsiteY42" fmla="*/ 12853 h 662520"/>
              <a:gd name="connsiteX43" fmla="*/ 606381 w 1087844"/>
              <a:gd name="connsiteY43" fmla="*/ 29412 h 662520"/>
              <a:gd name="connsiteX44" fmla="*/ 638944 w 1087844"/>
              <a:gd name="connsiteY44" fmla="*/ 53163 h 662520"/>
              <a:gd name="connsiteX45" fmla="*/ 662854 w 1087844"/>
              <a:gd name="connsiteY45" fmla="*/ 84435 h 662520"/>
              <a:gd name="connsiteX46" fmla="*/ 677585 w 1087844"/>
              <a:gd name="connsiteY46" fmla="*/ 123555 h 662520"/>
              <a:gd name="connsiteX47" fmla="*/ 682612 w 1087844"/>
              <a:gd name="connsiteY47" fmla="*/ 170853 h 662520"/>
              <a:gd name="connsiteX48" fmla="*/ 676454 w 1087844"/>
              <a:gd name="connsiteY48" fmla="*/ 219568 h 662520"/>
              <a:gd name="connsiteX49" fmla="*/ 658582 w 1087844"/>
              <a:gd name="connsiteY49" fmla="*/ 258234 h 662520"/>
              <a:gd name="connsiteX50" fmla="*/ 629896 w 1087844"/>
              <a:gd name="connsiteY50" fmla="*/ 287843 h 662520"/>
              <a:gd name="connsiteX51" fmla="*/ 591297 w 1087844"/>
              <a:gd name="connsiteY51" fmla="*/ 309388 h 662520"/>
              <a:gd name="connsiteX52" fmla="*/ 543687 w 1087844"/>
              <a:gd name="connsiteY52" fmla="*/ 323862 h 662520"/>
              <a:gd name="connsiteX53" fmla="*/ 543687 w 1087844"/>
              <a:gd name="connsiteY53" fmla="*/ 327609 h 662520"/>
              <a:gd name="connsiteX54" fmla="*/ 597682 w 1087844"/>
              <a:gd name="connsiteY54" fmla="*/ 340566 h 662520"/>
              <a:gd name="connsiteX55" fmla="*/ 639284 w 1087844"/>
              <a:gd name="connsiteY55" fmla="*/ 362534 h 662520"/>
              <a:gd name="connsiteX56" fmla="*/ 668720 w 1087844"/>
              <a:gd name="connsiteY56" fmla="*/ 393513 h 662520"/>
              <a:gd name="connsiteX57" fmla="*/ 686216 w 1087844"/>
              <a:gd name="connsiteY57" fmla="*/ 433502 h 662520"/>
              <a:gd name="connsiteX58" fmla="*/ 691997 w 1087844"/>
              <a:gd name="connsiteY58" fmla="*/ 482498 h 662520"/>
              <a:gd name="connsiteX59" fmla="*/ 686937 w 1087844"/>
              <a:gd name="connsiteY59" fmla="*/ 527743 h 662520"/>
              <a:gd name="connsiteX60" fmla="*/ 671660 w 1087844"/>
              <a:gd name="connsiteY60" fmla="*/ 567021 h 662520"/>
              <a:gd name="connsiteX61" fmla="*/ 647123 w 1087844"/>
              <a:gd name="connsiteY61" fmla="*/ 600232 h 662520"/>
              <a:gd name="connsiteX62" fmla="*/ 614286 w 1087844"/>
              <a:gd name="connsiteY62" fmla="*/ 627278 h 662520"/>
              <a:gd name="connsiteX63" fmla="*/ 574107 w 1087844"/>
              <a:gd name="connsiteY63" fmla="*/ 648061 h 662520"/>
              <a:gd name="connsiteX64" fmla="*/ 527545 w 1087844"/>
              <a:gd name="connsiteY64" fmla="*/ 662482 h 662520"/>
              <a:gd name="connsiteX65" fmla="*/ 1087844 w 1087844"/>
              <a:gd name="connsiteY65" fmla="*/ 662495 h 662520"/>
              <a:gd name="connsiteX0" fmla="*/ 0 w 1087844"/>
              <a:gd name="connsiteY0" fmla="*/ 662495 h 662520"/>
              <a:gd name="connsiteX1" fmla="*/ 111727 w 1087844"/>
              <a:gd name="connsiteY1" fmla="*/ 661493 h 662520"/>
              <a:gd name="connsiteX2" fmla="*/ 319163 w 1087844"/>
              <a:gd name="connsiteY2" fmla="*/ 662520 h 662520"/>
              <a:gd name="connsiteX3" fmla="*/ 298168 w 1087844"/>
              <a:gd name="connsiteY3" fmla="*/ 658030 h 662520"/>
              <a:gd name="connsiteX4" fmla="*/ 278374 w 1087844"/>
              <a:gd name="connsiteY4" fmla="*/ 652783 h 662520"/>
              <a:gd name="connsiteX5" fmla="*/ 259538 w 1087844"/>
              <a:gd name="connsiteY5" fmla="*/ 646826 h 662520"/>
              <a:gd name="connsiteX6" fmla="*/ 241414 w 1087844"/>
              <a:gd name="connsiteY6" fmla="*/ 640206 h 662520"/>
              <a:gd name="connsiteX7" fmla="*/ 241414 w 1087844"/>
              <a:gd name="connsiteY7" fmla="*/ 516293 h 662520"/>
              <a:gd name="connsiteX8" fmla="*/ 323088 w 1087844"/>
              <a:gd name="connsiteY8" fmla="*/ 516293 h 662520"/>
              <a:gd name="connsiteX9" fmla="*/ 339204 w 1087844"/>
              <a:gd name="connsiteY9" fmla="*/ 539439 h 662520"/>
              <a:gd name="connsiteX10" fmla="*/ 362628 w 1087844"/>
              <a:gd name="connsiteY10" fmla="*/ 559242 h 662520"/>
              <a:gd name="connsiteX11" fmla="*/ 393973 w 1087844"/>
              <a:gd name="connsiteY11" fmla="*/ 573062 h 662520"/>
              <a:gd name="connsiteX12" fmla="*/ 433857 w 1087844"/>
              <a:gd name="connsiteY12" fmla="*/ 578256 h 662520"/>
              <a:gd name="connsiteX13" fmla="*/ 476360 w 1087844"/>
              <a:gd name="connsiteY13" fmla="*/ 571758 h 662520"/>
              <a:gd name="connsiteX14" fmla="*/ 511299 w 1087844"/>
              <a:gd name="connsiteY14" fmla="*/ 552322 h 662520"/>
              <a:gd name="connsiteX15" fmla="*/ 534973 w 1087844"/>
              <a:gd name="connsiteY15" fmla="*/ 520038 h 662520"/>
              <a:gd name="connsiteX16" fmla="*/ 543687 w 1087844"/>
              <a:gd name="connsiteY16" fmla="*/ 474992 h 662520"/>
              <a:gd name="connsiteX17" fmla="*/ 536425 w 1087844"/>
              <a:gd name="connsiteY17" fmla="*/ 430240 h 662520"/>
              <a:gd name="connsiteX18" fmla="*/ 514467 w 1087844"/>
              <a:gd name="connsiteY18" fmla="*/ 398602 h 662520"/>
              <a:gd name="connsiteX19" fmla="*/ 477550 w 1087844"/>
              <a:gd name="connsiteY19" fmla="*/ 379812 h 662520"/>
              <a:gd name="connsiteX20" fmla="*/ 425412 w 1087844"/>
              <a:gd name="connsiteY20" fmla="*/ 373608 h 662520"/>
              <a:gd name="connsiteX21" fmla="*/ 376593 w 1087844"/>
              <a:gd name="connsiteY21" fmla="*/ 373608 h 662520"/>
              <a:gd name="connsiteX22" fmla="*/ 376593 w 1087844"/>
              <a:gd name="connsiteY22" fmla="*/ 286308 h 662520"/>
              <a:gd name="connsiteX23" fmla="*/ 417893 w 1087844"/>
              <a:gd name="connsiteY23" fmla="*/ 286308 h 662520"/>
              <a:gd name="connsiteX24" fmla="*/ 471564 w 1087844"/>
              <a:gd name="connsiteY24" fmla="*/ 280133 h 662520"/>
              <a:gd name="connsiteX25" fmla="*/ 510008 w 1087844"/>
              <a:gd name="connsiteY25" fmla="*/ 261550 h 662520"/>
              <a:gd name="connsiteX26" fmla="*/ 533138 w 1087844"/>
              <a:gd name="connsiteY26" fmla="*/ 230469 h 662520"/>
              <a:gd name="connsiteX27" fmla="*/ 540867 w 1087844"/>
              <a:gd name="connsiteY27" fmla="*/ 186804 h 662520"/>
              <a:gd name="connsiteX28" fmla="*/ 535514 w 1087844"/>
              <a:gd name="connsiteY28" fmla="*/ 149115 h 662520"/>
              <a:gd name="connsiteX29" fmla="*/ 519161 w 1087844"/>
              <a:gd name="connsiteY29" fmla="*/ 121104 h 662520"/>
              <a:gd name="connsiteX30" fmla="*/ 491366 w 1087844"/>
              <a:gd name="connsiteY30" fmla="*/ 103651 h 662520"/>
              <a:gd name="connsiteX31" fmla="*/ 451688 w 1087844"/>
              <a:gd name="connsiteY31" fmla="*/ 97637 h 662520"/>
              <a:gd name="connsiteX32" fmla="*/ 414244 w 1087844"/>
              <a:gd name="connsiteY32" fmla="*/ 102374 h 662520"/>
              <a:gd name="connsiteX33" fmla="*/ 384457 w 1087844"/>
              <a:gd name="connsiteY33" fmla="*/ 115117 h 662520"/>
              <a:gd name="connsiteX34" fmla="*/ 361534 w 1087844"/>
              <a:gd name="connsiteY34" fmla="*/ 133668 h 662520"/>
              <a:gd name="connsiteX35" fmla="*/ 344678 w 1087844"/>
              <a:gd name="connsiteY35" fmla="*/ 155828 h 662520"/>
              <a:gd name="connsiteX36" fmla="*/ 266776 w 1087844"/>
              <a:gd name="connsiteY36" fmla="*/ 155828 h 662520"/>
              <a:gd name="connsiteX37" fmla="*/ 266776 w 1087844"/>
              <a:gd name="connsiteY37" fmla="*/ 33807 h 662520"/>
              <a:gd name="connsiteX38" fmla="*/ 311007 w 1087844"/>
              <a:gd name="connsiteY38" fmla="*/ 19813 h 662520"/>
              <a:gd name="connsiteX39" fmla="*/ 358057 w 1087844"/>
              <a:gd name="connsiteY39" fmla="*/ 9159 h 662520"/>
              <a:gd name="connsiteX40" fmla="*/ 408279 w 1087844"/>
              <a:gd name="connsiteY40" fmla="*/ 2378 h 662520"/>
              <a:gd name="connsiteX41" fmla="*/ 462026 w 1087844"/>
              <a:gd name="connsiteY41" fmla="*/ 0 h 662520"/>
              <a:gd name="connsiteX42" fmla="*/ 517396 w 1087844"/>
              <a:gd name="connsiteY42" fmla="*/ 3158 h 662520"/>
              <a:gd name="connsiteX43" fmla="*/ 565690 w 1087844"/>
              <a:gd name="connsiteY43" fmla="*/ 12853 h 662520"/>
              <a:gd name="connsiteX44" fmla="*/ 606381 w 1087844"/>
              <a:gd name="connsiteY44" fmla="*/ 29412 h 662520"/>
              <a:gd name="connsiteX45" fmla="*/ 638944 w 1087844"/>
              <a:gd name="connsiteY45" fmla="*/ 53163 h 662520"/>
              <a:gd name="connsiteX46" fmla="*/ 662854 w 1087844"/>
              <a:gd name="connsiteY46" fmla="*/ 84435 h 662520"/>
              <a:gd name="connsiteX47" fmla="*/ 677585 w 1087844"/>
              <a:gd name="connsiteY47" fmla="*/ 123555 h 662520"/>
              <a:gd name="connsiteX48" fmla="*/ 682612 w 1087844"/>
              <a:gd name="connsiteY48" fmla="*/ 170853 h 662520"/>
              <a:gd name="connsiteX49" fmla="*/ 676454 w 1087844"/>
              <a:gd name="connsiteY49" fmla="*/ 219568 h 662520"/>
              <a:gd name="connsiteX50" fmla="*/ 658582 w 1087844"/>
              <a:gd name="connsiteY50" fmla="*/ 258234 h 662520"/>
              <a:gd name="connsiteX51" fmla="*/ 629896 w 1087844"/>
              <a:gd name="connsiteY51" fmla="*/ 287843 h 662520"/>
              <a:gd name="connsiteX52" fmla="*/ 591297 w 1087844"/>
              <a:gd name="connsiteY52" fmla="*/ 309388 h 662520"/>
              <a:gd name="connsiteX53" fmla="*/ 543687 w 1087844"/>
              <a:gd name="connsiteY53" fmla="*/ 323862 h 662520"/>
              <a:gd name="connsiteX54" fmla="*/ 543687 w 1087844"/>
              <a:gd name="connsiteY54" fmla="*/ 327609 h 662520"/>
              <a:gd name="connsiteX55" fmla="*/ 597682 w 1087844"/>
              <a:gd name="connsiteY55" fmla="*/ 340566 h 662520"/>
              <a:gd name="connsiteX56" fmla="*/ 639284 w 1087844"/>
              <a:gd name="connsiteY56" fmla="*/ 362534 h 662520"/>
              <a:gd name="connsiteX57" fmla="*/ 668720 w 1087844"/>
              <a:gd name="connsiteY57" fmla="*/ 393513 h 662520"/>
              <a:gd name="connsiteX58" fmla="*/ 686216 w 1087844"/>
              <a:gd name="connsiteY58" fmla="*/ 433502 h 662520"/>
              <a:gd name="connsiteX59" fmla="*/ 691997 w 1087844"/>
              <a:gd name="connsiteY59" fmla="*/ 482498 h 662520"/>
              <a:gd name="connsiteX60" fmla="*/ 686937 w 1087844"/>
              <a:gd name="connsiteY60" fmla="*/ 527743 h 662520"/>
              <a:gd name="connsiteX61" fmla="*/ 671660 w 1087844"/>
              <a:gd name="connsiteY61" fmla="*/ 567021 h 662520"/>
              <a:gd name="connsiteX62" fmla="*/ 647123 w 1087844"/>
              <a:gd name="connsiteY62" fmla="*/ 600232 h 662520"/>
              <a:gd name="connsiteX63" fmla="*/ 614286 w 1087844"/>
              <a:gd name="connsiteY63" fmla="*/ 627278 h 662520"/>
              <a:gd name="connsiteX64" fmla="*/ 574107 w 1087844"/>
              <a:gd name="connsiteY64" fmla="*/ 648061 h 662520"/>
              <a:gd name="connsiteX65" fmla="*/ 527545 w 1087844"/>
              <a:gd name="connsiteY65" fmla="*/ 662482 h 662520"/>
              <a:gd name="connsiteX66" fmla="*/ 1087844 w 1087844"/>
              <a:gd name="connsiteY66" fmla="*/ 662495 h 662520"/>
              <a:gd name="connsiteX0" fmla="*/ 0 w 1087844"/>
              <a:gd name="connsiteY0" fmla="*/ 662495 h 662520"/>
              <a:gd name="connsiteX1" fmla="*/ 319163 w 1087844"/>
              <a:gd name="connsiteY1" fmla="*/ 662520 h 662520"/>
              <a:gd name="connsiteX2" fmla="*/ 298168 w 1087844"/>
              <a:gd name="connsiteY2" fmla="*/ 658030 h 662520"/>
              <a:gd name="connsiteX3" fmla="*/ 278374 w 1087844"/>
              <a:gd name="connsiteY3" fmla="*/ 652783 h 662520"/>
              <a:gd name="connsiteX4" fmla="*/ 259538 w 1087844"/>
              <a:gd name="connsiteY4" fmla="*/ 646826 h 662520"/>
              <a:gd name="connsiteX5" fmla="*/ 241414 w 1087844"/>
              <a:gd name="connsiteY5" fmla="*/ 640206 h 662520"/>
              <a:gd name="connsiteX6" fmla="*/ 241414 w 1087844"/>
              <a:gd name="connsiteY6" fmla="*/ 516293 h 662520"/>
              <a:gd name="connsiteX7" fmla="*/ 323088 w 1087844"/>
              <a:gd name="connsiteY7" fmla="*/ 516293 h 662520"/>
              <a:gd name="connsiteX8" fmla="*/ 339204 w 1087844"/>
              <a:gd name="connsiteY8" fmla="*/ 539439 h 662520"/>
              <a:gd name="connsiteX9" fmla="*/ 362628 w 1087844"/>
              <a:gd name="connsiteY9" fmla="*/ 559242 h 662520"/>
              <a:gd name="connsiteX10" fmla="*/ 393973 w 1087844"/>
              <a:gd name="connsiteY10" fmla="*/ 573062 h 662520"/>
              <a:gd name="connsiteX11" fmla="*/ 433857 w 1087844"/>
              <a:gd name="connsiteY11" fmla="*/ 578256 h 662520"/>
              <a:gd name="connsiteX12" fmla="*/ 476360 w 1087844"/>
              <a:gd name="connsiteY12" fmla="*/ 571758 h 662520"/>
              <a:gd name="connsiteX13" fmla="*/ 511299 w 1087844"/>
              <a:gd name="connsiteY13" fmla="*/ 552322 h 662520"/>
              <a:gd name="connsiteX14" fmla="*/ 534973 w 1087844"/>
              <a:gd name="connsiteY14" fmla="*/ 520038 h 662520"/>
              <a:gd name="connsiteX15" fmla="*/ 543687 w 1087844"/>
              <a:gd name="connsiteY15" fmla="*/ 474992 h 662520"/>
              <a:gd name="connsiteX16" fmla="*/ 536425 w 1087844"/>
              <a:gd name="connsiteY16" fmla="*/ 430240 h 662520"/>
              <a:gd name="connsiteX17" fmla="*/ 514467 w 1087844"/>
              <a:gd name="connsiteY17" fmla="*/ 398602 h 662520"/>
              <a:gd name="connsiteX18" fmla="*/ 477550 w 1087844"/>
              <a:gd name="connsiteY18" fmla="*/ 379812 h 662520"/>
              <a:gd name="connsiteX19" fmla="*/ 425412 w 1087844"/>
              <a:gd name="connsiteY19" fmla="*/ 373608 h 662520"/>
              <a:gd name="connsiteX20" fmla="*/ 376593 w 1087844"/>
              <a:gd name="connsiteY20" fmla="*/ 373608 h 662520"/>
              <a:gd name="connsiteX21" fmla="*/ 376593 w 1087844"/>
              <a:gd name="connsiteY21" fmla="*/ 286308 h 662520"/>
              <a:gd name="connsiteX22" fmla="*/ 417893 w 1087844"/>
              <a:gd name="connsiteY22" fmla="*/ 286308 h 662520"/>
              <a:gd name="connsiteX23" fmla="*/ 471564 w 1087844"/>
              <a:gd name="connsiteY23" fmla="*/ 280133 h 662520"/>
              <a:gd name="connsiteX24" fmla="*/ 510008 w 1087844"/>
              <a:gd name="connsiteY24" fmla="*/ 261550 h 662520"/>
              <a:gd name="connsiteX25" fmla="*/ 533138 w 1087844"/>
              <a:gd name="connsiteY25" fmla="*/ 230469 h 662520"/>
              <a:gd name="connsiteX26" fmla="*/ 540867 w 1087844"/>
              <a:gd name="connsiteY26" fmla="*/ 186804 h 662520"/>
              <a:gd name="connsiteX27" fmla="*/ 535514 w 1087844"/>
              <a:gd name="connsiteY27" fmla="*/ 149115 h 662520"/>
              <a:gd name="connsiteX28" fmla="*/ 519161 w 1087844"/>
              <a:gd name="connsiteY28" fmla="*/ 121104 h 662520"/>
              <a:gd name="connsiteX29" fmla="*/ 491366 w 1087844"/>
              <a:gd name="connsiteY29" fmla="*/ 103651 h 662520"/>
              <a:gd name="connsiteX30" fmla="*/ 451688 w 1087844"/>
              <a:gd name="connsiteY30" fmla="*/ 97637 h 662520"/>
              <a:gd name="connsiteX31" fmla="*/ 414244 w 1087844"/>
              <a:gd name="connsiteY31" fmla="*/ 102374 h 662520"/>
              <a:gd name="connsiteX32" fmla="*/ 384457 w 1087844"/>
              <a:gd name="connsiteY32" fmla="*/ 115117 h 662520"/>
              <a:gd name="connsiteX33" fmla="*/ 361534 w 1087844"/>
              <a:gd name="connsiteY33" fmla="*/ 133668 h 662520"/>
              <a:gd name="connsiteX34" fmla="*/ 344678 w 1087844"/>
              <a:gd name="connsiteY34" fmla="*/ 155828 h 662520"/>
              <a:gd name="connsiteX35" fmla="*/ 266776 w 1087844"/>
              <a:gd name="connsiteY35" fmla="*/ 155828 h 662520"/>
              <a:gd name="connsiteX36" fmla="*/ 266776 w 1087844"/>
              <a:gd name="connsiteY36" fmla="*/ 33807 h 662520"/>
              <a:gd name="connsiteX37" fmla="*/ 311007 w 1087844"/>
              <a:gd name="connsiteY37" fmla="*/ 19813 h 662520"/>
              <a:gd name="connsiteX38" fmla="*/ 358057 w 1087844"/>
              <a:gd name="connsiteY38" fmla="*/ 9159 h 662520"/>
              <a:gd name="connsiteX39" fmla="*/ 408279 w 1087844"/>
              <a:gd name="connsiteY39" fmla="*/ 2378 h 662520"/>
              <a:gd name="connsiteX40" fmla="*/ 462026 w 1087844"/>
              <a:gd name="connsiteY40" fmla="*/ 0 h 662520"/>
              <a:gd name="connsiteX41" fmla="*/ 517396 w 1087844"/>
              <a:gd name="connsiteY41" fmla="*/ 3158 h 662520"/>
              <a:gd name="connsiteX42" fmla="*/ 565690 w 1087844"/>
              <a:gd name="connsiteY42" fmla="*/ 12853 h 662520"/>
              <a:gd name="connsiteX43" fmla="*/ 606381 w 1087844"/>
              <a:gd name="connsiteY43" fmla="*/ 29412 h 662520"/>
              <a:gd name="connsiteX44" fmla="*/ 638944 w 1087844"/>
              <a:gd name="connsiteY44" fmla="*/ 53163 h 662520"/>
              <a:gd name="connsiteX45" fmla="*/ 662854 w 1087844"/>
              <a:gd name="connsiteY45" fmla="*/ 84435 h 662520"/>
              <a:gd name="connsiteX46" fmla="*/ 677585 w 1087844"/>
              <a:gd name="connsiteY46" fmla="*/ 123555 h 662520"/>
              <a:gd name="connsiteX47" fmla="*/ 682612 w 1087844"/>
              <a:gd name="connsiteY47" fmla="*/ 170853 h 662520"/>
              <a:gd name="connsiteX48" fmla="*/ 676454 w 1087844"/>
              <a:gd name="connsiteY48" fmla="*/ 219568 h 662520"/>
              <a:gd name="connsiteX49" fmla="*/ 658582 w 1087844"/>
              <a:gd name="connsiteY49" fmla="*/ 258234 h 662520"/>
              <a:gd name="connsiteX50" fmla="*/ 629896 w 1087844"/>
              <a:gd name="connsiteY50" fmla="*/ 287843 h 662520"/>
              <a:gd name="connsiteX51" fmla="*/ 591297 w 1087844"/>
              <a:gd name="connsiteY51" fmla="*/ 309388 h 662520"/>
              <a:gd name="connsiteX52" fmla="*/ 543687 w 1087844"/>
              <a:gd name="connsiteY52" fmla="*/ 323862 h 662520"/>
              <a:gd name="connsiteX53" fmla="*/ 543687 w 1087844"/>
              <a:gd name="connsiteY53" fmla="*/ 327609 h 662520"/>
              <a:gd name="connsiteX54" fmla="*/ 597682 w 1087844"/>
              <a:gd name="connsiteY54" fmla="*/ 340566 h 662520"/>
              <a:gd name="connsiteX55" fmla="*/ 639284 w 1087844"/>
              <a:gd name="connsiteY55" fmla="*/ 362534 h 662520"/>
              <a:gd name="connsiteX56" fmla="*/ 668720 w 1087844"/>
              <a:gd name="connsiteY56" fmla="*/ 393513 h 662520"/>
              <a:gd name="connsiteX57" fmla="*/ 686216 w 1087844"/>
              <a:gd name="connsiteY57" fmla="*/ 433502 h 662520"/>
              <a:gd name="connsiteX58" fmla="*/ 691997 w 1087844"/>
              <a:gd name="connsiteY58" fmla="*/ 482498 h 662520"/>
              <a:gd name="connsiteX59" fmla="*/ 686937 w 1087844"/>
              <a:gd name="connsiteY59" fmla="*/ 527743 h 662520"/>
              <a:gd name="connsiteX60" fmla="*/ 671660 w 1087844"/>
              <a:gd name="connsiteY60" fmla="*/ 567021 h 662520"/>
              <a:gd name="connsiteX61" fmla="*/ 647123 w 1087844"/>
              <a:gd name="connsiteY61" fmla="*/ 600232 h 662520"/>
              <a:gd name="connsiteX62" fmla="*/ 614286 w 1087844"/>
              <a:gd name="connsiteY62" fmla="*/ 627278 h 662520"/>
              <a:gd name="connsiteX63" fmla="*/ 574107 w 1087844"/>
              <a:gd name="connsiteY63" fmla="*/ 648061 h 662520"/>
              <a:gd name="connsiteX64" fmla="*/ 527545 w 1087844"/>
              <a:gd name="connsiteY64" fmla="*/ 662482 h 662520"/>
              <a:gd name="connsiteX65" fmla="*/ 1087844 w 1087844"/>
              <a:gd name="connsiteY65" fmla="*/ 662495 h 662520"/>
              <a:gd name="connsiteX0" fmla="*/ 0 w 980605"/>
              <a:gd name="connsiteY0" fmla="*/ 664411 h 664411"/>
              <a:gd name="connsiteX1" fmla="*/ 211924 w 980605"/>
              <a:gd name="connsiteY1" fmla="*/ 662520 h 664411"/>
              <a:gd name="connsiteX2" fmla="*/ 190929 w 980605"/>
              <a:gd name="connsiteY2" fmla="*/ 658030 h 664411"/>
              <a:gd name="connsiteX3" fmla="*/ 171135 w 980605"/>
              <a:gd name="connsiteY3" fmla="*/ 652783 h 664411"/>
              <a:gd name="connsiteX4" fmla="*/ 152299 w 980605"/>
              <a:gd name="connsiteY4" fmla="*/ 646826 h 664411"/>
              <a:gd name="connsiteX5" fmla="*/ 134175 w 980605"/>
              <a:gd name="connsiteY5" fmla="*/ 640206 h 664411"/>
              <a:gd name="connsiteX6" fmla="*/ 134175 w 980605"/>
              <a:gd name="connsiteY6" fmla="*/ 516293 h 664411"/>
              <a:gd name="connsiteX7" fmla="*/ 215849 w 980605"/>
              <a:gd name="connsiteY7" fmla="*/ 516293 h 664411"/>
              <a:gd name="connsiteX8" fmla="*/ 231965 w 980605"/>
              <a:gd name="connsiteY8" fmla="*/ 539439 h 664411"/>
              <a:gd name="connsiteX9" fmla="*/ 255389 w 980605"/>
              <a:gd name="connsiteY9" fmla="*/ 559242 h 664411"/>
              <a:gd name="connsiteX10" fmla="*/ 286734 w 980605"/>
              <a:gd name="connsiteY10" fmla="*/ 573062 h 664411"/>
              <a:gd name="connsiteX11" fmla="*/ 326618 w 980605"/>
              <a:gd name="connsiteY11" fmla="*/ 578256 h 664411"/>
              <a:gd name="connsiteX12" fmla="*/ 369121 w 980605"/>
              <a:gd name="connsiteY12" fmla="*/ 571758 h 664411"/>
              <a:gd name="connsiteX13" fmla="*/ 404060 w 980605"/>
              <a:gd name="connsiteY13" fmla="*/ 552322 h 664411"/>
              <a:gd name="connsiteX14" fmla="*/ 427734 w 980605"/>
              <a:gd name="connsiteY14" fmla="*/ 520038 h 664411"/>
              <a:gd name="connsiteX15" fmla="*/ 436448 w 980605"/>
              <a:gd name="connsiteY15" fmla="*/ 474992 h 664411"/>
              <a:gd name="connsiteX16" fmla="*/ 429186 w 980605"/>
              <a:gd name="connsiteY16" fmla="*/ 430240 h 664411"/>
              <a:gd name="connsiteX17" fmla="*/ 407228 w 980605"/>
              <a:gd name="connsiteY17" fmla="*/ 398602 h 664411"/>
              <a:gd name="connsiteX18" fmla="*/ 370311 w 980605"/>
              <a:gd name="connsiteY18" fmla="*/ 379812 h 664411"/>
              <a:gd name="connsiteX19" fmla="*/ 318173 w 980605"/>
              <a:gd name="connsiteY19" fmla="*/ 373608 h 664411"/>
              <a:gd name="connsiteX20" fmla="*/ 269354 w 980605"/>
              <a:gd name="connsiteY20" fmla="*/ 373608 h 664411"/>
              <a:gd name="connsiteX21" fmla="*/ 269354 w 980605"/>
              <a:gd name="connsiteY21" fmla="*/ 286308 h 664411"/>
              <a:gd name="connsiteX22" fmla="*/ 310654 w 980605"/>
              <a:gd name="connsiteY22" fmla="*/ 286308 h 664411"/>
              <a:gd name="connsiteX23" fmla="*/ 364325 w 980605"/>
              <a:gd name="connsiteY23" fmla="*/ 280133 h 664411"/>
              <a:gd name="connsiteX24" fmla="*/ 402769 w 980605"/>
              <a:gd name="connsiteY24" fmla="*/ 261550 h 664411"/>
              <a:gd name="connsiteX25" fmla="*/ 425899 w 980605"/>
              <a:gd name="connsiteY25" fmla="*/ 230469 h 664411"/>
              <a:gd name="connsiteX26" fmla="*/ 433628 w 980605"/>
              <a:gd name="connsiteY26" fmla="*/ 186804 h 664411"/>
              <a:gd name="connsiteX27" fmla="*/ 428275 w 980605"/>
              <a:gd name="connsiteY27" fmla="*/ 149115 h 664411"/>
              <a:gd name="connsiteX28" fmla="*/ 411922 w 980605"/>
              <a:gd name="connsiteY28" fmla="*/ 121104 h 664411"/>
              <a:gd name="connsiteX29" fmla="*/ 384127 w 980605"/>
              <a:gd name="connsiteY29" fmla="*/ 103651 h 664411"/>
              <a:gd name="connsiteX30" fmla="*/ 344449 w 980605"/>
              <a:gd name="connsiteY30" fmla="*/ 97637 h 664411"/>
              <a:gd name="connsiteX31" fmla="*/ 307005 w 980605"/>
              <a:gd name="connsiteY31" fmla="*/ 102374 h 664411"/>
              <a:gd name="connsiteX32" fmla="*/ 277218 w 980605"/>
              <a:gd name="connsiteY32" fmla="*/ 115117 h 664411"/>
              <a:gd name="connsiteX33" fmla="*/ 254295 w 980605"/>
              <a:gd name="connsiteY33" fmla="*/ 133668 h 664411"/>
              <a:gd name="connsiteX34" fmla="*/ 237439 w 980605"/>
              <a:gd name="connsiteY34" fmla="*/ 155828 h 664411"/>
              <a:gd name="connsiteX35" fmla="*/ 159537 w 980605"/>
              <a:gd name="connsiteY35" fmla="*/ 155828 h 664411"/>
              <a:gd name="connsiteX36" fmla="*/ 159537 w 980605"/>
              <a:gd name="connsiteY36" fmla="*/ 33807 h 664411"/>
              <a:gd name="connsiteX37" fmla="*/ 203768 w 980605"/>
              <a:gd name="connsiteY37" fmla="*/ 19813 h 664411"/>
              <a:gd name="connsiteX38" fmla="*/ 250818 w 980605"/>
              <a:gd name="connsiteY38" fmla="*/ 9159 h 664411"/>
              <a:gd name="connsiteX39" fmla="*/ 301040 w 980605"/>
              <a:gd name="connsiteY39" fmla="*/ 2378 h 664411"/>
              <a:gd name="connsiteX40" fmla="*/ 354787 w 980605"/>
              <a:gd name="connsiteY40" fmla="*/ 0 h 664411"/>
              <a:gd name="connsiteX41" fmla="*/ 410157 w 980605"/>
              <a:gd name="connsiteY41" fmla="*/ 3158 h 664411"/>
              <a:gd name="connsiteX42" fmla="*/ 458451 w 980605"/>
              <a:gd name="connsiteY42" fmla="*/ 12853 h 664411"/>
              <a:gd name="connsiteX43" fmla="*/ 499142 w 980605"/>
              <a:gd name="connsiteY43" fmla="*/ 29412 h 664411"/>
              <a:gd name="connsiteX44" fmla="*/ 531705 w 980605"/>
              <a:gd name="connsiteY44" fmla="*/ 53163 h 664411"/>
              <a:gd name="connsiteX45" fmla="*/ 555615 w 980605"/>
              <a:gd name="connsiteY45" fmla="*/ 84435 h 664411"/>
              <a:gd name="connsiteX46" fmla="*/ 570346 w 980605"/>
              <a:gd name="connsiteY46" fmla="*/ 123555 h 664411"/>
              <a:gd name="connsiteX47" fmla="*/ 575373 w 980605"/>
              <a:gd name="connsiteY47" fmla="*/ 170853 h 664411"/>
              <a:gd name="connsiteX48" fmla="*/ 569215 w 980605"/>
              <a:gd name="connsiteY48" fmla="*/ 219568 h 664411"/>
              <a:gd name="connsiteX49" fmla="*/ 551343 w 980605"/>
              <a:gd name="connsiteY49" fmla="*/ 258234 h 664411"/>
              <a:gd name="connsiteX50" fmla="*/ 522657 w 980605"/>
              <a:gd name="connsiteY50" fmla="*/ 287843 h 664411"/>
              <a:gd name="connsiteX51" fmla="*/ 484058 w 980605"/>
              <a:gd name="connsiteY51" fmla="*/ 309388 h 664411"/>
              <a:gd name="connsiteX52" fmla="*/ 436448 w 980605"/>
              <a:gd name="connsiteY52" fmla="*/ 323862 h 664411"/>
              <a:gd name="connsiteX53" fmla="*/ 436448 w 980605"/>
              <a:gd name="connsiteY53" fmla="*/ 327609 h 664411"/>
              <a:gd name="connsiteX54" fmla="*/ 490443 w 980605"/>
              <a:gd name="connsiteY54" fmla="*/ 340566 h 664411"/>
              <a:gd name="connsiteX55" fmla="*/ 532045 w 980605"/>
              <a:gd name="connsiteY55" fmla="*/ 362534 h 664411"/>
              <a:gd name="connsiteX56" fmla="*/ 561481 w 980605"/>
              <a:gd name="connsiteY56" fmla="*/ 393513 h 664411"/>
              <a:gd name="connsiteX57" fmla="*/ 578977 w 980605"/>
              <a:gd name="connsiteY57" fmla="*/ 433502 h 664411"/>
              <a:gd name="connsiteX58" fmla="*/ 584758 w 980605"/>
              <a:gd name="connsiteY58" fmla="*/ 482498 h 664411"/>
              <a:gd name="connsiteX59" fmla="*/ 579698 w 980605"/>
              <a:gd name="connsiteY59" fmla="*/ 527743 h 664411"/>
              <a:gd name="connsiteX60" fmla="*/ 564421 w 980605"/>
              <a:gd name="connsiteY60" fmla="*/ 567021 h 664411"/>
              <a:gd name="connsiteX61" fmla="*/ 539884 w 980605"/>
              <a:gd name="connsiteY61" fmla="*/ 600232 h 664411"/>
              <a:gd name="connsiteX62" fmla="*/ 507047 w 980605"/>
              <a:gd name="connsiteY62" fmla="*/ 627278 h 664411"/>
              <a:gd name="connsiteX63" fmla="*/ 466868 w 980605"/>
              <a:gd name="connsiteY63" fmla="*/ 648061 h 664411"/>
              <a:gd name="connsiteX64" fmla="*/ 420306 w 980605"/>
              <a:gd name="connsiteY64" fmla="*/ 662482 h 664411"/>
              <a:gd name="connsiteX65" fmla="*/ 980605 w 980605"/>
              <a:gd name="connsiteY65" fmla="*/ 662495 h 664411"/>
              <a:gd name="connsiteX0" fmla="*/ 0 w 980605"/>
              <a:gd name="connsiteY0" fmla="*/ 660580 h 662520"/>
              <a:gd name="connsiteX1" fmla="*/ 211924 w 980605"/>
              <a:gd name="connsiteY1" fmla="*/ 662520 h 662520"/>
              <a:gd name="connsiteX2" fmla="*/ 190929 w 980605"/>
              <a:gd name="connsiteY2" fmla="*/ 658030 h 662520"/>
              <a:gd name="connsiteX3" fmla="*/ 171135 w 980605"/>
              <a:gd name="connsiteY3" fmla="*/ 652783 h 662520"/>
              <a:gd name="connsiteX4" fmla="*/ 152299 w 980605"/>
              <a:gd name="connsiteY4" fmla="*/ 646826 h 662520"/>
              <a:gd name="connsiteX5" fmla="*/ 134175 w 980605"/>
              <a:gd name="connsiteY5" fmla="*/ 640206 h 662520"/>
              <a:gd name="connsiteX6" fmla="*/ 134175 w 980605"/>
              <a:gd name="connsiteY6" fmla="*/ 516293 h 662520"/>
              <a:gd name="connsiteX7" fmla="*/ 215849 w 980605"/>
              <a:gd name="connsiteY7" fmla="*/ 516293 h 662520"/>
              <a:gd name="connsiteX8" fmla="*/ 231965 w 980605"/>
              <a:gd name="connsiteY8" fmla="*/ 539439 h 662520"/>
              <a:gd name="connsiteX9" fmla="*/ 255389 w 980605"/>
              <a:gd name="connsiteY9" fmla="*/ 559242 h 662520"/>
              <a:gd name="connsiteX10" fmla="*/ 286734 w 980605"/>
              <a:gd name="connsiteY10" fmla="*/ 573062 h 662520"/>
              <a:gd name="connsiteX11" fmla="*/ 326618 w 980605"/>
              <a:gd name="connsiteY11" fmla="*/ 578256 h 662520"/>
              <a:gd name="connsiteX12" fmla="*/ 369121 w 980605"/>
              <a:gd name="connsiteY12" fmla="*/ 571758 h 662520"/>
              <a:gd name="connsiteX13" fmla="*/ 404060 w 980605"/>
              <a:gd name="connsiteY13" fmla="*/ 552322 h 662520"/>
              <a:gd name="connsiteX14" fmla="*/ 427734 w 980605"/>
              <a:gd name="connsiteY14" fmla="*/ 520038 h 662520"/>
              <a:gd name="connsiteX15" fmla="*/ 436448 w 980605"/>
              <a:gd name="connsiteY15" fmla="*/ 474992 h 662520"/>
              <a:gd name="connsiteX16" fmla="*/ 429186 w 980605"/>
              <a:gd name="connsiteY16" fmla="*/ 430240 h 662520"/>
              <a:gd name="connsiteX17" fmla="*/ 407228 w 980605"/>
              <a:gd name="connsiteY17" fmla="*/ 398602 h 662520"/>
              <a:gd name="connsiteX18" fmla="*/ 370311 w 980605"/>
              <a:gd name="connsiteY18" fmla="*/ 379812 h 662520"/>
              <a:gd name="connsiteX19" fmla="*/ 318173 w 980605"/>
              <a:gd name="connsiteY19" fmla="*/ 373608 h 662520"/>
              <a:gd name="connsiteX20" fmla="*/ 269354 w 980605"/>
              <a:gd name="connsiteY20" fmla="*/ 373608 h 662520"/>
              <a:gd name="connsiteX21" fmla="*/ 269354 w 980605"/>
              <a:gd name="connsiteY21" fmla="*/ 286308 h 662520"/>
              <a:gd name="connsiteX22" fmla="*/ 310654 w 980605"/>
              <a:gd name="connsiteY22" fmla="*/ 286308 h 662520"/>
              <a:gd name="connsiteX23" fmla="*/ 364325 w 980605"/>
              <a:gd name="connsiteY23" fmla="*/ 280133 h 662520"/>
              <a:gd name="connsiteX24" fmla="*/ 402769 w 980605"/>
              <a:gd name="connsiteY24" fmla="*/ 261550 h 662520"/>
              <a:gd name="connsiteX25" fmla="*/ 425899 w 980605"/>
              <a:gd name="connsiteY25" fmla="*/ 230469 h 662520"/>
              <a:gd name="connsiteX26" fmla="*/ 433628 w 980605"/>
              <a:gd name="connsiteY26" fmla="*/ 186804 h 662520"/>
              <a:gd name="connsiteX27" fmla="*/ 428275 w 980605"/>
              <a:gd name="connsiteY27" fmla="*/ 149115 h 662520"/>
              <a:gd name="connsiteX28" fmla="*/ 411922 w 980605"/>
              <a:gd name="connsiteY28" fmla="*/ 121104 h 662520"/>
              <a:gd name="connsiteX29" fmla="*/ 384127 w 980605"/>
              <a:gd name="connsiteY29" fmla="*/ 103651 h 662520"/>
              <a:gd name="connsiteX30" fmla="*/ 344449 w 980605"/>
              <a:gd name="connsiteY30" fmla="*/ 97637 h 662520"/>
              <a:gd name="connsiteX31" fmla="*/ 307005 w 980605"/>
              <a:gd name="connsiteY31" fmla="*/ 102374 h 662520"/>
              <a:gd name="connsiteX32" fmla="*/ 277218 w 980605"/>
              <a:gd name="connsiteY32" fmla="*/ 115117 h 662520"/>
              <a:gd name="connsiteX33" fmla="*/ 254295 w 980605"/>
              <a:gd name="connsiteY33" fmla="*/ 133668 h 662520"/>
              <a:gd name="connsiteX34" fmla="*/ 237439 w 980605"/>
              <a:gd name="connsiteY34" fmla="*/ 155828 h 662520"/>
              <a:gd name="connsiteX35" fmla="*/ 159537 w 980605"/>
              <a:gd name="connsiteY35" fmla="*/ 155828 h 662520"/>
              <a:gd name="connsiteX36" fmla="*/ 159537 w 980605"/>
              <a:gd name="connsiteY36" fmla="*/ 33807 h 662520"/>
              <a:gd name="connsiteX37" fmla="*/ 203768 w 980605"/>
              <a:gd name="connsiteY37" fmla="*/ 19813 h 662520"/>
              <a:gd name="connsiteX38" fmla="*/ 250818 w 980605"/>
              <a:gd name="connsiteY38" fmla="*/ 9159 h 662520"/>
              <a:gd name="connsiteX39" fmla="*/ 301040 w 980605"/>
              <a:gd name="connsiteY39" fmla="*/ 2378 h 662520"/>
              <a:gd name="connsiteX40" fmla="*/ 354787 w 980605"/>
              <a:gd name="connsiteY40" fmla="*/ 0 h 662520"/>
              <a:gd name="connsiteX41" fmla="*/ 410157 w 980605"/>
              <a:gd name="connsiteY41" fmla="*/ 3158 h 662520"/>
              <a:gd name="connsiteX42" fmla="*/ 458451 w 980605"/>
              <a:gd name="connsiteY42" fmla="*/ 12853 h 662520"/>
              <a:gd name="connsiteX43" fmla="*/ 499142 w 980605"/>
              <a:gd name="connsiteY43" fmla="*/ 29412 h 662520"/>
              <a:gd name="connsiteX44" fmla="*/ 531705 w 980605"/>
              <a:gd name="connsiteY44" fmla="*/ 53163 h 662520"/>
              <a:gd name="connsiteX45" fmla="*/ 555615 w 980605"/>
              <a:gd name="connsiteY45" fmla="*/ 84435 h 662520"/>
              <a:gd name="connsiteX46" fmla="*/ 570346 w 980605"/>
              <a:gd name="connsiteY46" fmla="*/ 123555 h 662520"/>
              <a:gd name="connsiteX47" fmla="*/ 575373 w 980605"/>
              <a:gd name="connsiteY47" fmla="*/ 170853 h 662520"/>
              <a:gd name="connsiteX48" fmla="*/ 569215 w 980605"/>
              <a:gd name="connsiteY48" fmla="*/ 219568 h 662520"/>
              <a:gd name="connsiteX49" fmla="*/ 551343 w 980605"/>
              <a:gd name="connsiteY49" fmla="*/ 258234 h 662520"/>
              <a:gd name="connsiteX50" fmla="*/ 522657 w 980605"/>
              <a:gd name="connsiteY50" fmla="*/ 287843 h 662520"/>
              <a:gd name="connsiteX51" fmla="*/ 484058 w 980605"/>
              <a:gd name="connsiteY51" fmla="*/ 309388 h 662520"/>
              <a:gd name="connsiteX52" fmla="*/ 436448 w 980605"/>
              <a:gd name="connsiteY52" fmla="*/ 323862 h 662520"/>
              <a:gd name="connsiteX53" fmla="*/ 436448 w 980605"/>
              <a:gd name="connsiteY53" fmla="*/ 327609 h 662520"/>
              <a:gd name="connsiteX54" fmla="*/ 490443 w 980605"/>
              <a:gd name="connsiteY54" fmla="*/ 340566 h 662520"/>
              <a:gd name="connsiteX55" fmla="*/ 532045 w 980605"/>
              <a:gd name="connsiteY55" fmla="*/ 362534 h 662520"/>
              <a:gd name="connsiteX56" fmla="*/ 561481 w 980605"/>
              <a:gd name="connsiteY56" fmla="*/ 393513 h 662520"/>
              <a:gd name="connsiteX57" fmla="*/ 578977 w 980605"/>
              <a:gd name="connsiteY57" fmla="*/ 433502 h 662520"/>
              <a:gd name="connsiteX58" fmla="*/ 584758 w 980605"/>
              <a:gd name="connsiteY58" fmla="*/ 482498 h 662520"/>
              <a:gd name="connsiteX59" fmla="*/ 579698 w 980605"/>
              <a:gd name="connsiteY59" fmla="*/ 527743 h 662520"/>
              <a:gd name="connsiteX60" fmla="*/ 564421 w 980605"/>
              <a:gd name="connsiteY60" fmla="*/ 567021 h 662520"/>
              <a:gd name="connsiteX61" fmla="*/ 539884 w 980605"/>
              <a:gd name="connsiteY61" fmla="*/ 600232 h 662520"/>
              <a:gd name="connsiteX62" fmla="*/ 507047 w 980605"/>
              <a:gd name="connsiteY62" fmla="*/ 627278 h 662520"/>
              <a:gd name="connsiteX63" fmla="*/ 466868 w 980605"/>
              <a:gd name="connsiteY63" fmla="*/ 648061 h 662520"/>
              <a:gd name="connsiteX64" fmla="*/ 420306 w 980605"/>
              <a:gd name="connsiteY64" fmla="*/ 662482 h 662520"/>
              <a:gd name="connsiteX65" fmla="*/ 980605 w 980605"/>
              <a:gd name="connsiteY65" fmla="*/ 662495 h 662520"/>
              <a:gd name="connsiteX0" fmla="*/ 0 w 976775"/>
              <a:gd name="connsiteY0" fmla="*/ 662496 h 662520"/>
              <a:gd name="connsiteX1" fmla="*/ 208094 w 976775"/>
              <a:gd name="connsiteY1" fmla="*/ 662520 h 662520"/>
              <a:gd name="connsiteX2" fmla="*/ 187099 w 976775"/>
              <a:gd name="connsiteY2" fmla="*/ 658030 h 662520"/>
              <a:gd name="connsiteX3" fmla="*/ 167305 w 976775"/>
              <a:gd name="connsiteY3" fmla="*/ 652783 h 662520"/>
              <a:gd name="connsiteX4" fmla="*/ 148469 w 976775"/>
              <a:gd name="connsiteY4" fmla="*/ 646826 h 662520"/>
              <a:gd name="connsiteX5" fmla="*/ 130345 w 976775"/>
              <a:gd name="connsiteY5" fmla="*/ 640206 h 662520"/>
              <a:gd name="connsiteX6" fmla="*/ 130345 w 976775"/>
              <a:gd name="connsiteY6" fmla="*/ 516293 h 662520"/>
              <a:gd name="connsiteX7" fmla="*/ 212019 w 976775"/>
              <a:gd name="connsiteY7" fmla="*/ 516293 h 662520"/>
              <a:gd name="connsiteX8" fmla="*/ 228135 w 976775"/>
              <a:gd name="connsiteY8" fmla="*/ 539439 h 662520"/>
              <a:gd name="connsiteX9" fmla="*/ 251559 w 976775"/>
              <a:gd name="connsiteY9" fmla="*/ 559242 h 662520"/>
              <a:gd name="connsiteX10" fmla="*/ 282904 w 976775"/>
              <a:gd name="connsiteY10" fmla="*/ 573062 h 662520"/>
              <a:gd name="connsiteX11" fmla="*/ 322788 w 976775"/>
              <a:gd name="connsiteY11" fmla="*/ 578256 h 662520"/>
              <a:gd name="connsiteX12" fmla="*/ 365291 w 976775"/>
              <a:gd name="connsiteY12" fmla="*/ 571758 h 662520"/>
              <a:gd name="connsiteX13" fmla="*/ 400230 w 976775"/>
              <a:gd name="connsiteY13" fmla="*/ 552322 h 662520"/>
              <a:gd name="connsiteX14" fmla="*/ 423904 w 976775"/>
              <a:gd name="connsiteY14" fmla="*/ 520038 h 662520"/>
              <a:gd name="connsiteX15" fmla="*/ 432618 w 976775"/>
              <a:gd name="connsiteY15" fmla="*/ 474992 h 662520"/>
              <a:gd name="connsiteX16" fmla="*/ 425356 w 976775"/>
              <a:gd name="connsiteY16" fmla="*/ 430240 h 662520"/>
              <a:gd name="connsiteX17" fmla="*/ 403398 w 976775"/>
              <a:gd name="connsiteY17" fmla="*/ 398602 h 662520"/>
              <a:gd name="connsiteX18" fmla="*/ 366481 w 976775"/>
              <a:gd name="connsiteY18" fmla="*/ 379812 h 662520"/>
              <a:gd name="connsiteX19" fmla="*/ 314343 w 976775"/>
              <a:gd name="connsiteY19" fmla="*/ 373608 h 662520"/>
              <a:gd name="connsiteX20" fmla="*/ 265524 w 976775"/>
              <a:gd name="connsiteY20" fmla="*/ 373608 h 662520"/>
              <a:gd name="connsiteX21" fmla="*/ 265524 w 976775"/>
              <a:gd name="connsiteY21" fmla="*/ 286308 h 662520"/>
              <a:gd name="connsiteX22" fmla="*/ 306824 w 976775"/>
              <a:gd name="connsiteY22" fmla="*/ 286308 h 662520"/>
              <a:gd name="connsiteX23" fmla="*/ 360495 w 976775"/>
              <a:gd name="connsiteY23" fmla="*/ 280133 h 662520"/>
              <a:gd name="connsiteX24" fmla="*/ 398939 w 976775"/>
              <a:gd name="connsiteY24" fmla="*/ 261550 h 662520"/>
              <a:gd name="connsiteX25" fmla="*/ 422069 w 976775"/>
              <a:gd name="connsiteY25" fmla="*/ 230469 h 662520"/>
              <a:gd name="connsiteX26" fmla="*/ 429798 w 976775"/>
              <a:gd name="connsiteY26" fmla="*/ 186804 h 662520"/>
              <a:gd name="connsiteX27" fmla="*/ 424445 w 976775"/>
              <a:gd name="connsiteY27" fmla="*/ 149115 h 662520"/>
              <a:gd name="connsiteX28" fmla="*/ 408092 w 976775"/>
              <a:gd name="connsiteY28" fmla="*/ 121104 h 662520"/>
              <a:gd name="connsiteX29" fmla="*/ 380297 w 976775"/>
              <a:gd name="connsiteY29" fmla="*/ 103651 h 662520"/>
              <a:gd name="connsiteX30" fmla="*/ 340619 w 976775"/>
              <a:gd name="connsiteY30" fmla="*/ 97637 h 662520"/>
              <a:gd name="connsiteX31" fmla="*/ 303175 w 976775"/>
              <a:gd name="connsiteY31" fmla="*/ 102374 h 662520"/>
              <a:gd name="connsiteX32" fmla="*/ 273388 w 976775"/>
              <a:gd name="connsiteY32" fmla="*/ 115117 h 662520"/>
              <a:gd name="connsiteX33" fmla="*/ 250465 w 976775"/>
              <a:gd name="connsiteY33" fmla="*/ 133668 h 662520"/>
              <a:gd name="connsiteX34" fmla="*/ 233609 w 976775"/>
              <a:gd name="connsiteY34" fmla="*/ 155828 h 662520"/>
              <a:gd name="connsiteX35" fmla="*/ 155707 w 976775"/>
              <a:gd name="connsiteY35" fmla="*/ 155828 h 662520"/>
              <a:gd name="connsiteX36" fmla="*/ 155707 w 976775"/>
              <a:gd name="connsiteY36" fmla="*/ 33807 h 662520"/>
              <a:gd name="connsiteX37" fmla="*/ 199938 w 976775"/>
              <a:gd name="connsiteY37" fmla="*/ 19813 h 662520"/>
              <a:gd name="connsiteX38" fmla="*/ 246988 w 976775"/>
              <a:gd name="connsiteY38" fmla="*/ 9159 h 662520"/>
              <a:gd name="connsiteX39" fmla="*/ 297210 w 976775"/>
              <a:gd name="connsiteY39" fmla="*/ 2378 h 662520"/>
              <a:gd name="connsiteX40" fmla="*/ 350957 w 976775"/>
              <a:gd name="connsiteY40" fmla="*/ 0 h 662520"/>
              <a:gd name="connsiteX41" fmla="*/ 406327 w 976775"/>
              <a:gd name="connsiteY41" fmla="*/ 3158 h 662520"/>
              <a:gd name="connsiteX42" fmla="*/ 454621 w 976775"/>
              <a:gd name="connsiteY42" fmla="*/ 12853 h 662520"/>
              <a:gd name="connsiteX43" fmla="*/ 495312 w 976775"/>
              <a:gd name="connsiteY43" fmla="*/ 29412 h 662520"/>
              <a:gd name="connsiteX44" fmla="*/ 527875 w 976775"/>
              <a:gd name="connsiteY44" fmla="*/ 53163 h 662520"/>
              <a:gd name="connsiteX45" fmla="*/ 551785 w 976775"/>
              <a:gd name="connsiteY45" fmla="*/ 84435 h 662520"/>
              <a:gd name="connsiteX46" fmla="*/ 566516 w 976775"/>
              <a:gd name="connsiteY46" fmla="*/ 123555 h 662520"/>
              <a:gd name="connsiteX47" fmla="*/ 571543 w 976775"/>
              <a:gd name="connsiteY47" fmla="*/ 170853 h 662520"/>
              <a:gd name="connsiteX48" fmla="*/ 565385 w 976775"/>
              <a:gd name="connsiteY48" fmla="*/ 219568 h 662520"/>
              <a:gd name="connsiteX49" fmla="*/ 547513 w 976775"/>
              <a:gd name="connsiteY49" fmla="*/ 258234 h 662520"/>
              <a:gd name="connsiteX50" fmla="*/ 518827 w 976775"/>
              <a:gd name="connsiteY50" fmla="*/ 287843 h 662520"/>
              <a:gd name="connsiteX51" fmla="*/ 480228 w 976775"/>
              <a:gd name="connsiteY51" fmla="*/ 309388 h 662520"/>
              <a:gd name="connsiteX52" fmla="*/ 432618 w 976775"/>
              <a:gd name="connsiteY52" fmla="*/ 323862 h 662520"/>
              <a:gd name="connsiteX53" fmla="*/ 432618 w 976775"/>
              <a:gd name="connsiteY53" fmla="*/ 327609 h 662520"/>
              <a:gd name="connsiteX54" fmla="*/ 486613 w 976775"/>
              <a:gd name="connsiteY54" fmla="*/ 340566 h 662520"/>
              <a:gd name="connsiteX55" fmla="*/ 528215 w 976775"/>
              <a:gd name="connsiteY55" fmla="*/ 362534 h 662520"/>
              <a:gd name="connsiteX56" fmla="*/ 557651 w 976775"/>
              <a:gd name="connsiteY56" fmla="*/ 393513 h 662520"/>
              <a:gd name="connsiteX57" fmla="*/ 575147 w 976775"/>
              <a:gd name="connsiteY57" fmla="*/ 433502 h 662520"/>
              <a:gd name="connsiteX58" fmla="*/ 580928 w 976775"/>
              <a:gd name="connsiteY58" fmla="*/ 482498 h 662520"/>
              <a:gd name="connsiteX59" fmla="*/ 575868 w 976775"/>
              <a:gd name="connsiteY59" fmla="*/ 527743 h 662520"/>
              <a:gd name="connsiteX60" fmla="*/ 560591 w 976775"/>
              <a:gd name="connsiteY60" fmla="*/ 567021 h 662520"/>
              <a:gd name="connsiteX61" fmla="*/ 536054 w 976775"/>
              <a:gd name="connsiteY61" fmla="*/ 600232 h 662520"/>
              <a:gd name="connsiteX62" fmla="*/ 503217 w 976775"/>
              <a:gd name="connsiteY62" fmla="*/ 627278 h 662520"/>
              <a:gd name="connsiteX63" fmla="*/ 463038 w 976775"/>
              <a:gd name="connsiteY63" fmla="*/ 648061 h 662520"/>
              <a:gd name="connsiteX64" fmla="*/ 416476 w 976775"/>
              <a:gd name="connsiteY64" fmla="*/ 662482 h 662520"/>
              <a:gd name="connsiteX65" fmla="*/ 976775 w 976775"/>
              <a:gd name="connsiteY65" fmla="*/ 662495 h 662520"/>
              <a:gd name="connsiteX0" fmla="*/ 0 w 580928"/>
              <a:gd name="connsiteY0" fmla="*/ 662496 h 662520"/>
              <a:gd name="connsiteX1" fmla="*/ 208094 w 580928"/>
              <a:gd name="connsiteY1" fmla="*/ 662520 h 662520"/>
              <a:gd name="connsiteX2" fmla="*/ 187099 w 580928"/>
              <a:gd name="connsiteY2" fmla="*/ 658030 h 662520"/>
              <a:gd name="connsiteX3" fmla="*/ 167305 w 580928"/>
              <a:gd name="connsiteY3" fmla="*/ 652783 h 662520"/>
              <a:gd name="connsiteX4" fmla="*/ 148469 w 580928"/>
              <a:gd name="connsiteY4" fmla="*/ 646826 h 662520"/>
              <a:gd name="connsiteX5" fmla="*/ 130345 w 580928"/>
              <a:gd name="connsiteY5" fmla="*/ 640206 h 662520"/>
              <a:gd name="connsiteX6" fmla="*/ 130345 w 580928"/>
              <a:gd name="connsiteY6" fmla="*/ 516293 h 662520"/>
              <a:gd name="connsiteX7" fmla="*/ 212019 w 580928"/>
              <a:gd name="connsiteY7" fmla="*/ 516293 h 662520"/>
              <a:gd name="connsiteX8" fmla="*/ 228135 w 580928"/>
              <a:gd name="connsiteY8" fmla="*/ 539439 h 662520"/>
              <a:gd name="connsiteX9" fmla="*/ 251559 w 580928"/>
              <a:gd name="connsiteY9" fmla="*/ 559242 h 662520"/>
              <a:gd name="connsiteX10" fmla="*/ 282904 w 580928"/>
              <a:gd name="connsiteY10" fmla="*/ 573062 h 662520"/>
              <a:gd name="connsiteX11" fmla="*/ 322788 w 580928"/>
              <a:gd name="connsiteY11" fmla="*/ 578256 h 662520"/>
              <a:gd name="connsiteX12" fmla="*/ 365291 w 580928"/>
              <a:gd name="connsiteY12" fmla="*/ 571758 h 662520"/>
              <a:gd name="connsiteX13" fmla="*/ 400230 w 580928"/>
              <a:gd name="connsiteY13" fmla="*/ 552322 h 662520"/>
              <a:gd name="connsiteX14" fmla="*/ 423904 w 580928"/>
              <a:gd name="connsiteY14" fmla="*/ 520038 h 662520"/>
              <a:gd name="connsiteX15" fmla="*/ 432618 w 580928"/>
              <a:gd name="connsiteY15" fmla="*/ 474992 h 662520"/>
              <a:gd name="connsiteX16" fmla="*/ 425356 w 580928"/>
              <a:gd name="connsiteY16" fmla="*/ 430240 h 662520"/>
              <a:gd name="connsiteX17" fmla="*/ 403398 w 580928"/>
              <a:gd name="connsiteY17" fmla="*/ 398602 h 662520"/>
              <a:gd name="connsiteX18" fmla="*/ 366481 w 580928"/>
              <a:gd name="connsiteY18" fmla="*/ 379812 h 662520"/>
              <a:gd name="connsiteX19" fmla="*/ 314343 w 580928"/>
              <a:gd name="connsiteY19" fmla="*/ 373608 h 662520"/>
              <a:gd name="connsiteX20" fmla="*/ 265524 w 580928"/>
              <a:gd name="connsiteY20" fmla="*/ 373608 h 662520"/>
              <a:gd name="connsiteX21" fmla="*/ 265524 w 580928"/>
              <a:gd name="connsiteY21" fmla="*/ 286308 h 662520"/>
              <a:gd name="connsiteX22" fmla="*/ 306824 w 580928"/>
              <a:gd name="connsiteY22" fmla="*/ 286308 h 662520"/>
              <a:gd name="connsiteX23" fmla="*/ 360495 w 580928"/>
              <a:gd name="connsiteY23" fmla="*/ 280133 h 662520"/>
              <a:gd name="connsiteX24" fmla="*/ 398939 w 580928"/>
              <a:gd name="connsiteY24" fmla="*/ 261550 h 662520"/>
              <a:gd name="connsiteX25" fmla="*/ 422069 w 580928"/>
              <a:gd name="connsiteY25" fmla="*/ 230469 h 662520"/>
              <a:gd name="connsiteX26" fmla="*/ 429798 w 580928"/>
              <a:gd name="connsiteY26" fmla="*/ 186804 h 662520"/>
              <a:gd name="connsiteX27" fmla="*/ 424445 w 580928"/>
              <a:gd name="connsiteY27" fmla="*/ 149115 h 662520"/>
              <a:gd name="connsiteX28" fmla="*/ 408092 w 580928"/>
              <a:gd name="connsiteY28" fmla="*/ 121104 h 662520"/>
              <a:gd name="connsiteX29" fmla="*/ 380297 w 580928"/>
              <a:gd name="connsiteY29" fmla="*/ 103651 h 662520"/>
              <a:gd name="connsiteX30" fmla="*/ 340619 w 580928"/>
              <a:gd name="connsiteY30" fmla="*/ 97637 h 662520"/>
              <a:gd name="connsiteX31" fmla="*/ 303175 w 580928"/>
              <a:gd name="connsiteY31" fmla="*/ 102374 h 662520"/>
              <a:gd name="connsiteX32" fmla="*/ 273388 w 580928"/>
              <a:gd name="connsiteY32" fmla="*/ 115117 h 662520"/>
              <a:gd name="connsiteX33" fmla="*/ 250465 w 580928"/>
              <a:gd name="connsiteY33" fmla="*/ 133668 h 662520"/>
              <a:gd name="connsiteX34" fmla="*/ 233609 w 580928"/>
              <a:gd name="connsiteY34" fmla="*/ 155828 h 662520"/>
              <a:gd name="connsiteX35" fmla="*/ 155707 w 580928"/>
              <a:gd name="connsiteY35" fmla="*/ 155828 h 662520"/>
              <a:gd name="connsiteX36" fmla="*/ 155707 w 580928"/>
              <a:gd name="connsiteY36" fmla="*/ 33807 h 662520"/>
              <a:gd name="connsiteX37" fmla="*/ 199938 w 580928"/>
              <a:gd name="connsiteY37" fmla="*/ 19813 h 662520"/>
              <a:gd name="connsiteX38" fmla="*/ 246988 w 580928"/>
              <a:gd name="connsiteY38" fmla="*/ 9159 h 662520"/>
              <a:gd name="connsiteX39" fmla="*/ 297210 w 580928"/>
              <a:gd name="connsiteY39" fmla="*/ 2378 h 662520"/>
              <a:gd name="connsiteX40" fmla="*/ 350957 w 580928"/>
              <a:gd name="connsiteY40" fmla="*/ 0 h 662520"/>
              <a:gd name="connsiteX41" fmla="*/ 406327 w 580928"/>
              <a:gd name="connsiteY41" fmla="*/ 3158 h 662520"/>
              <a:gd name="connsiteX42" fmla="*/ 454621 w 580928"/>
              <a:gd name="connsiteY42" fmla="*/ 12853 h 662520"/>
              <a:gd name="connsiteX43" fmla="*/ 495312 w 580928"/>
              <a:gd name="connsiteY43" fmla="*/ 29412 h 662520"/>
              <a:gd name="connsiteX44" fmla="*/ 527875 w 580928"/>
              <a:gd name="connsiteY44" fmla="*/ 53163 h 662520"/>
              <a:gd name="connsiteX45" fmla="*/ 551785 w 580928"/>
              <a:gd name="connsiteY45" fmla="*/ 84435 h 662520"/>
              <a:gd name="connsiteX46" fmla="*/ 566516 w 580928"/>
              <a:gd name="connsiteY46" fmla="*/ 123555 h 662520"/>
              <a:gd name="connsiteX47" fmla="*/ 571543 w 580928"/>
              <a:gd name="connsiteY47" fmla="*/ 170853 h 662520"/>
              <a:gd name="connsiteX48" fmla="*/ 565385 w 580928"/>
              <a:gd name="connsiteY48" fmla="*/ 219568 h 662520"/>
              <a:gd name="connsiteX49" fmla="*/ 547513 w 580928"/>
              <a:gd name="connsiteY49" fmla="*/ 258234 h 662520"/>
              <a:gd name="connsiteX50" fmla="*/ 518827 w 580928"/>
              <a:gd name="connsiteY50" fmla="*/ 287843 h 662520"/>
              <a:gd name="connsiteX51" fmla="*/ 480228 w 580928"/>
              <a:gd name="connsiteY51" fmla="*/ 309388 h 662520"/>
              <a:gd name="connsiteX52" fmla="*/ 432618 w 580928"/>
              <a:gd name="connsiteY52" fmla="*/ 323862 h 662520"/>
              <a:gd name="connsiteX53" fmla="*/ 432618 w 580928"/>
              <a:gd name="connsiteY53" fmla="*/ 327609 h 662520"/>
              <a:gd name="connsiteX54" fmla="*/ 486613 w 580928"/>
              <a:gd name="connsiteY54" fmla="*/ 340566 h 662520"/>
              <a:gd name="connsiteX55" fmla="*/ 528215 w 580928"/>
              <a:gd name="connsiteY55" fmla="*/ 362534 h 662520"/>
              <a:gd name="connsiteX56" fmla="*/ 557651 w 580928"/>
              <a:gd name="connsiteY56" fmla="*/ 393513 h 662520"/>
              <a:gd name="connsiteX57" fmla="*/ 575147 w 580928"/>
              <a:gd name="connsiteY57" fmla="*/ 433502 h 662520"/>
              <a:gd name="connsiteX58" fmla="*/ 580928 w 580928"/>
              <a:gd name="connsiteY58" fmla="*/ 482498 h 662520"/>
              <a:gd name="connsiteX59" fmla="*/ 575868 w 580928"/>
              <a:gd name="connsiteY59" fmla="*/ 527743 h 662520"/>
              <a:gd name="connsiteX60" fmla="*/ 560591 w 580928"/>
              <a:gd name="connsiteY60" fmla="*/ 567021 h 662520"/>
              <a:gd name="connsiteX61" fmla="*/ 536054 w 580928"/>
              <a:gd name="connsiteY61" fmla="*/ 600232 h 662520"/>
              <a:gd name="connsiteX62" fmla="*/ 503217 w 580928"/>
              <a:gd name="connsiteY62" fmla="*/ 627278 h 662520"/>
              <a:gd name="connsiteX63" fmla="*/ 463038 w 580928"/>
              <a:gd name="connsiteY63" fmla="*/ 648061 h 662520"/>
              <a:gd name="connsiteX64" fmla="*/ 416476 w 580928"/>
              <a:gd name="connsiteY64" fmla="*/ 662482 h 66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80928" h="662520">
                <a:moveTo>
                  <a:pt x="0" y="662496"/>
                </a:moveTo>
                <a:lnTo>
                  <a:pt x="208094" y="662520"/>
                </a:lnTo>
                <a:lnTo>
                  <a:pt x="187099" y="658030"/>
                </a:lnTo>
                <a:lnTo>
                  <a:pt x="167305" y="652783"/>
                </a:lnTo>
                <a:lnTo>
                  <a:pt x="148469" y="646826"/>
                </a:lnTo>
                <a:lnTo>
                  <a:pt x="130345" y="640206"/>
                </a:lnTo>
                <a:lnTo>
                  <a:pt x="130345" y="516293"/>
                </a:lnTo>
                <a:lnTo>
                  <a:pt x="212019" y="516293"/>
                </a:lnTo>
                <a:lnTo>
                  <a:pt x="228135" y="539439"/>
                </a:lnTo>
                <a:lnTo>
                  <a:pt x="251559" y="559242"/>
                </a:lnTo>
                <a:lnTo>
                  <a:pt x="282904" y="573062"/>
                </a:lnTo>
                <a:lnTo>
                  <a:pt x="322788" y="578256"/>
                </a:lnTo>
                <a:lnTo>
                  <a:pt x="365291" y="571758"/>
                </a:lnTo>
                <a:lnTo>
                  <a:pt x="400230" y="552322"/>
                </a:lnTo>
                <a:lnTo>
                  <a:pt x="423904" y="520038"/>
                </a:lnTo>
                <a:lnTo>
                  <a:pt x="432618" y="474992"/>
                </a:lnTo>
                <a:lnTo>
                  <a:pt x="425356" y="430240"/>
                </a:lnTo>
                <a:lnTo>
                  <a:pt x="403398" y="398602"/>
                </a:lnTo>
                <a:lnTo>
                  <a:pt x="366481" y="379812"/>
                </a:lnTo>
                <a:lnTo>
                  <a:pt x="314343" y="373608"/>
                </a:lnTo>
                <a:lnTo>
                  <a:pt x="265524" y="373608"/>
                </a:lnTo>
                <a:lnTo>
                  <a:pt x="265524" y="286308"/>
                </a:lnTo>
                <a:lnTo>
                  <a:pt x="306824" y="286308"/>
                </a:lnTo>
                <a:lnTo>
                  <a:pt x="360495" y="280133"/>
                </a:lnTo>
                <a:lnTo>
                  <a:pt x="398939" y="261550"/>
                </a:lnTo>
                <a:lnTo>
                  <a:pt x="422069" y="230469"/>
                </a:lnTo>
                <a:lnTo>
                  <a:pt x="429798" y="186804"/>
                </a:lnTo>
                <a:lnTo>
                  <a:pt x="424445" y="149115"/>
                </a:lnTo>
                <a:lnTo>
                  <a:pt x="408092" y="121104"/>
                </a:lnTo>
                <a:lnTo>
                  <a:pt x="380297" y="103651"/>
                </a:lnTo>
                <a:lnTo>
                  <a:pt x="340619" y="97637"/>
                </a:lnTo>
                <a:lnTo>
                  <a:pt x="303175" y="102374"/>
                </a:lnTo>
                <a:lnTo>
                  <a:pt x="273388" y="115117"/>
                </a:lnTo>
                <a:lnTo>
                  <a:pt x="250465" y="133668"/>
                </a:lnTo>
                <a:lnTo>
                  <a:pt x="233609" y="155828"/>
                </a:lnTo>
                <a:lnTo>
                  <a:pt x="155707" y="155828"/>
                </a:lnTo>
                <a:lnTo>
                  <a:pt x="155707" y="33807"/>
                </a:lnTo>
                <a:lnTo>
                  <a:pt x="199938" y="19813"/>
                </a:lnTo>
                <a:lnTo>
                  <a:pt x="246988" y="9159"/>
                </a:lnTo>
                <a:lnTo>
                  <a:pt x="297210" y="2378"/>
                </a:lnTo>
                <a:lnTo>
                  <a:pt x="350957" y="0"/>
                </a:lnTo>
                <a:lnTo>
                  <a:pt x="406327" y="3158"/>
                </a:lnTo>
                <a:lnTo>
                  <a:pt x="454621" y="12853"/>
                </a:lnTo>
                <a:lnTo>
                  <a:pt x="495312" y="29412"/>
                </a:lnTo>
                <a:lnTo>
                  <a:pt x="527875" y="53163"/>
                </a:lnTo>
                <a:lnTo>
                  <a:pt x="551785" y="84435"/>
                </a:lnTo>
                <a:lnTo>
                  <a:pt x="566516" y="123555"/>
                </a:lnTo>
                <a:lnTo>
                  <a:pt x="571543" y="170853"/>
                </a:lnTo>
                <a:lnTo>
                  <a:pt x="565385" y="219568"/>
                </a:lnTo>
                <a:lnTo>
                  <a:pt x="547513" y="258234"/>
                </a:lnTo>
                <a:lnTo>
                  <a:pt x="518827" y="287843"/>
                </a:lnTo>
                <a:lnTo>
                  <a:pt x="480228" y="309388"/>
                </a:lnTo>
                <a:lnTo>
                  <a:pt x="432618" y="323862"/>
                </a:lnTo>
                <a:lnTo>
                  <a:pt x="432618" y="327609"/>
                </a:lnTo>
                <a:lnTo>
                  <a:pt x="486613" y="340566"/>
                </a:lnTo>
                <a:lnTo>
                  <a:pt x="528215" y="362534"/>
                </a:lnTo>
                <a:lnTo>
                  <a:pt x="557651" y="393513"/>
                </a:lnTo>
                <a:lnTo>
                  <a:pt x="575147" y="433502"/>
                </a:lnTo>
                <a:lnTo>
                  <a:pt x="580928" y="482498"/>
                </a:lnTo>
                <a:lnTo>
                  <a:pt x="575868" y="527743"/>
                </a:lnTo>
                <a:lnTo>
                  <a:pt x="560591" y="567021"/>
                </a:lnTo>
                <a:lnTo>
                  <a:pt x="536054" y="600232"/>
                </a:lnTo>
                <a:lnTo>
                  <a:pt x="503217" y="627278"/>
                </a:lnTo>
                <a:lnTo>
                  <a:pt x="463038" y="648061"/>
                </a:lnTo>
                <a:lnTo>
                  <a:pt x="416476" y="662482"/>
                </a:lnTo>
              </a:path>
            </a:pathLst>
          </a:custGeom>
          <a:ln w="19050">
            <a:solidFill>
              <a:srgbClr val="D71F85"/>
            </a:solidFill>
          </a:ln>
        </p:spPr>
        <p:txBody>
          <a:bodyPr wrap="square" lIns="0" tIns="0" rIns="0" bIns="0" rtlCol="0"/>
          <a:lstStyle/>
          <a:p>
            <a:endParaRPr>
              <a:latin typeface="Verdana"/>
              <a:cs typeface="Verdana"/>
            </a:endParaRPr>
          </a:p>
        </p:txBody>
      </p:sp>
      <p:cxnSp>
        <p:nvCxnSpPr>
          <p:cNvPr id="33" name="Straight Connector 32"/>
          <p:cNvCxnSpPr/>
          <p:nvPr/>
        </p:nvCxnSpPr>
        <p:spPr>
          <a:xfrm>
            <a:off x="2542361" y="3486843"/>
            <a:ext cx="336920" cy="0"/>
          </a:xfrm>
          <a:prstGeom prst="line">
            <a:avLst/>
          </a:prstGeom>
          <a:ln w="19050" cap="rnd">
            <a:solidFill>
              <a:srgbClr val="D71F85"/>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131840" y="3772207"/>
            <a:ext cx="5581145" cy="700858"/>
          </a:xfrm>
          <a:prstGeom prst="rect">
            <a:avLst/>
          </a:prstGeom>
          <a:noFill/>
        </p:spPr>
        <p:txBody>
          <a:bodyPr wrap="square" lIns="0" tIns="0" rIns="0" bIns="54000" rtlCol="0" anchor="b">
            <a:spAutoFit/>
          </a:bodyPr>
          <a:lstStyle/>
          <a:p>
            <a:r>
              <a:rPr lang="en-US" sz="1400" b="1" dirty="0"/>
              <a:t>Confinement plus fin des </a:t>
            </a:r>
            <a:r>
              <a:rPr lang="en-US" sz="1400" b="1" dirty="0" err="1"/>
              <a:t>travaux</a:t>
            </a:r>
            <a:endParaRPr lang="en-US" sz="1400" b="1" dirty="0"/>
          </a:p>
          <a:p>
            <a:r>
              <a:rPr lang="en-US" sz="1400" dirty="0" err="1"/>
              <a:t>Facilite</a:t>
            </a:r>
            <a:r>
              <a:rPr lang="en-US" sz="1400" dirty="0"/>
              <a:t> le </a:t>
            </a:r>
            <a:r>
              <a:rPr lang="en-US" sz="1400" dirty="0" err="1"/>
              <a:t>partage</a:t>
            </a:r>
            <a:r>
              <a:rPr lang="en-US" sz="1400" dirty="0"/>
              <a:t> des </a:t>
            </a:r>
            <a:r>
              <a:rPr lang="en-US" sz="1400" dirty="0" err="1"/>
              <a:t>ressources</a:t>
            </a:r>
            <a:r>
              <a:rPr lang="en-US" sz="1400" dirty="0"/>
              <a:t>, </a:t>
            </a:r>
            <a:r>
              <a:rPr lang="en-US" sz="1400" dirty="0" err="1"/>
              <a:t>permet</a:t>
            </a:r>
            <a:r>
              <a:rPr lang="en-US" sz="1400" dirty="0"/>
              <a:t> de </a:t>
            </a:r>
            <a:r>
              <a:rPr lang="en-US" sz="1400" dirty="0" err="1"/>
              <a:t>masquer</a:t>
            </a:r>
            <a:r>
              <a:rPr lang="en-US" sz="1400" dirty="0"/>
              <a:t> les </a:t>
            </a:r>
            <a:r>
              <a:rPr lang="en-US" sz="1400" dirty="0" err="1"/>
              <a:t>autres</a:t>
            </a:r>
            <a:r>
              <a:rPr lang="en-US" sz="1400" dirty="0"/>
              <a:t> </a:t>
            </a:r>
            <a:r>
              <a:rPr lang="en-US" sz="1400" dirty="0" err="1"/>
              <a:t>travaux</a:t>
            </a:r>
            <a:r>
              <a:rPr lang="en-US" sz="1400" dirty="0"/>
              <a:t> sur le </a:t>
            </a:r>
            <a:r>
              <a:rPr lang="en-US" sz="1400" dirty="0" err="1"/>
              <a:t>même</a:t>
            </a:r>
            <a:r>
              <a:rPr lang="en-US" sz="1400" dirty="0"/>
              <a:t> </a:t>
            </a:r>
            <a:r>
              <a:rPr lang="en-US" sz="1400" dirty="0" err="1"/>
              <a:t>noeud</a:t>
            </a:r>
            <a:r>
              <a:rPr lang="en-US" sz="1400" dirty="0"/>
              <a:t>, </a:t>
            </a:r>
            <a:r>
              <a:rPr lang="en-US" sz="1400" dirty="0" err="1"/>
              <a:t>etc</a:t>
            </a:r>
            <a:endParaRPr lang="en-US" sz="1400" dirty="0"/>
          </a:p>
        </p:txBody>
      </p:sp>
      <p:cxnSp>
        <p:nvCxnSpPr>
          <p:cNvPr id="34" name="Straight Connector 33"/>
          <p:cNvCxnSpPr/>
          <p:nvPr/>
        </p:nvCxnSpPr>
        <p:spPr>
          <a:xfrm>
            <a:off x="2681704" y="4385149"/>
            <a:ext cx="194920" cy="0"/>
          </a:xfrm>
          <a:prstGeom prst="line">
            <a:avLst/>
          </a:prstGeom>
          <a:ln w="19050" cap="rnd">
            <a:solidFill>
              <a:srgbClr val="3F9C35"/>
            </a:solidFill>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2135752" y="3773149"/>
            <a:ext cx="545952" cy="612000"/>
            <a:chOff x="324000" y="3889340"/>
            <a:chExt cx="545952" cy="612000"/>
          </a:xfrm>
        </p:grpSpPr>
        <p:sp>
          <p:nvSpPr>
            <p:cNvPr id="39" name="object 12"/>
            <p:cNvSpPr/>
            <p:nvPr/>
          </p:nvSpPr>
          <p:spPr>
            <a:xfrm>
              <a:off x="324000" y="3889340"/>
              <a:ext cx="545952" cy="612000"/>
            </a:xfrm>
            <a:custGeom>
              <a:avLst/>
              <a:gdLst>
                <a:gd name="connsiteX0" fmla="*/ 158000 w 568629"/>
                <a:gd name="connsiteY0" fmla="*/ 656856 h 657898"/>
                <a:gd name="connsiteX1" fmla="*/ 206044 w 568629"/>
                <a:gd name="connsiteY1" fmla="*/ 656856 h 657898"/>
                <a:gd name="connsiteX2" fmla="*/ 206044 w 568629"/>
                <a:gd name="connsiteY2" fmla="*/ 578408 h 657898"/>
                <a:gd name="connsiteX3" fmla="*/ 249516 w 568629"/>
                <a:gd name="connsiteY3" fmla="*/ 578408 h 657898"/>
                <a:gd name="connsiteX4" fmla="*/ 259235 w 568629"/>
                <a:gd name="connsiteY4" fmla="*/ 575559 h 657898"/>
                <a:gd name="connsiteX5" fmla="*/ 267712 w 568629"/>
                <a:gd name="connsiteY5" fmla="*/ 568369 h 657898"/>
                <a:gd name="connsiteX6" fmla="*/ 273709 w 568629"/>
                <a:gd name="connsiteY6" fmla="*/ 558874 h 657898"/>
                <a:gd name="connsiteX7" fmla="*/ 275983 w 568629"/>
                <a:gd name="connsiteY7" fmla="*/ 549109 h 657898"/>
                <a:gd name="connsiteX8" fmla="*/ 275983 w 568629"/>
                <a:gd name="connsiteY8" fmla="*/ 499021 h 657898"/>
                <a:gd name="connsiteX9" fmla="*/ 0 w 568629"/>
                <a:gd name="connsiteY9" fmla="*/ 499021 h 657898"/>
                <a:gd name="connsiteX10" fmla="*/ 0 w 568629"/>
                <a:gd name="connsiteY10" fmla="*/ 386549 h 657898"/>
                <a:gd name="connsiteX11" fmla="*/ 283540 w 568629"/>
                <a:gd name="connsiteY11" fmla="*/ 0 h 657898"/>
                <a:gd name="connsiteX12" fmla="*/ 420585 w 568629"/>
                <a:gd name="connsiteY12" fmla="*/ 0 h 657898"/>
                <a:gd name="connsiteX13" fmla="*/ 420585 w 568629"/>
                <a:gd name="connsiteY13" fmla="*/ 406400 h 657898"/>
                <a:gd name="connsiteX14" fmla="*/ 490524 w 568629"/>
                <a:gd name="connsiteY14" fmla="*/ 406400 h 657898"/>
                <a:gd name="connsiteX15" fmla="*/ 490524 w 568629"/>
                <a:gd name="connsiteY15" fmla="*/ 499021 h 657898"/>
                <a:gd name="connsiteX16" fmla="*/ 420585 w 568629"/>
                <a:gd name="connsiteY16" fmla="*/ 499021 h 657898"/>
                <a:gd name="connsiteX17" fmla="*/ 420585 w 568629"/>
                <a:gd name="connsiteY17" fmla="*/ 549109 h 657898"/>
                <a:gd name="connsiteX18" fmla="*/ 422726 w 568629"/>
                <a:gd name="connsiteY18" fmla="*/ 558874 h 657898"/>
                <a:gd name="connsiteX19" fmla="*/ 428499 w 568629"/>
                <a:gd name="connsiteY19" fmla="*/ 568369 h 657898"/>
                <a:gd name="connsiteX20" fmla="*/ 436932 w 568629"/>
                <a:gd name="connsiteY20" fmla="*/ 575559 h 657898"/>
                <a:gd name="connsiteX21" fmla="*/ 447052 w 568629"/>
                <a:gd name="connsiteY21" fmla="*/ 578408 h 657898"/>
                <a:gd name="connsiteX22" fmla="*/ 490524 w 568629"/>
                <a:gd name="connsiteY22" fmla="*/ 578408 h 657898"/>
                <a:gd name="connsiteX23" fmla="*/ 490524 w 568629"/>
                <a:gd name="connsiteY23" fmla="*/ 656856 h 657898"/>
                <a:gd name="connsiteX24" fmla="*/ 490524 w 568629"/>
                <a:gd name="connsiteY24" fmla="*/ 657898 h 657898"/>
                <a:gd name="connsiteX25" fmla="*/ 568629 w 568629"/>
                <a:gd name="connsiteY25" fmla="*/ 657898 h 657898"/>
                <a:gd name="connsiteX0" fmla="*/ 158000 w 726374"/>
                <a:gd name="connsiteY0" fmla="*/ 656856 h 657898"/>
                <a:gd name="connsiteX1" fmla="*/ 206044 w 726374"/>
                <a:gd name="connsiteY1" fmla="*/ 656856 h 657898"/>
                <a:gd name="connsiteX2" fmla="*/ 206044 w 726374"/>
                <a:gd name="connsiteY2" fmla="*/ 578408 h 657898"/>
                <a:gd name="connsiteX3" fmla="*/ 249516 w 726374"/>
                <a:gd name="connsiteY3" fmla="*/ 578408 h 657898"/>
                <a:gd name="connsiteX4" fmla="*/ 259235 w 726374"/>
                <a:gd name="connsiteY4" fmla="*/ 575559 h 657898"/>
                <a:gd name="connsiteX5" fmla="*/ 267712 w 726374"/>
                <a:gd name="connsiteY5" fmla="*/ 568369 h 657898"/>
                <a:gd name="connsiteX6" fmla="*/ 273709 w 726374"/>
                <a:gd name="connsiteY6" fmla="*/ 558874 h 657898"/>
                <a:gd name="connsiteX7" fmla="*/ 275983 w 726374"/>
                <a:gd name="connsiteY7" fmla="*/ 549109 h 657898"/>
                <a:gd name="connsiteX8" fmla="*/ 275983 w 726374"/>
                <a:gd name="connsiteY8" fmla="*/ 499021 h 657898"/>
                <a:gd name="connsiteX9" fmla="*/ 0 w 726374"/>
                <a:gd name="connsiteY9" fmla="*/ 499021 h 657898"/>
                <a:gd name="connsiteX10" fmla="*/ 0 w 726374"/>
                <a:gd name="connsiteY10" fmla="*/ 386549 h 657898"/>
                <a:gd name="connsiteX11" fmla="*/ 283540 w 726374"/>
                <a:gd name="connsiteY11" fmla="*/ 0 h 657898"/>
                <a:gd name="connsiteX12" fmla="*/ 420585 w 726374"/>
                <a:gd name="connsiteY12" fmla="*/ 0 h 657898"/>
                <a:gd name="connsiteX13" fmla="*/ 420585 w 726374"/>
                <a:gd name="connsiteY13" fmla="*/ 406400 h 657898"/>
                <a:gd name="connsiteX14" fmla="*/ 490524 w 726374"/>
                <a:gd name="connsiteY14" fmla="*/ 406400 h 657898"/>
                <a:gd name="connsiteX15" fmla="*/ 490524 w 726374"/>
                <a:gd name="connsiteY15" fmla="*/ 499021 h 657898"/>
                <a:gd name="connsiteX16" fmla="*/ 420585 w 726374"/>
                <a:gd name="connsiteY16" fmla="*/ 499021 h 657898"/>
                <a:gd name="connsiteX17" fmla="*/ 420585 w 726374"/>
                <a:gd name="connsiteY17" fmla="*/ 549109 h 657898"/>
                <a:gd name="connsiteX18" fmla="*/ 422726 w 726374"/>
                <a:gd name="connsiteY18" fmla="*/ 558874 h 657898"/>
                <a:gd name="connsiteX19" fmla="*/ 428499 w 726374"/>
                <a:gd name="connsiteY19" fmla="*/ 568369 h 657898"/>
                <a:gd name="connsiteX20" fmla="*/ 436932 w 726374"/>
                <a:gd name="connsiteY20" fmla="*/ 575559 h 657898"/>
                <a:gd name="connsiteX21" fmla="*/ 447052 w 726374"/>
                <a:gd name="connsiteY21" fmla="*/ 578408 h 657898"/>
                <a:gd name="connsiteX22" fmla="*/ 490524 w 726374"/>
                <a:gd name="connsiteY22" fmla="*/ 578408 h 657898"/>
                <a:gd name="connsiteX23" fmla="*/ 490524 w 726374"/>
                <a:gd name="connsiteY23" fmla="*/ 656856 h 657898"/>
                <a:gd name="connsiteX24" fmla="*/ 490524 w 726374"/>
                <a:gd name="connsiteY24" fmla="*/ 657898 h 657898"/>
                <a:gd name="connsiteX25" fmla="*/ 726374 w 726374"/>
                <a:gd name="connsiteY25" fmla="*/ 657898 h 657898"/>
                <a:gd name="connsiteX0" fmla="*/ 0 w 914473"/>
                <a:gd name="connsiteY0" fmla="*/ 656856 h 657898"/>
                <a:gd name="connsiteX1" fmla="*/ 394143 w 914473"/>
                <a:gd name="connsiteY1" fmla="*/ 656856 h 657898"/>
                <a:gd name="connsiteX2" fmla="*/ 394143 w 914473"/>
                <a:gd name="connsiteY2" fmla="*/ 578408 h 657898"/>
                <a:gd name="connsiteX3" fmla="*/ 437615 w 914473"/>
                <a:gd name="connsiteY3" fmla="*/ 578408 h 657898"/>
                <a:gd name="connsiteX4" fmla="*/ 447334 w 914473"/>
                <a:gd name="connsiteY4" fmla="*/ 575559 h 657898"/>
                <a:gd name="connsiteX5" fmla="*/ 455811 w 914473"/>
                <a:gd name="connsiteY5" fmla="*/ 568369 h 657898"/>
                <a:gd name="connsiteX6" fmla="*/ 461808 w 914473"/>
                <a:gd name="connsiteY6" fmla="*/ 558874 h 657898"/>
                <a:gd name="connsiteX7" fmla="*/ 464082 w 914473"/>
                <a:gd name="connsiteY7" fmla="*/ 549109 h 657898"/>
                <a:gd name="connsiteX8" fmla="*/ 464082 w 914473"/>
                <a:gd name="connsiteY8" fmla="*/ 499021 h 657898"/>
                <a:gd name="connsiteX9" fmla="*/ 188099 w 914473"/>
                <a:gd name="connsiteY9" fmla="*/ 499021 h 657898"/>
                <a:gd name="connsiteX10" fmla="*/ 188099 w 914473"/>
                <a:gd name="connsiteY10" fmla="*/ 386549 h 657898"/>
                <a:gd name="connsiteX11" fmla="*/ 471639 w 914473"/>
                <a:gd name="connsiteY11" fmla="*/ 0 h 657898"/>
                <a:gd name="connsiteX12" fmla="*/ 608684 w 914473"/>
                <a:gd name="connsiteY12" fmla="*/ 0 h 657898"/>
                <a:gd name="connsiteX13" fmla="*/ 608684 w 914473"/>
                <a:gd name="connsiteY13" fmla="*/ 406400 h 657898"/>
                <a:gd name="connsiteX14" fmla="*/ 678623 w 914473"/>
                <a:gd name="connsiteY14" fmla="*/ 406400 h 657898"/>
                <a:gd name="connsiteX15" fmla="*/ 678623 w 914473"/>
                <a:gd name="connsiteY15" fmla="*/ 499021 h 657898"/>
                <a:gd name="connsiteX16" fmla="*/ 608684 w 914473"/>
                <a:gd name="connsiteY16" fmla="*/ 499021 h 657898"/>
                <a:gd name="connsiteX17" fmla="*/ 608684 w 914473"/>
                <a:gd name="connsiteY17" fmla="*/ 549109 h 657898"/>
                <a:gd name="connsiteX18" fmla="*/ 610825 w 914473"/>
                <a:gd name="connsiteY18" fmla="*/ 558874 h 657898"/>
                <a:gd name="connsiteX19" fmla="*/ 616598 w 914473"/>
                <a:gd name="connsiteY19" fmla="*/ 568369 h 657898"/>
                <a:gd name="connsiteX20" fmla="*/ 625031 w 914473"/>
                <a:gd name="connsiteY20" fmla="*/ 575559 h 657898"/>
                <a:gd name="connsiteX21" fmla="*/ 635151 w 914473"/>
                <a:gd name="connsiteY21" fmla="*/ 578408 h 657898"/>
                <a:gd name="connsiteX22" fmla="*/ 678623 w 914473"/>
                <a:gd name="connsiteY22" fmla="*/ 578408 h 657898"/>
                <a:gd name="connsiteX23" fmla="*/ 678623 w 914473"/>
                <a:gd name="connsiteY23" fmla="*/ 656856 h 657898"/>
                <a:gd name="connsiteX24" fmla="*/ 678623 w 914473"/>
                <a:gd name="connsiteY24" fmla="*/ 657898 h 657898"/>
                <a:gd name="connsiteX25" fmla="*/ 914473 w 914473"/>
                <a:gd name="connsiteY25" fmla="*/ 657898 h 657898"/>
                <a:gd name="connsiteX0" fmla="*/ 0 w 678623"/>
                <a:gd name="connsiteY0" fmla="*/ 656856 h 657898"/>
                <a:gd name="connsiteX1" fmla="*/ 394143 w 678623"/>
                <a:gd name="connsiteY1" fmla="*/ 656856 h 657898"/>
                <a:gd name="connsiteX2" fmla="*/ 394143 w 678623"/>
                <a:gd name="connsiteY2" fmla="*/ 578408 h 657898"/>
                <a:gd name="connsiteX3" fmla="*/ 437615 w 678623"/>
                <a:gd name="connsiteY3" fmla="*/ 578408 h 657898"/>
                <a:gd name="connsiteX4" fmla="*/ 447334 w 678623"/>
                <a:gd name="connsiteY4" fmla="*/ 575559 h 657898"/>
                <a:gd name="connsiteX5" fmla="*/ 455811 w 678623"/>
                <a:gd name="connsiteY5" fmla="*/ 568369 h 657898"/>
                <a:gd name="connsiteX6" fmla="*/ 461808 w 678623"/>
                <a:gd name="connsiteY6" fmla="*/ 558874 h 657898"/>
                <a:gd name="connsiteX7" fmla="*/ 464082 w 678623"/>
                <a:gd name="connsiteY7" fmla="*/ 549109 h 657898"/>
                <a:gd name="connsiteX8" fmla="*/ 464082 w 678623"/>
                <a:gd name="connsiteY8" fmla="*/ 499021 h 657898"/>
                <a:gd name="connsiteX9" fmla="*/ 188099 w 678623"/>
                <a:gd name="connsiteY9" fmla="*/ 499021 h 657898"/>
                <a:gd name="connsiteX10" fmla="*/ 188099 w 678623"/>
                <a:gd name="connsiteY10" fmla="*/ 386549 h 657898"/>
                <a:gd name="connsiteX11" fmla="*/ 471639 w 678623"/>
                <a:gd name="connsiteY11" fmla="*/ 0 h 657898"/>
                <a:gd name="connsiteX12" fmla="*/ 608684 w 678623"/>
                <a:gd name="connsiteY12" fmla="*/ 0 h 657898"/>
                <a:gd name="connsiteX13" fmla="*/ 608684 w 678623"/>
                <a:gd name="connsiteY13" fmla="*/ 406400 h 657898"/>
                <a:gd name="connsiteX14" fmla="*/ 678623 w 678623"/>
                <a:gd name="connsiteY14" fmla="*/ 406400 h 657898"/>
                <a:gd name="connsiteX15" fmla="*/ 678623 w 678623"/>
                <a:gd name="connsiteY15" fmla="*/ 499021 h 657898"/>
                <a:gd name="connsiteX16" fmla="*/ 608684 w 678623"/>
                <a:gd name="connsiteY16" fmla="*/ 499021 h 657898"/>
                <a:gd name="connsiteX17" fmla="*/ 608684 w 678623"/>
                <a:gd name="connsiteY17" fmla="*/ 549109 h 657898"/>
                <a:gd name="connsiteX18" fmla="*/ 610825 w 678623"/>
                <a:gd name="connsiteY18" fmla="*/ 558874 h 657898"/>
                <a:gd name="connsiteX19" fmla="*/ 616598 w 678623"/>
                <a:gd name="connsiteY19" fmla="*/ 568369 h 657898"/>
                <a:gd name="connsiteX20" fmla="*/ 625031 w 678623"/>
                <a:gd name="connsiteY20" fmla="*/ 575559 h 657898"/>
                <a:gd name="connsiteX21" fmla="*/ 635151 w 678623"/>
                <a:gd name="connsiteY21" fmla="*/ 578408 h 657898"/>
                <a:gd name="connsiteX22" fmla="*/ 678623 w 678623"/>
                <a:gd name="connsiteY22" fmla="*/ 578408 h 657898"/>
                <a:gd name="connsiteX23" fmla="*/ 678623 w 678623"/>
                <a:gd name="connsiteY23" fmla="*/ 656856 h 657898"/>
                <a:gd name="connsiteX24" fmla="*/ 678623 w 678623"/>
                <a:gd name="connsiteY24" fmla="*/ 657898 h 657898"/>
                <a:gd name="connsiteX0" fmla="*/ 0 w 580978"/>
                <a:gd name="connsiteY0" fmla="*/ 656856 h 657898"/>
                <a:gd name="connsiteX1" fmla="*/ 296498 w 580978"/>
                <a:gd name="connsiteY1" fmla="*/ 656856 h 657898"/>
                <a:gd name="connsiteX2" fmla="*/ 296498 w 580978"/>
                <a:gd name="connsiteY2" fmla="*/ 578408 h 657898"/>
                <a:gd name="connsiteX3" fmla="*/ 339970 w 580978"/>
                <a:gd name="connsiteY3" fmla="*/ 578408 h 657898"/>
                <a:gd name="connsiteX4" fmla="*/ 349689 w 580978"/>
                <a:gd name="connsiteY4" fmla="*/ 575559 h 657898"/>
                <a:gd name="connsiteX5" fmla="*/ 358166 w 580978"/>
                <a:gd name="connsiteY5" fmla="*/ 568369 h 657898"/>
                <a:gd name="connsiteX6" fmla="*/ 364163 w 580978"/>
                <a:gd name="connsiteY6" fmla="*/ 558874 h 657898"/>
                <a:gd name="connsiteX7" fmla="*/ 366437 w 580978"/>
                <a:gd name="connsiteY7" fmla="*/ 549109 h 657898"/>
                <a:gd name="connsiteX8" fmla="*/ 366437 w 580978"/>
                <a:gd name="connsiteY8" fmla="*/ 499021 h 657898"/>
                <a:gd name="connsiteX9" fmla="*/ 90454 w 580978"/>
                <a:gd name="connsiteY9" fmla="*/ 499021 h 657898"/>
                <a:gd name="connsiteX10" fmla="*/ 90454 w 580978"/>
                <a:gd name="connsiteY10" fmla="*/ 386549 h 657898"/>
                <a:gd name="connsiteX11" fmla="*/ 373994 w 580978"/>
                <a:gd name="connsiteY11" fmla="*/ 0 h 657898"/>
                <a:gd name="connsiteX12" fmla="*/ 511039 w 580978"/>
                <a:gd name="connsiteY12" fmla="*/ 0 h 657898"/>
                <a:gd name="connsiteX13" fmla="*/ 511039 w 580978"/>
                <a:gd name="connsiteY13" fmla="*/ 406400 h 657898"/>
                <a:gd name="connsiteX14" fmla="*/ 580978 w 580978"/>
                <a:gd name="connsiteY14" fmla="*/ 406400 h 657898"/>
                <a:gd name="connsiteX15" fmla="*/ 580978 w 580978"/>
                <a:gd name="connsiteY15" fmla="*/ 499021 h 657898"/>
                <a:gd name="connsiteX16" fmla="*/ 511039 w 580978"/>
                <a:gd name="connsiteY16" fmla="*/ 499021 h 657898"/>
                <a:gd name="connsiteX17" fmla="*/ 511039 w 580978"/>
                <a:gd name="connsiteY17" fmla="*/ 549109 h 657898"/>
                <a:gd name="connsiteX18" fmla="*/ 513180 w 580978"/>
                <a:gd name="connsiteY18" fmla="*/ 558874 h 657898"/>
                <a:gd name="connsiteX19" fmla="*/ 518953 w 580978"/>
                <a:gd name="connsiteY19" fmla="*/ 568369 h 657898"/>
                <a:gd name="connsiteX20" fmla="*/ 527386 w 580978"/>
                <a:gd name="connsiteY20" fmla="*/ 575559 h 657898"/>
                <a:gd name="connsiteX21" fmla="*/ 537506 w 580978"/>
                <a:gd name="connsiteY21" fmla="*/ 578408 h 657898"/>
                <a:gd name="connsiteX22" fmla="*/ 580978 w 580978"/>
                <a:gd name="connsiteY22" fmla="*/ 578408 h 657898"/>
                <a:gd name="connsiteX23" fmla="*/ 580978 w 580978"/>
                <a:gd name="connsiteY23" fmla="*/ 656856 h 657898"/>
                <a:gd name="connsiteX24" fmla="*/ 580978 w 580978"/>
                <a:gd name="connsiteY24" fmla="*/ 657898 h 65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80978" h="657898">
                  <a:moveTo>
                    <a:pt x="0" y="656856"/>
                  </a:moveTo>
                  <a:lnTo>
                    <a:pt x="296498" y="656856"/>
                  </a:lnTo>
                  <a:lnTo>
                    <a:pt x="296498" y="578408"/>
                  </a:lnTo>
                  <a:lnTo>
                    <a:pt x="339970" y="578408"/>
                  </a:lnTo>
                  <a:lnTo>
                    <a:pt x="349689" y="575559"/>
                  </a:lnTo>
                  <a:lnTo>
                    <a:pt x="358166" y="568369"/>
                  </a:lnTo>
                  <a:lnTo>
                    <a:pt x="364163" y="558874"/>
                  </a:lnTo>
                  <a:lnTo>
                    <a:pt x="366437" y="549109"/>
                  </a:lnTo>
                  <a:lnTo>
                    <a:pt x="366437" y="499021"/>
                  </a:lnTo>
                  <a:lnTo>
                    <a:pt x="90454" y="499021"/>
                  </a:lnTo>
                  <a:lnTo>
                    <a:pt x="90454" y="386549"/>
                  </a:lnTo>
                  <a:lnTo>
                    <a:pt x="373994" y="0"/>
                  </a:lnTo>
                  <a:lnTo>
                    <a:pt x="511039" y="0"/>
                  </a:lnTo>
                  <a:lnTo>
                    <a:pt x="511039" y="406400"/>
                  </a:lnTo>
                  <a:lnTo>
                    <a:pt x="580978" y="406400"/>
                  </a:lnTo>
                  <a:lnTo>
                    <a:pt x="580978" y="499021"/>
                  </a:lnTo>
                  <a:lnTo>
                    <a:pt x="511039" y="499021"/>
                  </a:lnTo>
                  <a:lnTo>
                    <a:pt x="511039" y="549109"/>
                  </a:lnTo>
                  <a:lnTo>
                    <a:pt x="513180" y="558874"/>
                  </a:lnTo>
                  <a:lnTo>
                    <a:pt x="518953" y="568369"/>
                  </a:lnTo>
                  <a:lnTo>
                    <a:pt x="527386" y="575559"/>
                  </a:lnTo>
                  <a:lnTo>
                    <a:pt x="537506" y="578408"/>
                  </a:lnTo>
                  <a:lnTo>
                    <a:pt x="580978" y="578408"/>
                  </a:lnTo>
                  <a:lnTo>
                    <a:pt x="580978" y="656856"/>
                  </a:lnTo>
                  <a:lnTo>
                    <a:pt x="580978" y="657898"/>
                  </a:lnTo>
                </a:path>
              </a:pathLst>
            </a:custGeom>
            <a:ln w="19050">
              <a:solidFill>
                <a:srgbClr val="3F9C35"/>
              </a:solidFill>
            </a:ln>
          </p:spPr>
          <p:txBody>
            <a:bodyPr wrap="square" lIns="0" tIns="0" rIns="0" bIns="0" rtlCol="0"/>
            <a:lstStyle/>
            <a:p>
              <a:pPr>
                <a:lnSpc>
                  <a:spcPct val="70000"/>
                </a:lnSpc>
              </a:pPr>
              <a:endParaRPr/>
            </a:p>
          </p:txBody>
        </p:sp>
        <p:sp>
          <p:nvSpPr>
            <p:cNvPr id="40" name="object 13"/>
            <p:cNvSpPr/>
            <p:nvPr/>
          </p:nvSpPr>
          <p:spPr>
            <a:xfrm>
              <a:off x="550363" y="4054761"/>
              <a:ext cx="140228" cy="191386"/>
            </a:xfrm>
            <a:custGeom>
              <a:avLst/>
              <a:gdLst/>
              <a:ahLst/>
              <a:cxnLst/>
              <a:rect l="l" t="t" r="r" b="b"/>
              <a:pathLst>
                <a:path w="149225" h="205739">
                  <a:moveTo>
                    <a:pt x="0" y="205625"/>
                  </a:moveTo>
                  <a:lnTo>
                    <a:pt x="148729" y="205625"/>
                  </a:lnTo>
                  <a:lnTo>
                    <a:pt x="148729" y="0"/>
                  </a:lnTo>
                  <a:lnTo>
                    <a:pt x="0" y="205625"/>
                  </a:lnTo>
                  <a:close/>
                </a:path>
              </a:pathLst>
            </a:custGeom>
            <a:ln w="19050">
              <a:solidFill>
                <a:srgbClr val="3F9C35"/>
              </a:solidFill>
            </a:ln>
          </p:spPr>
          <p:txBody>
            <a:bodyPr wrap="square" lIns="0" tIns="0" rIns="0" bIns="0" rtlCol="0"/>
            <a:lstStyle/>
            <a:p>
              <a:pPr>
                <a:lnSpc>
                  <a:spcPct val="70000"/>
                </a:lnSpc>
              </a:pPr>
              <a:endParaRPr/>
            </a:p>
          </p:txBody>
        </p:sp>
      </p:grpSp>
      <p:sp>
        <p:nvSpPr>
          <p:cNvPr id="2" name="Slide Number Placeholder 1"/>
          <p:cNvSpPr>
            <a:spLocks noGrp="1"/>
          </p:cNvSpPr>
          <p:nvPr>
            <p:ph type="sldNum" sz="quarter" idx="4"/>
          </p:nvPr>
        </p:nvSpPr>
        <p:spPr/>
        <p:txBody>
          <a:bodyPr/>
          <a:lstStyle/>
          <a:p>
            <a:fld id="{DAF489CC-3B7A-4DA5-A8C0-4984788D0EC5}" type="slidenum">
              <a:rPr lang="nl-NL" smtClean="0"/>
              <a:pPr/>
              <a:t>2</a:t>
            </a:fld>
            <a:endParaRPr lang="nl-NL" dirty="0"/>
          </a:p>
        </p:txBody>
      </p:sp>
      <p:pic>
        <p:nvPicPr>
          <p:cNvPr id="7" name="Image 6">
            <a:extLst>
              <a:ext uri="{FF2B5EF4-FFF2-40B4-BE49-F238E27FC236}">
                <a16:creationId xmlns:a16="http://schemas.microsoft.com/office/drawing/2014/main" xmlns="" id="{2ECA5AF2-2956-1D44-988B-F169D16607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98736" y="1131590"/>
            <a:ext cx="179023" cy="3175000"/>
          </a:xfrm>
          <a:prstGeom prst="rect">
            <a:avLst/>
          </a:prstGeom>
        </p:spPr>
      </p:pic>
      <p:sp>
        <p:nvSpPr>
          <p:cNvPr id="10" name="Rectangle à coins arrondis 9">
            <a:extLst>
              <a:ext uri="{FF2B5EF4-FFF2-40B4-BE49-F238E27FC236}">
                <a16:creationId xmlns:a16="http://schemas.microsoft.com/office/drawing/2014/main" xmlns="" id="{2769C842-9270-074C-A09A-A004F3CB99D5}"/>
              </a:ext>
            </a:extLst>
          </p:cNvPr>
          <p:cNvSpPr/>
          <p:nvPr/>
        </p:nvSpPr>
        <p:spPr>
          <a:xfrm>
            <a:off x="186074" y="2288576"/>
            <a:ext cx="1284383" cy="861028"/>
          </a:xfrm>
          <a:prstGeom prst="roundRect">
            <a:avLst/>
          </a:pr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ZoneTexte 10">
            <a:extLst>
              <a:ext uri="{FF2B5EF4-FFF2-40B4-BE49-F238E27FC236}">
                <a16:creationId xmlns:a16="http://schemas.microsoft.com/office/drawing/2014/main" xmlns="" id="{7C7F7007-484C-144A-B719-CDEA345163C7}"/>
              </a:ext>
            </a:extLst>
          </p:cNvPr>
          <p:cNvSpPr txBox="1"/>
          <p:nvPr/>
        </p:nvSpPr>
        <p:spPr>
          <a:xfrm>
            <a:off x="256480" y="1884384"/>
            <a:ext cx="1132041" cy="369332"/>
          </a:xfrm>
          <a:prstGeom prst="rect">
            <a:avLst/>
          </a:prstGeom>
          <a:noFill/>
        </p:spPr>
        <p:txBody>
          <a:bodyPr wrap="none" rtlCol="0">
            <a:spAutoFit/>
          </a:bodyPr>
          <a:lstStyle/>
          <a:p>
            <a:r>
              <a:rPr lang="fr-FR" dirty="0"/>
              <a:t>Solution</a:t>
            </a:r>
          </a:p>
        </p:txBody>
      </p:sp>
      <p:sp>
        <p:nvSpPr>
          <p:cNvPr id="28" name="ZoneTexte 27">
            <a:extLst>
              <a:ext uri="{FF2B5EF4-FFF2-40B4-BE49-F238E27FC236}">
                <a16:creationId xmlns:a16="http://schemas.microsoft.com/office/drawing/2014/main" xmlns="" id="{2E7B2231-09B2-864B-B317-57A0184925D6}"/>
              </a:ext>
            </a:extLst>
          </p:cNvPr>
          <p:cNvSpPr txBox="1"/>
          <p:nvPr/>
        </p:nvSpPr>
        <p:spPr>
          <a:xfrm>
            <a:off x="150266" y="3219325"/>
            <a:ext cx="1344471" cy="369332"/>
          </a:xfrm>
          <a:prstGeom prst="rect">
            <a:avLst/>
          </a:prstGeom>
          <a:noFill/>
        </p:spPr>
        <p:txBody>
          <a:bodyPr wrap="none" rtlCol="0">
            <a:spAutoFit/>
          </a:bodyPr>
          <a:lstStyle/>
          <a:p>
            <a:r>
              <a:rPr lang="fr-FR" dirty="0"/>
              <a:t>Technique</a:t>
            </a:r>
          </a:p>
        </p:txBody>
      </p:sp>
    </p:spTree>
    <p:extLst>
      <p:ext uri="{BB962C8B-B14F-4D97-AF65-F5344CB8AC3E}">
        <p14:creationId xmlns:p14="http://schemas.microsoft.com/office/powerpoint/2010/main" val="2873122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xmlns="" id="{14F4F1DE-629A-5B42-A3C3-DC6264F5124D}"/>
              </a:ext>
            </a:extLst>
          </p:cNvPr>
          <p:cNvSpPr>
            <a:spLocks noGrp="1"/>
          </p:cNvSpPr>
          <p:nvPr>
            <p:ph type="sldNum" sz="quarter" idx="4"/>
          </p:nvPr>
        </p:nvSpPr>
        <p:spPr/>
        <p:txBody>
          <a:bodyPr/>
          <a:lstStyle/>
          <a:p>
            <a:fld id="{DAF489CC-3B7A-4DA5-A8C0-4984788D0EC5}" type="slidenum">
              <a:rPr lang="nl-NL" smtClean="0"/>
              <a:pPr/>
              <a:t>3</a:t>
            </a:fld>
            <a:endParaRPr lang="nl-NL" dirty="0"/>
          </a:p>
        </p:txBody>
      </p:sp>
      <p:sp>
        <p:nvSpPr>
          <p:cNvPr id="4" name="Titre 3">
            <a:extLst>
              <a:ext uri="{FF2B5EF4-FFF2-40B4-BE49-F238E27FC236}">
                <a16:creationId xmlns:a16="http://schemas.microsoft.com/office/drawing/2014/main" xmlns="" id="{43D868F9-0044-B740-A1A8-84BF4C98CF83}"/>
              </a:ext>
            </a:extLst>
          </p:cNvPr>
          <p:cNvSpPr>
            <a:spLocks noGrp="1"/>
          </p:cNvSpPr>
          <p:nvPr>
            <p:ph type="title"/>
          </p:nvPr>
        </p:nvSpPr>
        <p:spPr/>
        <p:txBody>
          <a:bodyPr/>
          <a:lstStyle/>
          <a:p>
            <a:r>
              <a:rPr lang="en-GB" dirty="0"/>
              <a:t>Cycle de vie d’un container </a:t>
            </a:r>
            <a:r>
              <a:rPr lang="en-GB" dirty="0" err="1"/>
              <a:t>en</a:t>
            </a:r>
            <a:r>
              <a:rPr lang="en-GB" dirty="0"/>
              <a:t> HPC</a:t>
            </a:r>
            <a:br>
              <a:rPr lang="en-GB" dirty="0"/>
            </a:br>
            <a:r>
              <a:rPr lang="en-GB" sz="1400" b="0" i="1" dirty="0" err="1"/>
              <a:t>Principes</a:t>
            </a:r>
            <a:endParaRPr lang="en-GB" sz="1400" b="0" i="1" dirty="0"/>
          </a:p>
        </p:txBody>
      </p:sp>
      <p:sp>
        <p:nvSpPr>
          <p:cNvPr id="11" name="Espace réservé du contenu 1">
            <a:extLst>
              <a:ext uri="{FF2B5EF4-FFF2-40B4-BE49-F238E27FC236}">
                <a16:creationId xmlns:a16="http://schemas.microsoft.com/office/drawing/2014/main" xmlns="" id="{4F5A91A1-6C0B-A64A-9B40-A034B8A95188}"/>
              </a:ext>
            </a:extLst>
          </p:cNvPr>
          <p:cNvSpPr>
            <a:spLocks noGrp="1"/>
          </p:cNvSpPr>
          <p:nvPr>
            <p:ph idx="1"/>
          </p:nvPr>
        </p:nvSpPr>
        <p:spPr>
          <a:xfrm>
            <a:off x="260484" y="987573"/>
            <a:ext cx="2439308" cy="3360167"/>
          </a:xfrm>
        </p:spPr>
        <p:txBody>
          <a:bodyPr/>
          <a:lstStyle/>
          <a:p>
            <a:r>
              <a:rPr lang="fr-FR" sz="1200" dirty="0" smtClean="0"/>
              <a:t>La première étape est de construire (</a:t>
            </a:r>
            <a:r>
              <a:rPr lang="fr-FR" sz="1200" dirty="0" err="1" smtClean="0"/>
              <a:t>build</a:t>
            </a:r>
            <a:r>
              <a:rPr lang="fr-FR" sz="1200" dirty="0" smtClean="0"/>
              <a:t>) un container permettant d’exécuter l’application </a:t>
            </a:r>
            <a:br>
              <a:rPr lang="fr-FR" sz="1200" dirty="0" smtClean="0"/>
            </a:br>
            <a:r>
              <a:rPr lang="fr-FR" sz="1200" dirty="0" smtClean="0"/>
              <a:t>désirée</a:t>
            </a:r>
            <a:br>
              <a:rPr lang="fr-FR" sz="1200" dirty="0" smtClean="0"/>
            </a:br>
            <a:endParaRPr lang="fr-FR" sz="1200" dirty="0" smtClean="0"/>
          </a:p>
          <a:p>
            <a:endParaRPr lang="fr-FR" sz="1200" dirty="0" smtClean="0"/>
          </a:p>
          <a:p>
            <a:r>
              <a:rPr lang="fr-FR" sz="1200" dirty="0" smtClean="0"/>
              <a:t>Le </a:t>
            </a:r>
            <a:r>
              <a:rPr lang="fr-FR" sz="1200" dirty="0" err="1" smtClean="0"/>
              <a:t>build</a:t>
            </a:r>
            <a:r>
              <a:rPr lang="fr-FR" sz="1200" dirty="0" smtClean="0"/>
              <a:t> nécessite </a:t>
            </a:r>
            <a:br>
              <a:rPr lang="fr-FR" sz="1200" dirty="0" smtClean="0"/>
            </a:br>
            <a:r>
              <a:rPr lang="fr-FR" sz="1200" dirty="0" smtClean="0"/>
              <a:t>des droits privilégiés</a:t>
            </a:r>
          </a:p>
          <a:p>
            <a:endParaRPr lang="fr-FR" sz="1200" dirty="0"/>
          </a:p>
        </p:txBody>
      </p:sp>
      <p:pic>
        <p:nvPicPr>
          <p:cNvPr id="7" name="Image 6">
            <a:extLst>
              <a:ext uri="{FF2B5EF4-FFF2-40B4-BE49-F238E27FC236}">
                <a16:creationId xmlns:a16="http://schemas.microsoft.com/office/drawing/2014/main" xmlns="" id="{CD28A79A-F15C-0644-A6B4-542955BCBC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2000" y="828000"/>
            <a:ext cx="6951600" cy="3510801"/>
          </a:xfrm>
          <a:prstGeom prst="rect">
            <a:avLst/>
          </a:prstGeom>
        </p:spPr>
      </p:pic>
    </p:spTree>
    <p:extLst>
      <p:ext uri="{BB962C8B-B14F-4D97-AF65-F5344CB8AC3E}">
        <p14:creationId xmlns:p14="http://schemas.microsoft.com/office/powerpoint/2010/main" val="3816001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xmlns="" id="{14F4F1DE-629A-5B42-A3C3-DC6264F5124D}"/>
              </a:ext>
            </a:extLst>
          </p:cNvPr>
          <p:cNvSpPr>
            <a:spLocks noGrp="1"/>
          </p:cNvSpPr>
          <p:nvPr>
            <p:ph type="sldNum" sz="quarter" idx="4"/>
          </p:nvPr>
        </p:nvSpPr>
        <p:spPr/>
        <p:txBody>
          <a:bodyPr/>
          <a:lstStyle/>
          <a:p>
            <a:fld id="{DAF489CC-3B7A-4DA5-A8C0-4984788D0EC5}" type="slidenum">
              <a:rPr lang="nl-NL" smtClean="0"/>
              <a:pPr/>
              <a:t>4</a:t>
            </a:fld>
            <a:endParaRPr lang="nl-NL" dirty="0"/>
          </a:p>
        </p:txBody>
      </p:sp>
      <p:sp>
        <p:nvSpPr>
          <p:cNvPr id="4" name="Titre 3">
            <a:extLst>
              <a:ext uri="{FF2B5EF4-FFF2-40B4-BE49-F238E27FC236}">
                <a16:creationId xmlns:a16="http://schemas.microsoft.com/office/drawing/2014/main" xmlns="" id="{43D868F9-0044-B740-A1A8-84BF4C98CF83}"/>
              </a:ext>
            </a:extLst>
          </p:cNvPr>
          <p:cNvSpPr>
            <a:spLocks noGrp="1"/>
          </p:cNvSpPr>
          <p:nvPr>
            <p:ph type="title"/>
          </p:nvPr>
        </p:nvSpPr>
        <p:spPr/>
        <p:txBody>
          <a:bodyPr/>
          <a:lstStyle/>
          <a:p>
            <a:r>
              <a:rPr lang="en-GB" dirty="0"/>
              <a:t>Cycle de vie d’un container </a:t>
            </a:r>
            <a:r>
              <a:rPr lang="en-GB" dirty="0" err="1"/>
              <a:t>en</a:t>
            </a:r>
            <a:r>
              <a:rPr lang="en-GB" dirty="0"/>
              <a:t> HPC</a:t>
            </a:r>
            <a:br>
              <a:rPr lang="en-GB" dirty="0"/>
            </a:br>
            <a:r>
              <a:rPr lang="en-GB" sz="1400" b="0" i="1" dirty="0" err="1"/>
              <a:t>Principes</a:t>
            </a:r>
            <a:endParaRPr lang="en-GB" sz="1400" b="0" i="1" dirty="0"/>
          </a:p>
        </p:txBody>
      </p:sp>
      <p:sp>
        <p:nvSpPr>
          <p:cNvPr id="11" name="Espace réservé du contenu 1">
            <a:extLst>
              <a:ext uri="{FF2B5EF4-FFF2-40B4-BE49-F238E27FC236}">
                <a16:creationId xmlns:a16="http://schemas.microsoft.com/office/drawing/2014/main" xmlns="" id="{4F5A91A1-6C0B-A64A-9B40-A034B8A95188}"/>
              </a:ext>
            </a:extLst>
          </p:cNvPr>
          <p:cNvSpPr>
            <a:spLocks noGrp="1"/>
          </p:cNvSpPr>
          <p:nvPr>
            <p:ph idx="1"/>
          </p:nvPr>
        </p:nvSpPr>
        <p:spPr>
          <a:xfrm>
            <a:off x="260484" y="1059581"/>
            <a:ext cx="2439308" cy="3288159"/>
          </a:xfrm>
        </p:spPr>
        <p:txBody>
          <a:bodyPr/>
          <a:lstStyle/>
          <a:p>
            <a:r>
              <a:rPr lang="fr-FR" sz="1200" dirty="0" smtClean="0"/>
              <a:t>Une fois le container obtenu (par </a:t>
            </a:r>
            <a:r>
              <a:rPr lang="fr-FR" sz="1200" dirty="0" err="1" smtClean="0"/>
              <a:t>build</a:t>
            </a:r>
            <a:r>
              <a:rPr lang="fr-FR" sz="1200" dirty="0" smtClean="0"/>
              <a:t> ou par récupération) il est utile de l’enregistrer pour:</a:t>
            </a:r>
          </a:p>
          <a:p>
            <a:endParaRPr lang="fr-FR" sz="1200" dirty="0" smtClean="0"/>
          </a:p>
          <a:p>
            <a:pPr lvl="1"/>
            <a:r>
              <a:rPr lang="fr-FR" sz="1200" dirty="0" smtClean="0"/>
              <a:t>En conserver </a:t>
            </a:r>
            <a:br>
              <a:rPr lang="fr-FR" sz="1200" dirty="0" smtClean="0"/>
            </a:br>
            <a:r>
              <a:rPr lang="fr-FR" sz="1200" dirty="0" smtClean="0"/>
              <a:t>la trace</a:t>
            </a:r>
          </a:p>
          <a:p>
            <a:pPr lvl="1"/>
            <a:r>
              <a:rPr lang="fr-FR" sz="1200" dirty="0" smtClean="0"/>
              <a:t>Permettre le suivi d’éventuelles modifications</a:t>
            </a:r>
          </a:p>
          <a:p>
            <a:pPr lvl="1"/>
            <a:r>
              <a:rPr lang="fr-FR" sz="1200" dirty="0" smtClean="0"/>
              <a:t>Permettre à d’autres utilisateurs d’y accéder/de l’utiliser</a:t>
            </a:r>
          </a:p>
          <a:p>
            <a:endParaRPr lang="fr-FR" sz="1200" dirty="0" smtClean="0"/>
          </a:p>
          <a:p>
            <a:endParaRPr lang="fr-FR" sz="1200" dirty="0"/>
          </a:p>
        </p:txBody>
      </p:sp>
      <p:pic>
        <p:nvPicPr>
          <p:cNvPr id="5" name="Image 4">
            <a:extLst>
              <a:ext uri="{FF2B5EF4-FFF2-40B4-BE49-F238E27FC236}">
                <a16:creationId xmlns:a16="http://schemas.microsoft.com/office/drawing/2014/main" xmlns="" id="{94ECAC78-1947-D844-AFA0-32360DBFCE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2000" y="828000"/>
            <a:ext cx="6951600" cy="3510801"/>
          </a:xfrm>
          <a:prstGeom prst="rect">
            <a:avLst/>
          </a:prstGeom>
        </p:spPr>
      </p:pic>
    </p:spTree>
    <p:extLst>
      <p:ext uri="{BB962C8B-B14F-4D97-AF65-F5344CB8AC3E}">
        <p14:creationId xmlns:p14="http://schemas.microsoft.com/office/powerpoint/2010/main" val="13009536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xmlns="" id="{14F4F1DE-629A-5B42-A3C3-DC6264F5124D}"/>
              </a:ext>
            </a:extLst>
          </p:cNvPr>
          <p:cNvSpPr>
            <a:spLocks noGrp="1"/>
          </p:cNvSpPr>
          <p:nvPr>
            <p:ph type="sldNum" sz="quarter" idx="4"/>
          </p:nvPr>
        </p:nvSpPr>
        <p:spPr/>
        <p:txBody>
          <a:bodyPr/>
          <a:lstStyle/>
          <a:p>
            <a:fld id="{DAF489CC-3B7A-4DA5-A8C0-4984788D0EC5}" type="slidenum">
              <a:rPr lang="nl-NL" smtClean="0"/>
              <a:pPr/>
              <a:t>5</a:t>
            </a:fld>
            <a:endParaRPr lang="nl-NL" dirty="0"/>
          </a:p>
        </p:txBody>
      </p:sp>
      <p:sp>
        <p:nvSpPr>
          <p:cNvPr id="4" name="Titre 3">
            <a:extLst>
              <a:ext uri="{FF2B5EF4-FFF2-40B4-BE49-F238E27FC236}">
                <a16:creationId xmlns:a16="http://schemas.microsoft.com/office/drawing/2014/main" xmlns="" id="{43D868F9-0044-B740-A1A8-84BF4C98CF83}"/>
              </a:ext>
            </a:extLst>
          </p:cNvPr>
          <p:cNvSpPr>
            <a:spLocks noGrp="1"/>
          </p:cNvSpPr>
          <p:nvPr>
            <p:ph type="title"/>
          </p:nvPr>
        </p:nvSpPr>
        <p:spPr/>
        <p:txBody>
          <a:bodyPr/>
          <a:lstStyle/>
          <a:p>
            <a:r>
              <a:rPr lang="en-GB" dirty="0"/>
              <a:t>Cycle de vie d’un container </a:t>
            </a:r>
            <a:r>
              <a:rPr lang="en-GB" dirty="0" err="1"/>
              <a:t>en</a:t>
            </a:r>
            <a:r>
              <a:rPr lang="en-GB" dirty="0"/>
              <a:t> HPC</a:t>
            </a:r>
            <a:br>
              <a:rPr lang="en-GB" dirty="0"/>
            </a:br>
            <a:r>
              <a:rPr lang="en-GB" sz="1400" b="0" i="1" dirty="0" err="1"/>
              <a:t>Principes</a:t>
            </a:r>
            <a:endParaRPr lang="en-GB" sz="1400" b="0" i="1" dirty="0"/>
          </a:p>
        </p:txBody>
      </p:sp>
      <p:sp>
        <p:nvSpPr>
          <p:cNvPr id="11" name="Espace réservé du contenu 1">
            <a:extLst>
              <a:ext uri="{FF2B5EF4-FFF2-40B4-BE49-F238E27FC236}">
                <a16:creationId xmlns:a16="http://schemas.microsoft.com/office/drawing/2014/main" xmlns="" id="{4F5A91A1-6C0B-A64A-9B40-A034B8A95188}"/>
              </a:ext>
            </a:extLst>
          </p:cNvPr>
          <p:cNvSpPr>
            <a:spLocks noGrp="1"/>
          </p:cNvSpPr>
          <p:nvPr>
            <p:ph idx="1"/>
          </p:nvPr>
        </p:nvSpPr>
        <p:spPr>
          <a:xfrm>
            <a:off x="260484" y="872841"/>
            <a:ext cx="2439308" cy="3474900"/>
          </a:xfrm>
        </p:spPr>
        <p:txBody>
          <a:bodyPr/>
          <a:lstStyle/>
          <a:p>
            <a:r>
              <a:rPr lang="fr-FR" sz="1200" dirty="0" smtClean="0"/>
              <a:t>Enfin, l’utilisateur peut soumettre un travail en faisant appel au container désiré</a:t>
            </a:r>
          </a:p>
          <a:p>
            <a:pPr marL="0" indent="0">
              <a:buNone/>
            </a:pPr>
            <a:r>
              <a:rPr lang="fr-FR" sz="1200" dirty="0" smtClean="0"/>
              <a:t/>
            </a:r>
            <a:br>
              <a:rPr lang="fr-FR" sz="1200" dirty="0" smtClean="0"/>
            </a:br>
            <a:r>
              <a:rPr lang="fr-FR" sz="1200" dirty="0" smtClean="0"/>
              <a:t/>
            </a:r>
            <a:br>
              <a:rPr lang="fr-FR" sz="1200" dirty="0" smtClean="0"/>
            </a:br>
            <a:endParaRPr lang="fr-FR" sz="1200" dirty="0" smtClean="0"/>
          </a:p>
          <a:p>
            <a:r>
              <a:rPr lang="fr-FR" sz="1200" dirty="0" smtClean="0"/>
              <a:t>L’interface entre </a:t>
            </a:r>
            <a:br>
              <a:rPr lang="fr-FR" sz="1200" dirty="0" smtClean="0"/>
            </a:br>
            <a:r>
              <a:rPr lang="fr-FR" sz="1200" dirty="0" smtClean="0"/>
              <a:t>le gestionnaire de</a:t>
            </a:r>
            <a:br>
              <a:rPr lang="fr-FR" sz="1200" dirty="0" smtClean="0"/>
            </a:br>
            <a:r>
              <a:rPr lang="fr-FR" sz="1200" dirty="0" smtClean="0"/>
              <a:t>ressources et le</a:t>
            </a:r>
            <a:br>
              <a:rPr lang="fr-FR" sz="1200" dirty="0" smtClean="0"/>
            </a:br>
            <a:r>
              <a:rPr lang="fr-FR" sz="1200" dirty="0" smtClean="0"/>
              <a:t>‘</a:t>
            </a:r>
            <a:r>
              <a:rPr lang="fr-FR" sz="1200" dirty="0" err="1" smtClean="0"/>
              <a:t>registry</a:t>
            </a:r>
            <a:r>
              <a:rPr lang="fr-FR" sz="1200" dirty="0" smtClean="0"/>
              <a:t>’ doit être</a:t>
            </a:r>
            <a:br>
              <a:rPr lang="fr-FR" sz="1200" dirty="0" smtClean="0"/>
            </a:br>
            <a:r>
              <a:rPr lang="fr-FR" sz="1200" dirty="0" smtClean="0"/>
              <a:t>automatisé</a:t>
            </a:r>
          </a:p>
          <a:p>
            <a:pPr marL="0" indent="0">
              <a:buNone/>
            </a:pPr>
            <a:r>
              <a:rPr lang="fr-FR" sz="1200" dirty="0" smtClean="0"/>
              <a:t/>
            </a:r>
            <a:br>
              <a:rPr lang="fr-FR" sz="1200" dirty="0" smtClean="0"/>
            </a:br>
            <a:endParaRPr lang="fr-FR" sz="1200" dirty="0" smtClean="0"/>
          </a:p>
          <a:p>
            <a:r>
              <a:rPr lang="fr-FR" sz="1200" dirty="0" smtClean="0"/>
              <a:t>L’utilisation des containers doit être aussi simple qu’un appel à un binaire classique </a:t>
            </a:r>
            <a:r>
              <a:rPr lang="fr-FR" sz="1200" dirty="0" smtClean="0">
                <a:sym typeface="Wingdings" pitchFamily="2" charset="2"/>
              </a:rPr>
              <a:t></a:t>
            </a:r>
            <a:endParaRPr lang="fr-FR" sz="1200" dirty="0" smtClean="0"/>
          </a:p>
          <a:p>
            <a:endParaRPr lang="fr-FR" sz="1200" dirty="0" smtClean="0"/>
          </a:p>
          <a:p>
            <a:endParaRPr lang="fr-FR" sz="1200" dirty="0"/>
          </a:p>
        </p:txBody>
      </p:sp>
      <p:pic>
        <p:nvPicPr>
          <p:cNvPr id="5" name="Image 4">
            <a:extLst>
              <a:ext uri="{FF2B5EF4-FFF2-40B4-BE49-F238E27FC236}">
                <a16:creationId xmlns:a16="http://schemas.microsoft.com/office/drawing/2014/main" xmlns="" id="{EE6B4181-D8D7-3A49-9549-D7066068E4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2000" y="828000"/>
            <a:ext cx="6951600" cy="3510801"/>
          </a:xfrm>
          <a:prstGeom prst="rect">
            <a:avLst/>
          </a:prstGeom>
        </p:spPr>
      </p:pic>
    </p:spTree>
    <p:extLst>
      <p:ext uri="{BB962C8B-B14F-4D97-AF65-F5344CB8AC3E}">
        <p14:creationId xmlns:p14="http://schemas.microsoft.com/office/powerpoint/2010/main" val="17011774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xmlns="" id="{14F4F1DE-629A-5B42-A3C3-DC6264F5124D}"/>
              </a:ext>
            </a:extLst>
          </p:cNvPr>
          <p:cNvSpPr>
            <a:spLocks noGrp="1"/>
          </p:cNvSpPr>
          <p:nvPr>
            <p:ph type="sldNum" sz="quarter" idx="4"/>
          </p:nvPr>
        </p:nvSpPr>
        <p:spPr/>
        <p:txBody>
          <a:bodyPr/>
          <a:lstStyle/>
          <a:p>
            <a:fld id="{DAF489CC-3B7A-4DA5-A8C0-4984788D0EC5}" type="slidenum">
              <a:rPr lang="nl-NL" smtClean="0"/>
              <a:pPr/>
              <a:t>6</a:t>
            </a:fld>
            <a:endParaRPr lang="nl-NL" dirty="0"/>
          </a:p>
        </p:txBody>
      </p:sp>
      <p:sp>
        <p:nvSpPr>
          <p:cNvPr id="4" name="Titre 3">
            <a:extLst>
              <a:ext uri="{FF2B5EF4-FFF2-40B4-BE49-F238E27FC236}">
                <a16:creationId xmlns:a16="http://schemas.microsoft.com/office/drawing/2014/main" xmlns="" id="{43D868F9-0044-B740-A1A8-84BF4C98CF83}"/>
              </a:ext>
            </a:extLst>
          </p:cNvPr>
          <p:cNvSpPr>
            <a:spLocks noGrp="1"/>
          </p:cNvSpPr>
          <p:nvPr>
            <p:ph type="title"/>
          </p:nvPr>
        </p:nvSpPr>
        <p:spPr/>
        <p:txBody>
          <a:bodyPr/>
          <a:lstStyle/>
          <a:p>
            <a:r>
              <a:rPr lang="en-GB" dirty="0"/>
              <a:t>Cycle de vie d’un container </a:t>
            </a:r>
            <a:r>
              <a:rPr lang="en-GB" dirty="0" err="1"/>
              <a:t>en</a:t>
            </a:r>
            <a:r>
              <a:rPr lang="en-GB" dirty="0"/>
              <a:t> HPC</a:t>
            </a:r>
            <a:br>
              <a:rPr lang="en-GB" dirty="0"/>
            </a:br>
            <a:r>
              <a:rPr lang="en-GB" sz="1400" b="0" i="1" dirty="0" err="1"/>
              <a:t>Principes</a:t>
            </a:r>
            <a:endParaRPr lang="en-GB" sz="1400" b="0" i="1" dirty="0"/>
          </a:p>
        </p:txBody>
      </p:sp>
      <p:sp>
        <p:nvSpPr>
          <p:cNvPr id="11" name="Espace réservé du contenu 1">
            <a:extLst>
              <a:ext uri="{FF2B5EF4-FFF2-40B4-BE49-F238E27FC236}">
                <a16:creationId xmlns:a16="http://schemas.microsoft.com/office/drawing/2014/main" xmlns="" id="{4F5A91A1-6C0B-A64A-9B40-A034B8A95188}"/>
              </a:ext>
            </a:extLst>
          </p:cNvPr>
          <p:cNvSpPr>
            <a:spLocks noGrp="1"/>
          </p:cNvSpPr>
          <p:nvPr>
            <p:ph idx="1"/>
          </p:nvPr>
        </p:nvSpPr>
        <p:spPr>
          <a:xfrm>
            <a:off x="260484" y="872841"/>
            <a:ext cx="2439308" cy="3474900"/>
          </a:xfrm>
        </p:spPr>
        <p:txBody>
          <a:bodyPr/>
          <a:lstStyle/>
          <a:p>
            <a:r>
              <a:rPr lang="fr-FR" sz="1200" dirty="0" smtClean="0"/>
              <a:t>Enfin, les ressources sont allouées (</a:t>
            </a:r>
            <a:r>
              <a:rPr lang="fr-FR" sz="1200" dirty="0" err="1" smtClean="0"/>
              <a:t>noeuds</a:t>
            </a:r>
            <a:r>
              <a:rPr lang="fr-FR" sz="1200" dirty="0" smtClean="0"/>
              <a:t>, </a:t>
            </a:r>
            <a:r>
              <a:rPr lang="fr-FR" sz="1200" dirty="0" err="1" smtClean="0"/>
              <a:t>etc</a:t>
            </a:r>
            <a:r>
              <a:rPr lang="fr-FR" sz="1200" dirty="0" smtClean="0"/>
              <a:t>) </a:t>
            </a:r>
          </a:p>
          <a:p>
            <a:endParaRPr lang="fr-FR" sz="1200" dirty="0" smtClean="0"/>
          </a:p>
          <a:p>
            <a:endParaRPr lang="fr-FR" sz="1200" dirty="0"/>
          </a:p>
        </p:txBody>
      </p:sp>
      <p:pic>
        <p:nvPicPr>
          <p:cNvPr id="6" name="Image 5">
            <a:extLst>
              <a:ext uri="{FF2B5EF4-FFF2-40B4-BE49-F238E27FC236}">
                <a16:creationId xmlns:a16="http://schemas.microsoft.com/office/drawing/2014/main" xmlns="" id="{C7272946-E63E-4545-9CEE-4521C7B260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2000" y="828000"/>
            <a:ext cx="6951600" cy="3510801"/>
          </a:xfrm>
          <a:prstGeom prst="rect">
            <a:avLst/>
          </a:prstGeom>
        </p:spPr>
      </p:pic>
    </p:spTree>
    <p:extLst>
      <p:ext uri="{BB962C8B-B14F-4D97-AF65-F5344CB8AC3E}">
        <p14:creationId xmlns:p14="http://schemas.microsoft.com/office/powerpoint/2010/main" val="2418142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xmlns="" id="{14F4F1DE-629A-5B42-A3C3-DC6264F5124D}"/>
              </a:ext>
            </a:extLst>
          </p:cNvPr>
          <p:cNvSpPr>
            <a:spLocks noGrp="1"/>
          </p:cNvSpPr>
          <p:nvPr>
            <p:ph type="sldNum" sz="quarter" idx="4"/>
          </p:nvPr>
        </p:nvSpPr>
        <p:spPr/>
        <p:txBody>
          <a:bodyPr/>
          <a:lstStyle/>
          <a:p>
            <a:fld id="{DAF489CC-3B7A-4DA5-A8C0-4984788D0EC5}" type="slidenum">
              <a:rPr lang="nl-NL" smtClean="0"/>
              <a:pPr/>
              <a:t>7</a:t>
            </a:fld>
            <a:endParaRPr lang="nl-NL" dirty="0"/>
          </a:p>
        </p:txBody>
      </p:sp>
      <p:sp>
        <p:nvSpPr>
          <p:cNvPr id="4" name="Titre 3">
            <a:extLst>
              <a:ext uri="{FF2B5EF4-FFF2-40B4-BE49-F238E27FC236}">
                <a16:creationId xmlns:a16="http://schemas.microsoft.com/office/drawing/2014/main" xmlns="" id="{43D868F9-0044-B740-A1A8-84BF4C98CF83}"/>
              </a:ext>
            </a:extLst>
          </p:cNvPr>
          <p:cNvSpPr>
            <a:spLocks noGrp="1"/>
          </p:cNvSpPr>
          <p:nvPr>
            <p:ph type="title"/>
          </p:nvPr>
        </p:nvSpPr>
        <p:spPr/>
        <p:txBody>
          <a:bodyPr/>
          <a:lstStyle/>
          <a:p>
            <a:r>
              <a:rPr lang="en-GB" dirty="0"/>
              <a:t>Cycle de vie d’un container </a:t>
            </a:r>
            <a:r>
              <a:rPr lang="en-GB" dirty="0" err="1"/>
              <a:t>en</a:t>
            </a:r>
            <a:r>
              <a:rPr lang="en-GB" dirty="0"/>
              <a:t> HPC</a:t>
            </a:r>
            <a:br>
              <a:rPr lang="en-GB" dirty="0"/>
            </a:br>
            <a:r>
              <a:rPr lang="en-GB" sz="1400" b="0" i="1" dirty="0" err="1"/>
              <a:t>Principes</a:t>
            </a:r>
            <a:endParaRPr lang="en-GB" sz="1400" b="0" i="1" dirty="0"/>
          </a:p>
        </p:txBody>
      </p:sp>
      <p:pic>
        <p:nvPicPr>
          <p:cNvPr id="5" name="Image 4">
            <a:extLst>
              <a:ext uri="{FF2B5EF4-FFF2-40B4-BE49-F238E27FC236}">
                <a16:creationId xmlns:a16="http://schemas.microsoft.com/office/drawing/2014/main" xmlns="" id="{24983E25-FDA9-D345-BC9B-C72F747C2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2000" y="828000"/>
            <a:ext cx="6951600" cy="3510801"/>
          </a:xfrm>
          <a:prstGeom prst="rect">
            <a:avLst/>
          </a:prstGeom>
        </p:spPr>
      </p:pic>
      <p:sp>
        <p:nvSpPr>
          <p:cNvPr id="9" name="Espace réservé du contenu 1">
            <a:extLst>
              <a:ext uri="{FF2B5EF4-FFF2-40B4-BE49-F238E27FC236}">
                <a16:creationId xmlns:a16="http://schemas.microsoft.com/office/drawing/2014/main" xmlns="" id="{E7A790E7-A77E-5748-8D06-6A91621D990B}"/>
              </a:ext>
            </a:extLst>
          </p:cNvPr>
          <p:cNvSpPr txBox="1">
            <a:spLocks/>
          </p:cNvSpPr>
          <p:nvPr/>
        </p:nvSpPr>
        <p:spPr>
          <a:xfrm>
            <a:off x="260484" y="872841"/>
            <a:ext cx="2439308" cy="3474900"/>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200" dirty="0" smtClean="0"/>
              <a:t>Enfin, les ressources sont allouées (</a:t>
            </a:r>
            <a:r>
              <a:rPr lang="fr-FR" sz="1200" dirty="0" err="1" smtClean="0"/>
              <a:t>noeuds</a:t>
            </a:r>
            <a:r>
              <a:rPr lang="fr-FR" sz="1200" dirty="0" smtClean="0"/>
              <a:t>, </a:t>
            </a:r>
            <a:r>
              <a:rPr lang="fr-FR" sz="1200" dirty="0" err="1" smtClean="0"/>
              <a:t>etc</a:t>
            </a:r>
            <a:r>
              <a:rPr lang="fr-FR" sz="1200" dirty="0" smtClean="0"/>
              <a:t>)</a:t>
            </a:r>
          </a:p>
          <a:p>
            <a:endParaRPr lang="fr-FR" sz="1200" dirty="0" smtClean="0"/>
          </a:p>
          <a:p>
            <a:pPr marL="0" indent="0">
              <a:buNone/>
            </a:pPr>
            <a:r>
              <a:rPr lang="fr-FR" sz="1200" dirty="0" smtClean="0"/>
              <a:t/>
            </a:r>
            <a:br>
              <a:rPr lang="fr-FR" sz="1200" dirty="0" smtClean="0"/>
            </a:br>
            <a:r>
              <a:rPr lang="fr-FR" sz="1200" dirty="0" smtClean="0"/>
              <a:t/>
            </a:r>
            <a:br>
              <a:rPr lang="fr-FR" sz="1200" dirty="0" smtClean="0"/>
            </a:br>
            <a:r>
              <a:rPr lang="fr-FR" sz="1200" dirty="0" smtClean="0"/>
              <a:t/>
            </a:r>
            <a:br>
              <a:rPr lang="fr-FR" sz="1200" dirty="0" smtClean="0"/>
            </a:br>
            <a:r>
              <a:rPr lang="fr-FR" sz="1200" dirty="0" smtClean="0"/>
              <a:t/>
            </a:r>
            <a:br>
              <a:rPr lang="fr-FR" sz="1200" dirty="0" smtClean="0"/>
            </a:br>
            <a:r>
              <a:rPr lang="fr-FR" sz="1200" dirty="0" smtClean="0"/>
              <a:t/>
            </a:r>
            <a:br>
              <a:rPr lang="fr-FR" sz="1200" dirty="0" smtClean="0"/>
            </a:br>
            <a:r>
              <a:rPr lang="fr-FR" sz="1200" dirty="0" smtClean="0"/>
              <a:t/>
            </a:r>
            <a:br>
              <a:rPr lang="fr-FR" sz="1200" dirty="0" smtClean="0"/>
            </a:br>
            <a:endParaRPr lang="fr-FR" sz="1200" dirty="0" smtClean="0"/>
          </a:p>
          <a:p>
            <a:r>
              <a:rPr lang="fr-FR" sz="1200" dirty="0" smtClean="0"/>
              <a:t>Et le gestionnaire de travaux instancie le</a:t>
            </a:r>
            <a:br>
              <a:rPr lang="fr-FR" sz="1200" dirty="0" smtClean="0"/>
            </a:br>
            <a:r>
              <a:rPr lang="fr-FR" sz="1200" dirty="0" smtClean="0"/>
              <a:t>container sur les</a:t>
            </a:r>
            <a:br>
              <a:rPr lang="fr-FR" sz="1200" dirty="0" smtClean="0"/>
            </a:br>
            <a:r>
              <a:rPr lang="fr-FR" sz="1200" dirty="0" smtClean="0"/>
              <a:t>ressources  </a:t>
            </a:r>
          </a:p>
          <a:p>
            <a:endParaRPr lang="fr-FR" sz="1200" dirty="0" smtClean="0"/>
          </a:p>
          <a:p>
            <a:endParaRPr lang="fr-FR" sz="1200" dirty="0"/>
          </a:p>
        </p:txBody>
      </p:sp>
    </p:spTree>
    <p:extLst>
      <p:ext uri="{BB962C8B-B14F-4D97-AF65-F5344CB8AC3E}">
        <p14:creationId xmlns:p14="http://schemas.microsoft.com/office/powerpoint/2010/main" val="4246289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ogo_WHITE 2.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13181" y="4029496"/>
            <a:ext cx="1796898" cy="1150556"/>
          </a:xfrm>
          <a:prstGeom prst="rect">
            <a:avLst/>
          </a:prstGeom>
        </p:spPr>
      </p:pic>
      <p:pic>
        <p:nvPicPr>
          <p:cNvPr id="8"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68636" y="849931"/>
            <a:ext cx="8075364" cy="3059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30548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Containers, comment ? </a:t>
            </a:r>
          </a:p>
        </p:txBody>
      </p:sp>
      <p:sp>
        <p:nvSpPr>
          <p:cNvPr id="2" name="Slide Number Placeholder 1"/>
          <p:cNvSpPr>
            <a:spLocks noGrp="1"/>
          </p:cNvSpPr>
          <p:nvPr>
            <p:ph type="sldNum" sz="quarter" idx="4"/>
          </p:nvPr>
        </p:nvSpPr>
        <p:spPr/>
        <p:txBody>
          <a:bodyPr/>
          <a:lstStyle/>
          <a:p>
            <a:fld id="{DAF489CC-3B7A-4DA5-A8C0-4984788D0EC5}" type="slidenum">
              <a:rPr lang="nl-NL" smtClean="0"/>
              <a:pPr/>
              <a:t>9</a:t>
            </a:fld>
            <a:endParaRPr lang="nl-NL" dirty="0"/>
          </a:p>
        </p:txBody>
      </p:sp>
      <p:pic>
        <p:nvPicPr>
          <p:cNvPr id="21" name="Image 20">
            <a:extLst>
              <a:ext uri="{FF2B5EF4-FFF2-40B4-BE49-F238E27FC236}">
                <a16:creationId xmlns:a16="http://schemas.microsoft.com/office/drawing/2014/main" xmlns="" id="{1BEAB3C1-E8A6-C842-98B8-A38364BFF1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76819" y="1563117"/>
            <a:ext cx="1770452" cy="2304256"/>
          </a:xfrm>
          <a:prstGeom prst="rect">
            <a:avLst/>
          </a:prstGeom>
        </p:spPr>
      </p:pic>
      <p:grpSp>
        <p:nvGrpSpPr>
          <p:cNvPr id="13" name="Groupe 12">
            <a:extLst>
              <a:ext uri="{FF2B5EF4-FFF2-40B4-BE49-F238E27FC236}">
                <a16:creationId xmlns:a16="http://schemas.microsoft.com/office/drawing/2014/main" xmlns="" id="{0D055BE7-7EB9-5449-83FC-A1EAF6E86BE2}"/>
              </a:ext>
            </a:extLst>
          </p:cNvPr>
          <p:cNvGrpSpPr/>
          <p:nvPr/>
        </p:nvGrpSpPr>
        <p:grpSpPr>
          <a:xfrm>
            <a:off x="205276" y="1095586"/>
            <a:ext cx="3168352" cy="648072"/>
            <a:chOff x="205276" y="1095586"/>
            <a:chExt cx="3168352" cy="648072"/>
          </a:xfrm>
        </p:grpSpPr>
        <p:sp>
          <p:nvSpPr>
            <p:cNvPr id="9" name="Rectangle à coins arrondis 8">
              <a:extLst>
                <a:ext uri="{FF2B5EF4-FFF2-40B4-BE49-F238E27FC236}">
                  <a16:creationId xmlns:a16="http://schemas.microsoft.com/office/drawing/2014/main" xmlns="" id="{FCC006F9-925C-5045-953D-9E2582592615}"/>
                </a:ext>
              </a:extLst>
            </p:cNvPr>
            <p:cNvSpPr/>
            <p:nvPr/>
          </p:nvSpPr>
          <p:spPr>
            <a:xfrm>
              <a:off x="205276" y="1095586"/>
              <a:ext cx="3168352" cy="648072"/>
            </a:xfrm>
            <a:prstGeom prst="roundRect">
              <a:avLst/>
            </a:prstGeom>
            <a:blipFill dpi="0" rotWithShape="1">
              <a:blip r:embed="rId8">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xmlns="" id="{1985C20A-C314-4549-B46E-E48045F2D6C7}"/>
                </a:ext>
              </a:extLst>
            </p:cNvPr>
            <p:cNvSpPr txBox="1"/>
            <p:nvPr/>
          </p:nvSpPr>
          <p:spPr>
            <a:xfrm>
              <a:off x="259524" y="1095586"/>
              <a:ext cx="914033" cy="584775"/>
            </a:xfrm>
            <a:prstGeom prst="rect">
              <a:avLst/>
            </a:prstGeom>
            <a:noFill/>
          </p:spPr>
          <p:txBody>
            <a:bodyPr wrap="none" rtlCol="0">
              <a:spAutoFit/>
            </a:bodyPr>
            <a:lstStyle/>
            <a:p>
              <a:r>
                <a:rPr lang="fr-FR" sz="1600" i="1" dirty="0">
                  <a:solidFill>
                    <a:schemeClr val="bg1"/>
                  </a:solidFill>
                </a:rPr>
                <a:t>Name</a:t>
              </a:r>
            </a:p>
            <a:p>
              <a:r>
                <a:rPr lang="fr-FR" sz="1600" i="1" dirty="0" err="1">
                  <a:solidFill>
                    <a:schemeClr val="bg1"/>
                  </a:solidFill>
                </a:rPr>
                <a:t>Spaces</a:t>
              </a:r>
              <a:endParaRPr lang="fr-FR" sz="1600" i="1" dirty="0">
                <a:solidFill>
                  <a:schemeClr val="bg1"/>
                </a:solidFill>
              </a:endParaRPr>
            </a:p>
          </p:txBody>
        </p:sp>
      </p:grpSp>
      <p:grpSp>
        <p:nvGrpSpPr>
          <p:cNvPr id="15" name="Groupe 14">
            <a:extLst>
              <a:ext uri="{FF2B5EF4-FFF2-40B4-BE49-F238E27FC236}">
                <a16:creationId xmlns:a16="http://schemas.microsoft.com/office/drawing/2014/main" xmlns="" id="{1064722D-B45D-494A-8C85-B82330E6B42B}"/>
              </a:ext>
            </a:extLst>
          </p:cNvPr>
          <p:cNvGrpSpPr/>
          <p:nvPr/>
        </p:nvGrpSpPr>
        <p:grpSpPr>
          <a:xfrm>
            <a:off x="3851920" y="1095586"/>
            <a:ext cx="3168352" cy="648072"/>
            <a:chOff x="205276" y="2665906"/>
            <a:chExt cx="3168352" cy="648072"/>
          </a:xfrm>
        </p:grpSpPr>
        <p:sp>
          <p:nvSpPr>
            <p:cNvPr id="29" name="Rectangle à coins arrondis 28">
              <a:extLst>
                <a:ext uri="{FF2B5EF4-FFF2-40B4-BE49-F238E27FC236}">
                  <a16:creationId xmlns:a16="http://schemas.microsoft.com/office/drawing/2014/main" xmlns="" id="{DC0BDFCC-5758-544C-8171-581699C2A898}"/>
                </a:ext>
              </a:extLst>
            </p:cNvPr>
            <p:cNvSpPr/>
            <p:nvPr/>
          </p:nvSpPr>
          <p:spPr>
            <a:xfrm>
              <a:off x="205276" y="2665906"/>
              <a:ext cx="3168352" cy="648072"/>
            </a:xfrm>
            <a:prstGeom prst="roundRect">
              <a:avLst/>
            </a:prstGeom>
            <a:blipFill dpi="0" rotWithShape="1">
              <a:blip r:embed="rId9">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ZoneTexte 29">
              <a:extLst>
                <a:ext uri="{FF2B5EF4-FFF2-40B4-BE49-F238E27FC236}">
                  <a16:creationId xmlns:a16="http://schemas.microsoft.com/office/drawing/2014/main" xmlns="" id="{56CE1AFE-5313-D648-A954-7101696B4366}"/>
                </a:ext>
              </a:extLst>
            </p:cNvPr>
            <p:cNvSpPr txBox="1"/>
            <p:nvPr/>
          </p:nvSpPr>
          <p:spPr>
            <a:xfrm>
              <a:off x="259524" y="2697554"/>
              <a:ext cx="931665" cy="584775"/>
            </a:xfrm>
            <a:prstGeom prst="rect">
              <a:avLst/>
            </a:prstGeom>
            <a:noFill/>
          </p:spPr>
          <p:txBody>
            <a:bodyPr wrap="none" rtlCol="0">
              <a:spAutoFit/>
            </a:bodyPr>
            <a:lstStyle/>
            <a:p>
              <a:r>
                <a:rPr lang="fr-FR" sz="1600" i="1" dirty="0">
                  <a:solidFill>
                    <a:schemeClr val="bg1"/>
                  </a:solidFill>
                </a:rPr>
                <a:t>Control</a:t>
              </a:r>
            </a:p>
            <a:p>
              <a:r>
                <a:rPr lang="fr-FR" sz="1600" i="1" dirty="0">
                  <a:solidFill>
                    <a:schemeClr val="bg1"/>
                  </a:solidFill>
                </a:rPr>
                <a:t>Groups</a:t>
              </a:r>
            </a:p>
          </p:txBody>
        </p:sp>
      </p:grpSp>
      <p:sp>
        <p:nvSpPr>
          <p:cNvPr id="16" name="ZoneTexte 15">
            <a:extLst>
              <a:ext uri="{FF2B5EF4-FFF2-40B4-BE49-F238E27FC236}">
                <a16:creationId xmlns:a16="http://schemas.microsoft.com/office/drawing/2014/main" xmlns="" id="{C9B5383C-15C4-0B4E-946F-48A227A1456A}"/>
              </a:ext>
            </a:extLst>
          </p:cNvPr>
          <p:cNvSpPr txBox="1"/>
          <p:nvPr/>
        </p:nvSpPr>
        <p:spPr>
          <a:xfrm>
            <a:off x="3431188" y="1203307"/>
            <a:ext cx="373820" cy="369332"/>
          </a:xfrm>
          <a:prstGeom prst="rect">
            <a:avLst/>
          </a:prstGeom>
          <a:noFill/>
        </p:spPr>
        <p:txBody>
          <a:bodyPr wrap="none" rtlCol="0">
            <a:spAutoFit/>
          </a:bodyPr>
          <a:lstStyle/>
          <a:p>
            <a:r>
              <a:rPr lang="fr-FR" dirty="0"/>
              <a:t>+</a:t>
            </a:r>
          </a:p>
        </p:txBody>
      </p:sp>
      <p:sp>
        <p:nvSpPr>
          <p:cNvPr id="18" name="ZoneTexte 17">
            <a:extLst>
              <a:ext uri="{FF2B5EF4-FFF2-40B4-BE49-F238E27FC236}">
                <a16:creationId xmlns:a16="http://schemas.microsoft.com/office/drawing/2014/main" xmlns="" id="{565EA353-1983-4E45-955A-305E89A6F43B}"/>
              </a:ext>
            </a:extLst>
          </p:cNvPr>
          <p:cNvSpPr txBox="1"/>
          <p:nvPr/>
        </p:nvSpPr>
        <p:spPr>
          <a:xfrm>
            <a:off x="221694" y="1758688"/>
            <a:ext cx="2359941" cy="369332"/>
          </a:xfrm>
          <a:prstGeom prst="rect">
            <a:avLst/>
          </a:prstGeom>
          <a:noFill/>
        </p:spPr>
        <p:txBody>
          <a:bodyPr wrap="none" rtlCol="0">
            <a:spAutoFit/>
          </a:bodyPr>
          <a:lstStyle/>
          <a:p>
            <a:r>
              <a:rPr lang="fr-FR" dirty="0"/>
              <a:t>Visibilité restreinte</a:t>
            </a:r>
          </a:p>
        </p:txBody>
      </p:sp>
      <p:sp>
        <p:nvSpPr>
          <p:cNvPr id="35" name="ZoneTexte 34">
            <a:extLst>
              <a:ext uri="{FF2B5EF4-FFF2-40B4-BE49-F238E27FC236}">
                <a16:creationId xmlns:a16="http://schemas.microsoft.com/office/drawing/2014/main" xmlns="" id="{B5EC95BB-F620-2945-BFA1-6D9CB41828EE}"/>
              </a:ext>
            </a:extLst>
          </p:cNvPr>
          <p:cNvSpPr txBox="1"/>
          <p:nvPr/>
        </p:nvSpPr>
        <p:spPr>
          <a:xfrm>
            <a:off x="3851920" y="1758688"/>
            <a:ext cx="2755050" cy="369332"/>
          </a:xfrm>
          <a:prstGeom prst="rect">
            <a:avLst/>
          </a:prstGeom>
          <a:noFill/>
        </p:spPr>
        <p:txBody>
          <a:bodyPr wrap="none" rtlCol="0">
            <a:spAutoFit/>
          </a:bodyPr>
          <a:lstStyle/>
          <a:p>
            <a:r>
              <a:rPr lang="fr-FR" dirty="0"/>
              <a:t>Ressources contrôlées</a:t>
            </a:r>
          </a:p>
        </p:txBody>
      </p:sp>
      <p:sp>
        <p:nvSpPr>
          <p:cNvPr id="19" name="ZoneTexte 18">
            <a:extLst>
              <a:ext uri="{FF2B5EF4-FFF2-40B4-BE49-F238E27FC236}">
                <a16:creationId xmlns:a16="http://schemas.microsoft.com/office/drawing/2014/main" xmlns="" id="{E3277023-86DE-E147-A352-BB691F898463}"/>
              </a:ext>
            </a:extLst>
          </p:cNvPr>
          <p:cNvSpPr txBox="1"/>
          <p:nvPr/>
        </p:nvSpPr>
        <p:spPr>
          <a:xfrm>
            <a:off x="259524" y="2062532"/>
            <a:ext cx="1297150" cy="830997"/>
          </a:xfrm>
          <a:prstGeom prst="rect">
            <a:avLst/>
          </a:prstGeom>
          <a:noFill/>
        </p:spPr>
        <p:txBody>
          <a:bodyPr wrap="none" rtlCol="0">
            <a:spAutoFit/>
          </a:bodyPr>
          <a:lstStyle/>
          <a:p>
            <a:pPr marL="285750" indent="-285750">
              <a:buFontTx/>
              <a:buChar char="-"/>
            </a:pPr>
            <a:r>
              <a:rPr lang="fr-FR" sz="1200" dirty="0" err="1"/>
              <a:t>mount</a:t>
            </a:r>
            <a:endParaRPr lang="fr-FR" sz="1200" dirty="0"/>
          </a:p>
          <a:p>
            <a:pPr marL="285750" indent="-285750">
              <a:buFontTx/>
              <a:buChar char="-"/>
            </a:pPr>
            <a:r>
              <a:rPr lang="fr-FR" sz="1200" dirty="0" err="1"/>
              <a:t>process</a:t>
            </a:r>
            <a:r>
              <a:rPr lang="fr-FR" sz="1200" dirty="0"/>
              <a:t> ID</a:t>
            </a:r>
          </a:p>
          <a:p>
            <a:pPr marL="285750" indent="-285750">
              <a:buFontTx/>
              <a:buChar char="-"/>
            </a:pPr>
            <a:r>
              <a:rPr lang="fr-FR" sz="1200" dirty="0"/>
              <a:t>network</a:t>
            </a:r>
          </a:p>
          <a:p>
            <a:pPr marL="285750" indent="-285750">
              <a:buFontTx/>
              <a:buChar char="-"/>
            </a:pPr>
            <a:r>
              <a:rPr lang="fr-FR" sz="1200" dirty="0"/>
              <a:t>IPC</a:t>
            </a:r>
          </a:p>
        </p:txBody>
      </p:sp>
      <p:pic>
        <p:nvPicPr>
          <p:cNvPr id="31" name="Image 30">
            <a:extLst>
              <a:ext uri="{FF2B5EF4-FFF2-40B4-BE49-F238E27FC236}">
                <a16:creationId xmlns:a16="http://schemas.microsoft.com/office/drawing/2014/main" xmlns="" id="{738A9B84-5AAC-F142-8728-C6ABF51BC84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27584" y="2925940"/>
            <a:ext cx="2098667" cy="1144728"/>
          </a:xfrm>
          <a:prstGeom prst="rect">
            <a:avLst/>
          </a:prstGeom>
        </p:spPr>
      </p:pic>
      <p:sp>
        <p:nvSpPr>
          <p:cNvPr id="41" name="ZoneTexte 40">
            <a:extLst>
              <a:ext uri="{FF2B5EF4-FFF2-40B4-BE49-F238E27FC236}">
                <a16:creationId xmlns:a16="http://schemas.microsoft.com/office/drawing/2014/main" xmlns="" id="{2B79BA02-C6EA-0643-A516-4CE484A2C2D1}"/>
              </a:ext>
            </a:extLst>
          </p:cNvPr>
          <p:cNvSpPr txBox="1"/>
          <p:nvPr/>
        </p:nvSpPr>
        <p:spPr>
          <a:xfrm>
            <a:off x="3906934" y="2057715"/>
            <a:ext cx="1112805" cy="646331"/>
          </a:xfrm>
          <a:prstGeom prst="rect">
            <a:avLst/>
          </a:prstGeom>
          <a:noFill/>
        </p:spPr>
        <p:txBody>
          <a:bodyPr wrap="none" rtlCol="0">
            <a:spAutoFit/>
          </a:bodyPr>
          <a:lstStyle/>
          <a:p>
            <a:pPr marL="285750" indent="-285750">
              <a:buFontTx/>
              <a:buChar char="-"/>
            </a:pPr>
            <a:r>
              <a:rPr lang="fr-FR" sz="1200" dirty="0" err="1"/>
              <a:t>cpu</a:t>
            </a:r>
            <a:endParaRPr lang="fr-FR" sz="1200" dirty="0"/>
          </a:p>
          <a:p>
            <a:pPr marL="285750" indent="-285750">
              <a:buFontTx/>
              <a:buChar char="-"/>
            </a:pPr>
            <a:r>
              <a:rPr lang="fr-FR" sz="1200" dirty="0" err="1"/>
              <a:t>cpuset</a:t>
            </a:r>
            <a:endParaRPr lang="fr-FR" sz="1200" dirty="0"/>
          </a:p>
          <a:p>
            <a:pPr marL="285750" indent="-285750">
              <a:buFontTx/>
              <a:buChar char="-"/>
            </a:pPr>
            <a:r>
              <a:rPr lang="fr-FR" sz="1200" dirty="0"/>
              <a:t>memory</a:t>
            </a:r>
          </a:p>
        </p:txBody>
      </p:sp>
      <p:pic>
        <p:nvPicPr>
          <p:cNvPr id="37" name="Image 36">
            <a:extLst>
              <a:ext uri="{FF2B5EF4-FFF2-40B4-BE49-F238E27FC236}">
                <a16:creationId xmlns:a16="http://schemas.microsoft.com/office/drawing/2014/main" xmlns="" id="{8172AC7B-E580-5B45-885A-9447DED8700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64333" y="2888809"/>
            <a:ext cx="2065029" cy="1218989"/>
          </a:xfrm>
          <a:prstGeom prst="rect">
            <a:avLst/>
          </a:prstGeom>
        </p:spPr>
      </p:pic>
      <p:sp>
        <p:nvSpPr>
          <p:cNvPr id="38" name="Rectangle 37">
            <a:extLst>
              <a:ext uri="{FF2B5EF4-FFF2-40B4-BE49-F238E27FC236}">
                <a16:creationId xmlns:a16="http://schemas.microsoft.com/office/drawing/2014/main" xmlns="" id="{4C690DDC-73C0-7B4B-BCF8-6B12F6010832}"/>
              </a:ext>
            </a:extLst>
          </p:cNvPr>
          <p:cNvSpPr/>
          <p:nvPr/>
        </p:nvSpPr>
        <p:spPr>
          <a:xfrm>
            <a:off x="1660867" y="2068914"/>
            <a:ext cx="1537740" cy="646331"/>
          </a:xfrm>
          <a:prstGeom prst="rect">
            <a:avLst/>
          </a:prstGeom>
        </p:spPr>
        <p:txBody>
          <a:bodyPr wrap="square">
            <a:spAutoFit/>
          </a:bodyPr>
          <a:lstStyle/>
          <a:p>
            <a:pPr marL="285750" indent="-285750">
              <a:buFontTx/>
              <a:buChar char="-"/>
            </a:pPr>
            <a:r>
              <a:rPr lang="fr-FR" sz="1200" dirty="0"/>
              <a:t>UTS</a:t>
            </a:r>
          </a:p>
          <a:p>
            <a:pPr marL="285750" indent="-285750">
              <a:buFontTx/>
              <a:buChar char="-"/>
            </a:pPr>
            <a:r>
              <a:rPr lang="fr-FR" sz="1200" dirty="0"/>
              <a:t>user ID</a:t>
            </a:r>
          </a:p>
          <a:p>
            <a:pPr marL="285750" indent="-285750">
              <a:buFontTx/>
              <a:buChar char="-"/>
            </a:pPr>
            <a:r>
              <a:rPr lang="fr-FR" sz="1200" dirty="0" err="1"/>
              <a:t>cgroup</a:t>
            </a:r>
            <a:endParaRPr lang="fr-FR" sz="1200" dirty="0"/>
          </a:p>
        </p:txBody>
      </p:sp>
      <p:sp>
        <p:nvSpPr>
          <p:cNvPr id="43" name="ZoneTexte 42">
            <a:extLst>
              <a:ext uri="{FF2B5EF4-FFF2-40B4-BE49-F238E27FC236}">
                <a16:creationId xmlns:a16="http://schemas.microsoft.com/office/drawing/2014/main" xmlns="" id="{F8675744-657E-A34D-843B-C1E91F603A87}"/>
              </a:ext>
            </a:extLst>
          </p:cNvPr>
          <p:cNvSpPr txBox="1"/>
          <p:nvPr/>
        </p:nvSpPr>
        <p:spPr>
          <a:xfrm>
            <a:off x="5138840" y="2057714"/>
            <a:ext cx="1045479" cy="646331"/>
          </a:xfrm>
          <a:prstGeom prst="rect">
            <a:avLst/>
          </a:prstGeom>
          <a:noFill/>
        </p:spPr>
        <p:txBody>
          <a:bodyPr wrap="none" rtlCol="0">
            <a:spAutoFit/>
          </a:bodyPr>
          <a:lstStyle/>
          <a:p>
            <a:pPr marL="285750" indent="-285750">
              <a:buFontTx/>
              <a:buChar char="-"/>
            </a:pPr>
            <a:r>
              <a:rPr lang="fr-FR" sz="1200" dirty="0" err="1"/>
              <a:t>pids</a:t>
            </a:r>
            <a:endParaRPr lang="fr-FR" sz="1200" dirty="0"/>
          </a:p>
          <a:p>
            <a:pPr marL="285750" indent="-285750">
              <a:buFontTx/>
              <a:buChar char="-"/>
            </a:pPr>
            <a:r>
              <a:rPr lang="fr-FR" sz="1200" dirty="0" err="1"/>
              <a:t>devices</a:t>
            </a:r>
            <a:endParaRPr lang="fr-FR" sz="1200" dirty="0"/>
          </a:p>
          <a:p>
            <a:pPr marL="285750" indent="-285750">
              <a:buFontTx/>
              <a:buChar char="-"/>
            </a:pPr>
            <a:r>
              <a:rPr lang="fr-FR" sz="1200" dirty="0"/>
              <a:t>…</a:t>
            </a:r>
          </a:p>
        </p:txBody>
      </p:sp>
      <p:sp>
        <p:nvSpPr>
          <p:cNvPr id="22" name="ZoneTexte 21">
            <a:extLst>
              <a:ext uri="{FF2B5EF4-FFF2-40B4-BE49-F238E27FC236}">
                <a16:creationId xmlns:a16="http://schemas.microsoft.com/office/drawing/2014/main" xmlns="" id="{BB838A2E-5256-4B46-A67E-8C884B3685F5}"/>
              </a:ext>
            </a:extLst>
          </p:cNvPr>
          <p:cNvSpPr txBox="1"/>
          <p:nvPr/>
        </p:nvSpPr>
        <p:spPr>
          <a:xfrm>
            <a:off x="1497109" y="4249125"/>
            <a:ext cx="6042232" cy="369332"/>
          </a:xfrm>
          <a:prstGeom prst="rect">
            <a:avLst/>
          </a:prstGeom>
          <a:noFill/>
        </p:spPr>
        <p:txBody>
          <a:bodyPr wrap="none" rtlCol="0">
            <a:spAutoFit/>
          </a:bodyPr>
          <a:lstStyle/>
          <a:p>
            <a:r>
              <a:rPr lang="fr-FR" dirty="0"/>
              <a:t>+ format standardisé (docker, </a:t>
            </a:r>
            <a:r>
              <a:rPr lang="fr-FR" dirty="0" err="1"/>
              <a:t>rkt</a:t>
            </a:r>
            <a:r>
              <a:rPr lang="fr-FR" dirty="0"/>
              <a:t>, </a:t>
            </a:r>
            <a:r>
              <a:rPr lang="fr-FR" dirty="0" err="1"/>
              <a:t>singularity</a:t>
            </a:r>
            <a:r>
              <a:rPr lang="fr-FR" dirty="0"/>
              <a:t>, </a:t>
            </a:r>
            <a:r>
              <a:rPr lang="fr-FR" dirty="0" err="1"/>
              <a:t>etc</a:t>
            </a:r>
            <a:r>
              <a:rPr lang="fr-FR" dirty="0"/>
              <a:t>)</a:t>
            </a:r>
          </a:p>
        </p:txBody>
      </p:sp>
    </p:spTree>
    <p:extLst>
      <p:ext uri="{BB962C8B-B14F-4D97-AF65-F5344CB8AC3E}">
        <p14:creationId xmlns:p14="http://schemas.microsoft.com/office/powerpoint/2010/main" val="1137566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C5AD8658855A418FD675488479EFFF" ma:contentTypeVersion="9" ma:contentTypeDescription="Create a new document." ma:contentTypeScope="" ma:versionID="e7da15b2928d375bf4bc65507d87f3dc">
  <xsd:schema xmlns:xsd="http://www.w3.org/2001/XMLSchema" xmlns:xs="http://www.w3.org/2001/XMLSchema" xmlns:p="http://schemas.microsoft.com/office/2006/metadata/properties" xmlns:ns1="http://schemas.microsoft.com/sharepoint/v3" xmlns:ns2="a174a49e-0bed-4043-a044-a2bbb4910727" xmlns:ns3="2101d693-7d88-46a1-bc0d-7ce76a241f93" xmlns:ns4="http://schemas.microsoft.com/sharepoint/v4" targetNamespace="http://schemas.microsoft.com/office/2006/metadata/properties" ma:root="true" ma:fieldsID="b81ee7a1edde691ad08bd81ba293f716" ns1:_="" ns2:_="" ns3:_="" ns4:_="">
    <xsd:import namespace="http://schemas.microsoft.com/sharepoint/v3"/>
    <xsd:import namespace="a174a49e-0bed-4043-a044-a2bbb4910727"/>
    <xsd:import namespace="2101d693-7d88-46a1-bc0d-7ce76a241f93"/>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1:PublishingStartDate" minOccurs="0"/>
                <xsd:element ref="ns1:PublishingExpirationDate" minOccurs="0"/>
                <xsd:element ref="ns3:LockedVersions" minOccurs="0"/>
                <xsd:element ref="ns3:AdvancedVersioningLimit"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1" nillable="true" ma:displayName="Scheduling Start Date" ma:internalName="PublishingStartDate">
      <xsd:simpleType>
        <xsd:restriction base="dms:Unknown"/>
      </xsd:simpleType>
    </xsd:element>
    <xsd:element name="PublishingExpirationDate" ma:index="12" nillable="true" ma:displayName="Scheduling End Da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174a49e-0bed-4043-a044-a2bbb4910727"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2101d693-7d88-46a1-bc0d-7ce76a241f93" elementFormDefault="qualified">
    <xsd:import namespace="http://schemas.microsoft.com/office/2006/documentManagement/types"/>
    <xsd:import namespace="http://schemas.microsoft.com/office/infopath/2007/PartnerControls"/>
    <xsd:element name="LockedVersions" ma:index="13" nillable="true" ma:displayName="LockedVersions" ma:hidden="true" ma:internalName="LockedVersions">
      <xsd:simpleType>
        <xsd:restriction base="dms:Text"/>
      </xsd:simpleType>
    </xsd:element>
    <xsd:element name="AdvancedVersioningLimit" ma:index="14" nillable="true" ma:displayName="AdvancedVersioningLimit" ma:hidden="true" ma:internalName="AdvancedVersioningLimi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AdvancedVersioningLimit xmlns="2101d693-7d88-46a1-bc0d-7ce76a241f93" xsi:nil="true"/>
    <PublishingExpirationDate xmlns="http://schemas.microsoft.com/sharepoint/v3" xsi:nil="true"/>
    <PublishingStartDate xmlns="http://schemas.microsoft.com/sharepoint/v3" xsi:nil="true"/>
    <LockedVersions xmlns="2101d693-7d88-46a1-bc0d-7ce76a241f93" xsi:nil="true"/>
    <_dlc_DocId xmlns="a174a49e-0bed-4043-a044-a2bbb4910727">F53243PSACSY-290-4418</_dlc_DocId>
    <_dlc_DocIdUrl xmlns="a174a49e-0bed-4043-a044-a2bbb4910727">
      <Url>https://sp2013.myatos.net/sites/BDS/bd/HiPeCo/hpcFR/hpc-bu/_layouts/15/DocIdRedir.aspx?ID=F53243PSACSY-290-4418</Url>
      <Description>F53243PSACSY-290-4418</Description>
    </_dlc_DocIdUrl>
  </documentManagement>
</p:properties>
</file>

<file path=customXml/itemProps1.xml><?xml version="1.0" encoding="utf-8"?>
<ds:datastoreItem xmlns:ds="http://schemas.openxmlformats.org/officeDocument/2006/customXml" ds:itemID="{3A0E875A-F2C3-4531-9D7A-9A3ED6E522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174a49e-0bed-4043-a044-a2bbb4910727"/>
    <ds:schemaRef ds:uri="2101d693-7d88-46a1-bc0d-7ce76a241f93"/>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6A75F2E-56F8-4300-9306-B0AED4F58A8D}">
  <ds:schemaRefs>
    <ds:schemaRef ds:uri="http://schemas.microsoft.com/sharepoint/events"/>
  </ds:schemaRefs>
</ds:datastoreItem>
</file>

<file path=customXml/itemProps3.xml><?xml version="1.0" encoding="utf-8"?>
<ds:datastoreItem xmlns:ds="http://schemas.openxmlformats.org/officeDocument/2006/customXml" ds:itemID="{9CAA8FE2-1024-4DCA-AC25-047117E19504}">
  <ds:schemaRefs>
    <ds:schemaRef ds:uri="http://schemas.microsoft.com/sharepoint/v3/contenttype/forms"/>
  </ds:schemaRefs>
</ds:datastoreItem>
</file>

<file path=customXml/itemProps4.xml><?xml version="1.0" encoding="utf-8"?>
<ds:datastoreItem xmlns:ds="http://schemas.openxmlformats.org/officeDocument/2006/customXml" ds:itemID="{B8894BC1-A31A-494F-944B-CDB232AECA0D}">
  <ds:schemaRefs>
    <ds:schemaRef ds:uri="http://purl.org/dc/dcmitype/"/>
    <ds:schemaRef ds:uri="http://www.w3.org/XML/1998/namespace"/>
    <ds:schemaRef ds:uri="http://purl.org/dc/elements/1.1/"/>
    <ds:schemaRef ds:uri="2101d693-7d88-46a1-bc0d-7ce76a241f93"/>
    <ds:schemaRef ds:uri="http://schemas.microsoft.com/sharepoint/v4"/>
    <ds:schemaRef ds:uri="http://schemas.microsoft.com/sharepoint/v3"/>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a174a49e-0bed-4043-a044-a2bbb4910727"/>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Atos v4.0</Template>
  <TotalTime>0</TotalTime>
  <Words>289</Words>
  <Application>Microsoft Office PowerPoint</Application>
  <PresentationFormat>Affichage à l'écran (16:9)</PresentationFormat>
  <Paragraphs>80</Paragraphs>
  <Slides>10</Slides>
  <Notes>4</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2" baseType="lpstr">
      <vt:lpstr>Atos v4.0</vt:lpstr>
      <vt:lpstr>think-cell Slide</vt:lpstr>
      <vt:lpstr>Bull Atos HPC</vt:lpstr>
      <vt:lpstr>Containers en HPC, pourquoi ? </vt:lpstr>
      <vt:lpstr>Cycle de vie d’un container en HPC Principes</vt:lpstr>
      <vt:lpstr>Cycle de vie d’un container en HPC Principes</vt:lpstr>
      <vt:lpstr>Cycle de vie d’un container en HPC Principes</vt:lpstr>
      <vt:lpstr>Cycle de vie d’un container en HPC Principes</vt:lpstr>
      <vt:lpstr>Cycle de vie d’un container en HPC Principes</vt:lpstr>
      <vt:lpstr>Présentation PowerPoint</vt:lpstr>
      <vt:lpstr>Containers, comment ? </vt:lpstr>
      <vt:lpstr>Dans un contexte HPC Problématique</vt:lpstr>
    </vt:vector>
  </TitlesOfParts>
  <Company>Canop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ll Atos HPC @SC17</dc:title>
  <dc:creator>Damien Déclat</dc:creator>
  <cp:lastModifiedBy>PEROTIN, MATTHIEU</cp:lastModifiedBy>
  <cp:revision>2109</cp:revision>
  <dcterms:created xsi:type="dcterms:W3CDTF">2016-04-04T15:49:24Z</dcterms:created>
  <dcterms:modified xsi:type="dcterms:W3CDTF">2018-06-07T08:3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um">
    <vt:lpwstr/>
  </property>
  <property fmtid="{D5CDD505-2E9C-101B-9397-08002B2CF9AE}" pid="3" name="Author">
    <vt:lpwstr>BDS HPC </vt:lpwstr>
  </property>
  <property fmtid="{D5CDD505-2E9C-101B-9397-08002B2CF9AE}" pid="4" name="GBU">
    <vt:lpwstr/>
  </property>
  <property fmtid="{D5CDD505-2E9C-101B-9397-08002B2CF9AE}" pid="5" name="Division">
    <vt:lpwstr/>
  </property>
  <property fmtid="{D5CDD505-2E9C-101B-9397-08002B2CF9AE}" pid="6" name="Department">
    <vt:lpwstr/>
  </property>
  <property fmtid="{D5CDD505-2E9C-101B-9397-08002B2CF9AE}" pid="7" name="Classification">
    <vt:lpwstr>© Atos - Confidential</vt:lpwstr>
  </property>
  <property fmtid="{D5CDD505-2E9C-101B-9397-08002B2CF9AE}" pid="8" name="_NewReviewCycle">
    <vt:lpwstr/>
  </property>
  <property fmtid="{D5CDD505-2E9C-101B-9397-08002B2CF9AE}" pid="9" name="_AdHocReviewCycleID">
    <vt:i4>854937617</vt:i4>
  </property>
  <property fmtid="{D5CDD505-2E9C-101B-9397-08002B2CF9AE}" pid="10" name="_EmailSubject">
    <vt:lpwstr>[SC17] Slideset</vt:lpwstr>
  </property>
  <property fmtid="{D5CDD505-2E9C-101B-9397-08002B2CF9AE}" pid="11" name="_AuthorEmail">
    <vt:lpwstr>crispin.keable@atos.net</vt:lpwstr>
  </property>
  <property fmtid="{D5CDD505-2E9C-101B-9397-08002B2CF9AE}" pid="12" name="_AuthorEmailDisplayName">
    <vt:lpwstr>Keable, Crispin</vt:lpwstr>
  </property>
  <property fmtid="{D5CDD505-2E9C-101B-9397-08002B2CF9AE}" pid="13" name="ContentTypeId">
    <vt:lpwstr>0x01010094C5AD8658855A418FD675488479EFFF</vt:lpwstr>
  </property>
  <property fmtid="{D5CDD505-2E9C-101B-9397-08002B2CF9AE}" pid="14" name="_dlc_DocIdItemGuid">
    <vt:lpwstr>460d653e-59ba-4123-a149-003eea8d838d</vt:lpwstr>
  </property>
</Properties>
</file>